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theme/theme2.xml" ContentType="application/vnd.openxmlformats-officedocument.theme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theme/theme3.xml" ContentType="application/vnd.openxmlformats-officedocument.theme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theme/theme4.xml" ContentType="application/vnd.openxmlformats-officedocument.theme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slideLayouts/slideLayout1807.xml" ContentType="application/vnd.openxmlformats-officedocument.presentationml.slideLayout+xml"/>
  <Override PartName="/ppt/slideLayouts/slideLayout1808.xml" ContentType="application/vnd.openxmlformats-officedocument.presentationml.slideLayout+xml"/>
  <Override PartName="/ppt/slideLayouts/slideLayout1809.xml" ContentType="application/vnd.openxmlformats-officedocument.presentationml.slideLayout+xml"/>
  <Override PartName="/ppt/slideLayouts/slideLayout1810.xml" ContentType="application/vnd.openxmlformats-officedocument.presentationml.slideLayout+xml"/>
  <Override PartName="/ppt/slideLayouts/slideLayout1811.xml" ContentType="application/vnd.openxmlformats-officedocument.presentationml.slideLayout+xml"/>
  <Override PartName="/ppt/slideLayouts/slideLayout1812.xml" ContentType="application/vnd.openxmlformats-officedocument.presentationml.slideLayout+xml"/>
  <Override PartName="/ppt/slideLayouts/slideLayout1813.xml" ContentType="application/vnd.openxmlformats-officedocument.presentationml.slideLayout+xml"/>
  <Override PartName="/ppt/slideLayouts/slideLayout1814.xml" ContentType="application/vnd.openxmlformats-officedocument.presentationml.slideLayout+xml"/>
  <Override PartName="/ppt/slideLayouts/slideLayout1815.xml" ContentType="application/vnd.openxmlformats-officedocument.presentationml.slideLayout+xml"/>
  <Override PartName="/ppt/slideLayouts/slideLayout1816.xml" ContentType="application/vnd.openxmlformats-officedocument.presentationml.slideLayout+xml"/>
  <Override PartName="/ppt/slideLayouts/slideLayout1817.xml" ContentType="application/vnd.openxmlformats-officedocument.presentationml.slideLayout+xml"/>
  <Override PartName="/ppt/slideLayouts/slideLayout1818.xml" ContentType="application/vnd.openxmlformats-officedocument.presentationml.slideLayout+xml"/>
  <Override PartName="/ppt/slideLayouts/slideLayout1819.xml" ContentType="application/vnd.openxmlformats-officedocument.presentationml.slideLayout+xml"/>
  <Override PartName="/ppt/slideLayouts/slideLayout1820.xml" ContentType="application/vnd.openxmlformats-officedocument.presentationml.slideLayout+xml"/>
  <Override PartName="/ppt/slideLayouts/slideLayout1821.xml" ContentType="application/vnd.openxmlformats-officedocument.presentationml.slideLayout+xml"/>
  <Override PartName="/ppt/slideLayouts/slideLayout1822.xml" ContentType="application/vnd.openxmlformats-officedocument.presentationml.slideLayout+xml"/>
  <Override PartName="/ppt/slideLayouts/slideLayout1823.xml" ContentType="application/vnd.openxmlformats-officedocument.presentationml.slideLayout+xml"/>
  <Override PartName="/ppt/slideLayouts/slideLayout1824.xml" ContentType="application/vnd.openxmlformats-officedocument.presentationml.slideLayout+xml"/>
  <Override PartName="/ppt/slideLayouts/slideLayout1825.xml" ContentType="application/vnd.openxmlformats-officedocument.presentationml.slideLayout+xml"/>
  <Override PartName="/ppt/slideLayouts/slideLayout1826.xml" ContentType="application/vnd.openxmlformats-officedocument.presentationml.slideLayout+xml"/>
  <Override PartName="/ppt/slideLayouts/slideLayout1827.xml" ContentType="application/vnd.openxmlformats-officedocument.presentationml.slideLayout+xml"/>
  <Override PartName="/ppt/slideLayouts/slideLayout1828.xml" ContentType="application/vnd.openxmlformats-officedocument.presentationml.slideLayout+xml"/>
  <Override PartName="/ppt/slideLayouts/slideLayout1829.xml" ContentType="application/vnd.openxmlformats-officedocument.presentationml.slideLayout+xml"/>
  <Override PartName="/ppt/slideLayouts/slideLayout1830.xml" ContentType="application/vnd.openxmlformats-officedocument.presentationml.slideLayout+xml"/>
  <Override PartName="/ppt/slideLayouts/slideLayout1831.xml" ContentType="application/vnd.openxmlformats-officedocument.presentationml.slideLayout+xml"/>
  <Override PartName="/ppt/slideLayouts/slideLayout1832.xml" ContentType="application/vnd.openxmlformats-officedocument.presentationml.slideLayout+xml"/>
  <Override PartName="/ppt/slideLayouts/slideLayout1833.xml" ContentType="application/vnd.openxmlformats-officedocument.presentationml.slideLayout+xml"/>
  <Override PartName="/ppt/slideLayouts/slideLayout1834.xml" ContentType="application/vnd.openxmlformats-officedocument.presentationml.slideLayout+xml"/>
  <Override PartName="/ppt/slideLayouts/slideLayout1835.xml" ContentType="application/vnd.openxmlformats-officedocument.presentationml.slideLayout+xml"/>
  <Override PartName="/ppt/slideLayouts/slideLayout1836.xml" ContentType="application/vnd.openxmlformats-officedocument.presentationml.slideLayout+xml"/>
  <Override PartName="/ppt/slideLayouts/slideLayout1837.xml" ContentType="application/vnd.openxmlformats-officedocument.presentationml.slideLayout+xml"/>
  <Override PartName="/ppt/slideLayouts/slideLayout1838.xml" ContentType="application/vnd.openxmlformats-officedocument.presentationml.slideLayout+xml"/>
  <Override PartName="/ppt/slideLayouts/slideLayout1839.xml" ContentType="application/vnd.openxmlformats-officedocument.presentationml.slideLayout+xml"/>
  <Override PartName="/ppt/slideLayouts/slideLayout1840.xml" ContentType="application/vnd.openxmlformats-officedocument.presentationml.slideLayout+xml"/>
  <Override PartName="/ppt/slideLayouts/slideLayout1841.xml" ContentType="application/vnd.openxmlformats-officedocument.presentationml.slideLayout+xml"/>
  <Override PartName="/ppt/slideLayouts/slideLayout1842.xml" ContentType="application/vnd.openxmlformats-officedocument.presentationml.slideLayout+xml"/>
  <Override PartName="/ppt/slideLayouts/slideLayout1843.xml" ContentType="application/vnd.openxmlformats-officedocument.presentationml.slideLayout+xml"/>
  <Override PartName="/ppt/slideLayouts/slideLayout1844.xml" ContentType="application/vnd.openxmlformats-officedocument.presentationml.slideLayout+xml"/>
  <Override PartName="/ppt/slideLayouts/slideLayout1845.xml" ContentType="application/vnd.openxmlformats-officedocument.presentationml.slideLayout+xml"/>
  <Override PartName="/ppt/slideLayouts/slideLayout1846.xml" ContentType="application/vnd.openxmlformats-officedocument.presentationml.slideLayout+xml"/>
  <Override PartName="/ppt/slideLayouts/slideLayout1847.xml" ContentType="application/vnd.openxmlformats-officedocument.presentationml.slideLayout+xml"/>
  <Override PartName="/ppt/slideLayouts/slideLayout1848.xml" ContentType="application/vnd.openxmlformats-officedocument.presentationml.slideLayout+xml"/>
  <Override PartName="/ppt/slideLayouts/slideLayout1849.xml" ContentType="application/vnd.openxmlformats-officedocument.presentationml.slideLayout+xml"/>
  <Override PartName="/ppt/slideLayouts/slideLayout1850.xml" ContentType="application/vnd.openxmlformats-officedocument.presentationml.slideLayout+xml"/>
  <Override PartName="/ppt/slideLayouts/slideLayout1851.xml" ContentType="application/vnd.openxmlformats-officedocument.presentationml.slideLayout+xml"/>
  <Override PartName="/ppt/slideLayouts/slideLayout1852.xml" ContentType="application/vnd.openxmlformats-officedocument.presentationml.slideLayout+xml"/>
  <Override PartName="/ppt/slideLayouts/slideLayout1853.xml" ContentType="application/vnd.openxmlformats-officedocument.presentationml.slideLayout+xml"/>
  <Override PartName="/ppt/slideLayouts/slideLayout1854.xml" ContentType="application/vnd.openxmlformats-officedocument.presentationml.slideLayout+xml"/>
  <Override PartName="/ppt/slideLayouts/slideLayout1855.xml" ContentType="application/vnd.openxmlformats-officedocument.presentationml.slideLayout+xml"/>
  <Override PartName="/ppt/slideLayouts/slideLayout1856.xml" ContentType="application/vnd.openxmlformats-officedocument.presentationml.slideLayout+xml"/>
  <Override PartName="/ppt/slideLayouts/slideLayout1857.xml" ContentType="application/vnd.openxmlformats-officedocument.presentationml.slideLayout+xml"/>
  <Override PartName="/ppt/slideLayouts/slideLayout1858.xml" ContentType="application/vnd.openxmlformats-officedocument.presentationml.slideLayout+xml"/>
  <Override PartName="/ppt/slideLayouts/slideLayout1859.xml" ContentType="application/vnd.openxmlformats-officedocument.presentationml.slideLayout+xml"/>
  <Override PartName="/ppt/slideLayouts/slideLayout1860.xml" ContentType="application/vnd.openxmlformats-officedocument.presentationml.slideLayout+xml"/>
  <Override PartName="/ppt/slideLayouts/slideLayout1861.xml" ContentType="application/vnd.openxmlformats-officedocument.presentationml.slideLayout+xml"/>
  <Override PartName="/ppt/slideLayouts/slideLayout1862.xml" ContentType="application/vnd.openxmlformats-officedocument.presentationml.slideLayout+xml"/>
  <Override PartName="/ppt/slideLayouts/slideLayout1863.xml" ContentType="application/vnd.openxmlformats-officedocument.presentationml.slideLayout+xml"/>
  <Override PartName="/ppt/slideLayouts/slideLayout1864.xml" ContentType="application/vnd.openxmlformats-officedocument.presentationml.slideLayout+xml"/>
  <Override PartName="/ppt/slideLayouts/slideLayout1865.xml" ContentType="application/vnd.openxmlformats-officedocument.presentationml.slideLayout+xml"/>
  <Override PartName="/ppt/slideLayouts/slideLayout1866.xml" ContentType="application/vnd.openxmlformats-officedocument.presentationml.slideLayout+xml"/>
  <Override PartName="/ppt/slideLayouts/slideLayout1867.xml" ContentType="application/vnd.openxmlformats-officedocument.presentationml.slideLayout+xml"/>
  <Override PartName="/ppt/slideLayouts/slideLayout1868.xml" ContentType="application/vnd.openxmlformats-officedocument.presentationml.slideLayout+xml"/>
  <Override PartName="/ppt/slideLayouts/slideLayout1869.xml" ContentType="application/vnd.openxmlformats-officedocument.presentationml.slideLayout+xml"/>
  <Override PartName="/ppt/slideLayouts/slideLayout1870.xml" ContentType="application/vnd.openxmlformats-officedocument.presentationml.slideLayout+xml"/>
  <Override PartName="/ppt/slideLayouts/slideLayout1871.xml" ContentType="application/vnd.openxmlformats-officedocument.presentationml.slideLayout+xml"/>
  <Override PartName="/ppt/slideLayouts/slideLayout1872.xml" ContentType="application/vnd.openxmlformats-officedocument.presentationml.slideLayout+xml"/>
  <Override PartName="/ppt/slideLayouts/slideLayout1873.xml" ContentType="application/vnd.openxmlformats-officedocument.presentationml.slideLayout+xml"/>
  <Override PartName="/ppt/slideLayouts/slideLayout1874.xml" ContentType="application/vnd.openxmlformats-officedocument.presentationml.slideLayout+xml"/>
  <Override PartName="/ppt/slideLayouts/slideLayout1875.xml" ContentType="application/vnd.openxmlformats-officedocument.presentationml.slideLayout+xml"/>
  <Override PartName="/ppt/slideLayouts/slideLayout1876.xml" ContentType="application/vnd.openxmlformats-officedocument.presentationml.slideLayout+xml"/>
  <Override PartName="/ppt/slideLayouts/slideLayout1877.xml" ContentType="application/vnd.openxmlformats-officedocument.presentationml.slideLayout+xml"/>
  <Override PartName="/ppt/slideLayouts/slideLayout1878.xml" ContentType="application/vnd.openxmlformats-officedocument.presentationml.slideLayout+xml"/>
  <Override PartName="/ppt/slideLayouts/slideLayout1879.xml" ContentType="application/vnd.openxmlformats-officedocument.presentationml.slideLayout+xml"/>
  <Override PartName="/ppt/slideLayouts/slideLayout1880.xml" ContentType="application/vnd.openxmlformats-officedocument.presentationml.slideLayout+xml"/>
  <Override PartName="/ppt/slideLayouts/slideLayout1881.xml" ContentType="application/vnd.openxmlformats-officedocument.presentationml.slideLayout+xml"/>
  <Override PartName="/ppt/slideLayouts/slideLayout1882.xml" ContentType="application/vnd.openxmlformats-officedocument.presentationml.slideLayout+xml"/>
  <Override PartName="/ppt/slideLayouts/slideLayout1883.xml" ContentType="application/vnd.openxmlformats-officedocument.presentationml.slideLayout+xml"/>
  <Override PartName="/ppt/slideLayouts/slideLayout1884.xml" ContentType="application/vnd.openxmlformats-officedocument.presentationml.slideLayout+xml"/>
  <Override PartName="/ppt/slideLayouts/slideLayout1885.xml" ContentType="application/vnd.openxmlformats-officedocument.presentationml.slideLayout+xml"/>
  <Override PartName="/ppt/slideLayouts/slideLayout1886.xml" ContentType="application/vnd.openxmlformats-officedocument.presentationml.slideLayout+xml"/>
  <Override PartName="/ppt/slideLayouts/slideLayout1887.xml" ContentType="application/vnd.openxmlformats-officedocument.presentationml.slideLayout+xml"/>
  <Override PartName="/ppt/slideLayouts/slideLayout1888.xml" ContentType="application/vnd.openxmlformats-officedocument.presentationml.slideLayout+xml"/>
  <Override PartName="/ppt/slideLayouts/slideLayout1889.xml" ContentType="application/vnd.openxmlformats-officedocument.presentationml.slideLayout+xml"/>
  <Override PartName="/ppt/slideLayouts/slideLayout1890.xml" ContentType="application/vnd.openxmlformats-officedocument.presentationml.slideLayout+xml"/>
  <Override PartName="/ppt/slideLayouts/slideLayout1891.xml" ContentType="application/vnd.openxmlformats-officedocument.presentationml.slideLayout+xml"/>
  <Override PartName="/ppt/slideLayouts/slideLayout1892.xml" ContentType="application/vnd.openxmlformats-officedocument.presentationml.slideLayout+xml"/>
  <Override PartName="/ppt/slideLayouts/slideLayout1893.xml" ContentType="application/vnd.openxmlformats-officedocument.presentationml.slideLayout+xml"/>
  <Override PartName="/ppt/slideLayouts/slideLayout1894.xml" ContentType="application/vnd.openxmlformats-officedocument.presentationml.slideLayout+xml"/>
  <Override PartName="/ppt/slideLayouts/slideLayout1895.xml" ContentType="application/vnd.openxmlformats-officedocument.presentationml.slideLayout+xml"/>
  <Override PartName="/ppt/slideLayouts/slideLayout1896.xml" ContentType="application/vnd.openxmlformats-officedocument.presentationml.slideLayout+xml"/>
  <Override PartName="/ppt/slideLayouts/slideLayout1897.xml" ContentType="application/vnd.openxmlformats-officedocument.presentationml.slideLayout+xml"/>
  <Override PartName="/ppt/slideLayouts/slideLayout1898.xml" ContentType="application/vnd.openxmlformats-officedocument.presentationml.slideLayout+xml"/>
  <Override PartName="/ppt/slideLayouts/slideLayout1899.xml" ContentType="application/vnd.openxmlformats-officedocument.presentationml.slideLayout+xml"/>
  <Override PartName="/ppt/slideLayouts/slideLayout1900.xml" ContentType="application/vnd.openxmlformats-officedocument.presentationml.slideLayout+xml"/>
  <Override PartName="/ppt/slideLayouts/slideLayout1901.xml" ContentType="application/vnd.openxmlformats-officedocument.presentationml.slideLayout+xml"/>
  <Override PartName="/ppt/slideLayouts/slideLayout1902.xml" ContentType="application/vnd.openxmlformats-officedocument.presentationml.slideLayout+xml"/>
  <Override PartName="/ppt/slideLayouts/slideLayout1903.xml" ContentType="application/vnd.openxmlformats-officedocument.presentationml.slideLayout+xml"/>
  <Override PartName="/ppt/slideLayouts/slideLayout1904.xml" ContentType="application/vnd.openxmlformats-officedocument.presentationml.slideLayout+xml"/>
  <Override PartName="/ppt/slideLayouts/slideLayout1905.xml" ContentType="application/vnd.openxmlformats-officedocument.presentationml.slideLayout+xml"/>
  <Override PartName="/ppt/slideLayouts/slideLayout1906.xml" ContentType="application/vnd.openxmlformats-officedocument.presentationml.slideLayout+xml"/>
  <Override PartName="/ppt/slideLayouts/slideLayout1907.xml" ContentType="application/vnd.openxmlformats-officedocument.presentationml.slideLayout+xml"/>
  <Override PartName="/ppt/slideLayouts/slideLayout1908.xml" ContentType="application/vnd.openxmlformats-officedocument.presentationml.slideLayout+xml"/>
  <Override PartName="/ppt/slideLayouts/slideLayout1909.xml" ContentType="application/vnd.openxmlformats-officedocument.presentationml.slideLayout+xml"/>
  <Override PartName="/ppt/slideLayouts/slideLayout1910.xml" ContentType="application/vnd.openxmlformats-officedocument.presentationml.slideLayout+xml"/>
  <Override PartName="/ppt/slideLayouts/slideLayout1911.xml" ContentType="application/vnd.openxmlformats-officedocument.presentationml.slideLayout+xml"/>
  <Override PartName="/ppt/slideLayouts/slideLayout1912.xml" ContentType="application/vnd.openxmlformats-officedocument.presentationml.slideLayout+xml"/>
  <Override PartName="/ppt/slideLayouts/slideLayout1913.xml" ContentType="application/vnd.openxmlformats-officedocument.presentationml.slideLayout+xml"/>
  <Override PartName="/ppt/slideLayouts/slideLayout1914.xml" ContentType="application/vnd.openxmlformats-officedocument.presentationml.slideLayout+xml"/>
  <Override PartName="/ppt/slideLayouts/slideLayout1915.xml" ContentType="application/vnd.openxmlformats-officedocument.presentationml.slideLayout+xml"/>
  <Override PartName="/ppt/slideLayouts/slideLayout1916.xml" ContentType="application/vnd.openxmlformats-officedocument.presentationml.slideLayout+xml"/>
  <Override PartName="/ppt/slideLayouts/slideLayout1917.xml" ContentType="application/vnd.openxmlformats-officedocument.presentationml.slideLayout+xml"/>
  <Override PartName="/ppt/slideLayouts/slideLayout1918.xml" ContentType="application/vnd.openxmlformats-officedocument.presentationml.slideLayout+xml"/>
  <Override PartName="/ppt/slideLayouts/slideLayout1919.xml" ContentType="application/vnd.openxmlformats-officedocument.presentationml.slideLayout+xml"/>
  <Override PartName="/ppt/slideLayouts/slideLayout1920.xml" ContentType="application/vnd.openxmlformats-officedocument.presentationml.slideLayout+xml"/>
  <Override PartName="/ppt/slideLayouts/slideLayout1921.xml" ContentType="application/vnd.openxmlformats-officedocument.presentationml.slideLayout+xml"/>
  <Override PartName="/ppt/slideLayouts/slideLayout1922.xml" ContentType="application/vnd.openxmlformats-officedocument.presentationml.slideLayout+xml"/>
  <Override PartName="/ppt/slideLayouts/slideLayout1923.xml" ContentType="application/vnd.openxmlformats-officedocument.presentationml.slideLayout+xml"/>
  <Override PartName="/ppt/slideLayouts/slideLayout1924.xml" ContentType="application/vnd.openxmlformats-officedocument.presentationml.slideLayout+xml"/>
  <Override PartName="/ppt/slideLayouts/slideLayout1925.xml" ContentType="application/vnd.openxmlformats-officedocument.presentationml.slideLayout+xml"/>
  <Override PartName="/ppt/slideLayouts/slideLayout1926.xml" ContentType="application/vnd.openxmlformats-officedocument.presentationml.slideLayout+xml"/>
  <Override PartName="/ppt/slideLayouts/slideLayout1927.xml" ContentType="application/vnd.openxmlformats-officedocument.presentationml.slideLayout+xml"/>
  <Override PartName="/ppt/slideLayouts/slideLayout1928.xml" ContentType="application/vnd.openxmlformats-officedocument.presentationml.slideLayout+xml"/>
  <Override PartName="/ppt/slideLayouts/slideLayout1929.xml" ContentType="application/vnd.openxmlformats-officedocument.presentationml.slideLayout+xml"/>
  <Override PartName="/ppt/slideLayouts/slideLayout1930.xml" ContentType="application/vnd.openxmlformats-officedocument.presentationml.slideLayout+xml"/>
  <Override PartName="/ppt/slideLayouts/slideLayout1931.xml" ContentType="application/vnd.openxmlformats-officedocument.presentationml.slideLayout+xml"/>
  <Override PartName="/ppt/slideLayouts/slideLayout1932.xml" ContentType="application/vnd.openxmlformats-officedocument.presentationml.slideLayout+xml"/>
  <Override PartName="/ppt/slideLayouts/slideLayout1933.xml" ContentType="application/vnd.openxmlformats-officedocument.presentationml.slideLayout+xml"/>
  <Override PartName="/ppt/slideLayouts/slideLayout1934.xml" ContentType="application/vnd.openxmlformats-officedocument.presentationml.slideLayout+xml"/>
  <Override PartName="/ppt/slideLayouts/slideLayout1935.xml" ContentType="application/vnd.openxmlformats-officedocument.presentationml.slideLayout+xml"/>
  <Override PartName="/ppt/slideLayouts/slideLayout1936.xml" ContentType="application/vnd.openxmlformats-officedocument.presentationml.slideLayout+xml"/>
  <Override PartName="/ppt/slideLayouts/slideLayout1937.xml" ContentType="application/vnd.openxmlformats-officedocument.presentationml.slideLayout+xml"/>
  <Override PartName="/ppt/slideLayouts/slideLayout1938.xml" ContentType="application/vnd.openxmlformats-officedocument.presentationml.slideLayout+xml"/>
  <Override PartName="/ppt/slideLayouts/slideLayout1939.xml" ContentType="application/vnd.openxmlformats-officedocument.presentationml.slideLayout+xml"/>
  <Override PartName="/ppt/slideLayouts/slideLayout1940.xml" ContentType="application/vnd.openxmlformats-officedocument.presentationml.slideLayout+xml"/>
  <Override PartName="/ppt/slideLayouts/slideLayout1941.xml" ContentType="application/vnd.openxmlformats-officedocument.presentationml.slideLayout+xml"/>
  <Override PartName="/ppt/slideLayouts/slideLayout1942.xml" ContentType="application/vnd.openxmlformats-officedocument.presentationml.slideLayout+xml"/>
  <Override PartName="/ppt/slideLayouts/slideLayout1943.xml" ContentType="application/vnd.openxmlformats-officedocument.presentationml.slideLayout+xml"/>
  <Override PartName="/ppt/slideLayouts/slideLayout1944.xml" ContentType="application/vnd.openxmlformats-officedocument.presentationml.slideLayout+xml"/>
  <Override PartName="/ppt/slideLayouts/slideLayout1945.xml" ContentType="application/vnd.openxmlformats-officedocument.presentationml.slideLayout+xml"/>
  <Override PartName="/ppt/slideLayouts/slideLayout1946.xml" ContentType="application/vnd.openxmlformats-officedocument.presentationml.slideLayout+xml"/>
  <Override PartName="/ppt/slideLayouts/slideLayout1947.xml" ContentType="application/vnd.openxmlformats-officedocument.presentationml.slideLayout+xml"/>
  <Override PartName="/ppt/slideLayouts/slideLayout1948.xml" ContentType="application/vnd.openxmlformats-officedocument.presentationml.slideLayout+xml"/>
  <Override PartName="/ppt/slideLayouts/slideLayout1949.xml" ContentType="application/vnd.openxmlformats-officedocument.presentationml.slideLayout+xml"/>
  <Override PartName="/ppt/slideLayouts/slideLayout1950.xml" ContentType="application/vnd.openxmlformats-officedocument.presentationml.slideLayout+xml"/>
  <Override PartName="/ppt/slideLayouts/slideLayout1951.xml" ContentType="application/vnd.openxmlformats-officedocument.presentationml.slideLayout+xml"/>
  <Override PartName="/ppt/slideLayouts/slideLayout1952.xml" ContentType="application/vnd.openxmlformats-officedocument.presentationml.slideLayout+xml"/>
  <Override PartName="/ppt/slideLayouts/slideLayout1953.xml" ContentType="application/vnd.openxmlformats-officedocument.presentationml.slideLayout+xml"/>
  <Override PartName="/ppt/slideLayouts/slideLayout1954.xml" ContentType="application/vnd.openxmlformats-officedocument.presentationml.slideLayout+xml"/>
  <Override PartName="/ppt/slideLayouts/slideLayout1955.xml" ContentType="application/vnd.openxmlformats-officedocument.presentationml.slideLayout+xml"/>
  <Override PartName="/ppt/slideLayouts/slideLayout1956.xml" ContentType="application/vnd.openxmlformats-officedocument.presentationml.slideLayout+xml"/>
  <Override PartName="/ppt/slideLayouts/slideLayout1957.xml" ContentType="application/vnd.openxmlformats-officedocument.presentationml.slideLayout+xml"/>
  <Override PartName="/ppt/slideLayouts/slideLayout1958.xml" ContentType="application/vnd.openxmlformats-officedocument.presentationml.slideLayout+xml"/>
  <Override PartName="/ppt/slideLayouts/slideLayout1959.xml" ContentType="application/vnd.openxmlformats-officedocument.presentationml.slideLayout+xml"/>
  <Override PartName="/ppt/slideLayouts/slideLayout1960.xml" ContentType="application/vnd.openxmlformats-officedocument.presentationml.slideLayout+xml"/>
  <Override PartName="/ppt/slideLayouts/slideLayout1961.xml" ContentType="application/vnd.openxmlformats-officedocument.presentationml.slideLayout+xml"/>
  <Override PartName="/ppt/slideLayouts/slideLayout1962.xml" ContentType="application/vnd.openxmlformats-officedocument.presentationml.slideLayout+xml"/>
  <Override PartName="/ppt/slideLayouts/slideLayout1963.xml" ContentType="application/vnd.openxmlformats-officedocument.presentationml.slideLayout+xml"/>
  <Override PartName="/ppt/slideLayouts/slideLayout1964.xml" ContentType="application/vnd.openxmlformats-officedocument.presentationml.slideLayout+xml"/>
  <Override PartName="/ppt/slideLayouts/slideLayout1965.xml" ContentType="application/vnd.openxmlformats-officedocument.presentationml.slideLayout+xml"/>
  <Override PartName="/ppt/slideLayouts/slideLayout1966.xml" ContentType="application/vnd.openxmlformats-officedocument.presentationml.slideLayout+xml"/>
  <Override PartName="/ppt/slideLayouts/slideLayout1967.xml" ContentType="application/vnd.openxmlformats-officedocument.presentationml.slideLayout+xml"/>
  <Override PartName="/ppt/slideLayouts/slideLayout1968.xml" ContentType="application/vnd.openxmlformats-officedocument.presentationml.slideLayout+xml"/>
  <Override PartName="/ppt/slideLayouts/slideLayout1969.xml" ContentType="application/vnd.openxmlformats-officedocument.presentationml.slideLayout+xml"/>
  <Override PartName="/ppt/slideLayouts/slideLayout1970.xml" ContentType="application/vnd.openxmlformats-officedocument.presentationml.slideLayout+xml"/>
  <Override PartName="/ppt/slideLayouts/slideLayout1971.xml" ContentType="application/vnd.openxmlformats-officedocument.presentationml.slideLayout+xml"/>
  <Override PartName="/ppt/slideLayouts/slideLayout1972.xml" ContentType="application/vnd.openxmlformats-officedocument.presentationml.slideLayout+xml"/>
  <Override PartName="/ppt/slideLayouts/slideLayout1973.xml" ContentType="application/vnd.openxmlformats-officedocument.presentationml.slideLayout+xml"/>
  <Override PartName="/ppt/slideLayouts/slideLayout1974.xml" ContentType="application/vnd.openxmlformats-officedocument.presentationml.slideLayout+xml"/>
  <Override PartName="/ppt/slideLayouts/slideLayout1975.xml" ContentType="application/vnd.openxmlformats-officedocument.presentationml.slideLayout+xml"/>
  <Override PartName="/ppt/slideLayouts/slideLayout1976.xml" ContentType="application/vnd.openxmlformats-officedocument.presentationml.slideLayout+xml"/>
  <Override PartName="/ppt/slideLayouts/slideLayout1977.xml" ContentType="application/vnd.openxmlformats-officedocument.presentationml.slideLayout+xml"/>
  <Override PartName="/ppt/slideLayouts/slideLayout1978.xml" ContentType="application/vnd.openxmlformats-officedocument.presentationml.slideLayout+xml"/>
  <Override PartName="/ppt/slideLayouts/slideLayout1979.xml" ContentType="application/vnd.openxmlformats-officedocument.presentationml.slideLayout+xml"/>
  <Override PartName="/ppt/slideLayouts/slideLayout1980.xml" ContentType="application/vnd.openxmlformats-officedocument.presentationml.slideLayout+xml"/>
  <Override PartName="/ppt/slideLayouts/slideLayout1981.xml" ContentType="application/vnd.openxmlformats-officedocument.presentationml.slideLayout+xml"/>
  <Override PartName="/ppt/slideLayouts/slideLayout1982.xml" ContentType="application/vnd.openxmlformats-officedocument.presentationml.slideLayout+xml"/>
  <Override PartName="/ppt/slideLayouts/slideLayout1983.xml" ContentType="application/vnd.openxmlformats-officedocument.presentationml.slideLayout+xml"/>
  <Override PartName="/ppt/slideLayouts/slideLayout1984.xml" ContentType="application/vnd.openxmlformats-officedocument.presentationml.slideLayout+xml"/>
  <Override PartName="/ppt/slideLayouts/slideLayout1985.xml" ContentType="application/vnd.openxmlformats-officedocument.presentationml.slideLayout+xml"/>
  <Override PartName="/ppt/slideLayouts/slideLayout1986.xml" ContentType="application/vnd.openxmlformats-officedocument.presentationml.slideLayout+xml"/>
  <Override PartName="/ppt/slideLayouts/slideLayout1987.xml" ContentType="application/vnd.openxmlformats-officedocument.presentationml.slideLayout+xml"/>
  <Override PartName="/ppt/slideLayouts/slideLayout1988.xml" ContentType="application/vnd.openxmlformats-officedocument.presentationml.slideLayout+xml"/>
  <Override PartName="/ppt/slideLayouts/slideLayout1989.xml" ContentType="application/vnd.openxmlformats-officedocument.presentationml.slideLayout+xml"/>
  <Override PartName="/ppt/slideLayouts/slideLayout1990.xml" ContentType="application/vnd.openxmlformats-officedocument.presentationml.slideLayout+xml"/>
  <Override PartName="/ppt/slideLayouts/slideLayout1991.xml" ContentType="application/vnd.openxmlformats-officedocument.presentationml.slideLayout+xml"/>
  <Override PartName="/ppt/slideLayouts/slideLayout1992.xml" ContentType="application/vnd.openxmlformats-officedocument.presentationml.slideLayout+xml"/>
  <Override PartName="/ppt/slideLayouts/slideLayout1993.xml" ContentType="application/vnd.openxmlformats-officedocument.presentationml.slideLayout+xml"/>
  <Override PartName="/ppt/slideLayouts/slideLayout1994.xml" ContentType="application/vnd.openxmlformats-officedocument.presentationml.slideLayout+xml"/>
  <Override PartName="/ppt/slideLayouts/slideLayout1995.xml" ContentType="application/vnd.openxmlformats-officedocument.presentationml.slideLayout+xml"/>
  <Override PartName="/ppt/slideLayouts/slideLayout1996.xml" ContentType="application/vnd.openxmlformats-officedocument.presentationml.slideLayout+xml"/>
  <Override PartName="/ppt/slideLayouts/slideLayout1997.xml" ContentType="application/vnd.openxmlformats-officedocument.presentationml.slideLayout+xml"/>
  <Override PartName="/ppt/slideLayouts/slideLayout1998.xml" ContentType="application/vnd.openxmlformats-officedocument.presentationml.slideLayout+xml"/>
  <Override PartName="/ppt/slideLayouts/slideLayout1999.xml" ContentType="application/vnd.openxmlformats-officedocument.presentationml.slideLayout+xml"/>
  <Override PartName="/ppt/slideLayouts/slideLayout2000.xml" ContentType="application/vnd.openxmlformats-officedocument.presentationml.slideLayout+xml"/>
  <Override PartName="/ppt/slideLayouts/slideLayout2001.xml" ContentType="application/vnd.openxmlformats-officedocument.presentationml.slideLayout+xml"/>
  <Override PartName="/ppt/slideLayouts/slideLayout2002.xml" ContentType="application/vnd.openxmlformats-officedocument.presentationml.slideLayout+xml"/>
  <Override PartName="/ppt/slideLayouts/slideLayout2003.xml" ContentType="application/vnd.openxmlformats-officedocument.presentationml.slideLayout+xml"/>
  <Override PartName="/ppt/slideLayouts/slideLayout2004.xml" ContentType="application/vnd.openxmlformats-officedocument.presentationml.slideLayout+xml"/>
  <Override PartName="/ppt/slideLayouts/slideLayout2005.xml" ContentType="application/vnd.openxmlformats-officedocument.presentationml.slideLayout+xml"/>
  <Override PartName="/ppt/slideLayouts/slideLayout2006.xml" ContentType="application/vnd.openxmlformats-officedocument.presentationml.slideLayout+xml"/>
  <Override PartName="/ppt/slideLayouts/slideLayout2007.xml" ContentType="application/vnd.openxmlformats-officedocument.presentationml.slideLayout+xml"/>
  <Override PartName="/ppt/slideLayouts/slideLayout2008.xml" ContentType="application/vnd.openxmlformats-officedocument.presentationml.slideLayout+xml"/>
  <Override PartName="/ppt/slideLayouts/slideLayout2009.xml" ContentType="application/vnd.openxmlformats-officedocument.presentationml.slideLayout+xml"/>
  <Override PartName="/ppt/slideLayouts/slideLayout2010.xml" ContentType="application/vnd.openxmlformats-officedocument.presentationml.slideLayout+xml"/>
  <Override PartName="/ppt/slideLayouts/slideLayout2011.xml" ContentType="application/vnd.openxmlformats-officedocument.presentationml.slideLayout+xml"/>
  <Override PartName="/ppt/slideLayouts/slideLayout2012.xml" ContentType="application/vnd.openxmlformats-officedocument.presentationml.slideLayout+xml"/>
  <Override PartName="/ppt/slideLayouts/slideLayout2013.xml" ContentType="application/vnd.openxmlformats-officedocument.presentationml.slideLayout+xml"/>
  <Override PartName="/ppt/slideLayouts/slideLayout2014.xml" ContentType="application/vnd.openxmlformats-officedocument.presentationml.slideLayout+xml"/>
  <Override PartName="/ppt/slideLayouts/slideLayout2015.xml" ContentType="application/vnd.openxmlformats-officedocument.presentationml.slideLayout+xml"/>
  <Override PartName="/ppt/slideLayouts/slideLayout2016.xml" ContentType="application/vnd.openxmlformats-officedocument.presentationml.slideLayout+xml"/>
  <Override PartName="/ppt/slideLayouts/slideLayout2017.xml" ContentType="application/vnd.openxmlformats-officedocument.presentationml.slideLayout+xml"/>
  <Override PartName="/ppt/slideLayouts/slideLayout2018.xml" ContentType="application/vnd.openxmlformats-officedocument.presentationml.slideLayout+xml"/>
  <Override PartName="/ppt/slideLayouts/slideLayout2019.xml" ContentType="application/vnd.openxmlformats-officedocument.presentationml.slideLayout+xml"/>
  <Override PartName="/ppt/slideLayouts/slideLayout2020.xml" ContentType="application/vnd.openxmlformats-officedocument.presentationml.slideLayout+xml"/>
  <Override PartName="/ppt/slideLayouts/slideLayout2021.xml" ContentType="application/vnd.openxmlformats-officedocument.presentationml.slideLayout+xml"/>
  <Override PartName="/ppt/slideLayouts/slideLayout2022.xml" ContentType="application/vnd.openxmlformats-officedocument.presentationml.slideLayout+xml"/>
  <Override PartName="/ppt/slideLayouts/slideLayout2023.xml" ContentType="application/vnd.openxmlformats-officedocument.presentationml.slideLayout+xml"/>
  <Override PartName="/ppt/slideLayouts/slideLayout2024.xml" ContentType="application/vnd.openxmlformats-officedocument.presentationml.slideLayout+xml"/>
  <Override PartName="/ppt/slideLayouts/slideLayout2025.xml" ContentType="application/vnd.openxmlformats-officedocument.presentationml.slideLayout+xml"/>
  <Override PartName="/ppt/slideLayouts/slideLayout2026.xml" ContentType="application/vnd.openxmlformats-officedocument.presentationml.slideLayout+xml"/>
  <Override PartName="/ppt/slideLayouts/slideLayout2027.xml" ContentType="application/vnd.openxmlformats-officedocument.presentationml.slideLayout+xml"/>
  <Override PartName="/ppt/slideLayouts/slideLayout2028.xml" ContentType="application/vnd.openxmlformats-officedocument.presentationml.slideLayout+xml"/>
  <Override PartName="/ppt/slideLayouts/slideLayout2029.xml" ContentType="application/vnd.openxmlformats-officedocument.presentationml.slideLayout+xml"/>
  <Override PartName="/ppt/slideLayouts/slideLayout2030.xml" ContentType="application/vnd.openxmlformats-officedocument.presentationml.slideLayout+xml"/>
  <Override PartName="/ppt/slideLayouts/slideLayout2031.xml" ContentType="application/vnd.openxmlformats-officedocument.presentationml.slideLayout+xml"/>
  <Override PartName="/ppt/slideLayouts/slideLayout2032.xml" ContentType="application/vnd.openxmlformats-officedocument.presentationml.slideLayout+xml"/>
  <Override PartName="/ppt/slideLayouts/slideLayout2033.xml" ContentType="application/vnd.openxmlformats-officedocument.presentationml.slideLayout+xml"/>
  <Override PartName="/ppt/slideLayouts/slideLayout2034.xml" ContentType="application/vnd.openxmlformats-officedocument.presentationml.slideLayout+xml"/>
  <Override PartName="/ppt/slideLayouts/slideLayout2035.xml" ContentType="application/vnd.openxmlformats-officedocument.presentationml.slideLayout+xml"/>
  <Override PartName="/ppt/slideLayouts/slideLayout2036.xml" ContentType="application/vnd.openxmlformats-officedocument.presentationml.slideLayout+xml"/>
  <Override PartName="/ppt/slideLayouts/slideLayout2037.xml" ContentType="application/vnd.openxmlformats-officedocument.presentationml.slideLayout+xml"/>
  <Override PartName="/ppt/slideLayouts/slideLayout2038.xml" ContentType="application/vnd.openxmlformats-officedocument.presentationml.slideLayout+xml"/>
  <Override PartName="/ppt/slideLayouts/slideLayout2039.xml" ContentType="application/vnd.openxmlformats-officedocument.presentationml.slideLayout+xml"/>
  <Override PartName="/ppt/slideLayouts/slideLayout2040.xml" ContentType="application/vnd.openxmlformats-officedocument.presentationml.slideLayout+xml"/>
  <Override PartName="/ppt/slideLayouts/slideLayout2041.xml" ContentType="application/vnd.openxmlformats-officedocument.presentationml.slideLayout+xml"/>
  <Override PartName="/ppt/slideLayouts/slideLayout2042.xml" ContentType="application/vnd.openxmlformats-officedocument.presentationml.slideLayout+xml"/>
  <Override PartName="/ppt/slideLayouts/slideLayout2043.xml" ContentType="application/vnd.openxmlformats-officedocument.presentationml.slideLayout+xml"/>
  <Override PartName="/ppt/slideLayouts/slideLayout2044.xml" ContentType="application/vnd.openxmlformats-officedocument.presentationml.slideLayout+xml"/>
  <Override PartName="/ppt/slideLayouts/slideLayout2045.xml" ContentType="application/vnd.openxmlformats-officedocument.presentationml.slideLayout+xml"/>
  <Override PartName="/ppt/slideLayouts/slideLayout2046.xml" ContentType="application/vnd.openxmlformats-officedocument.presentationml.slideLayout+xml"/>
  <Override PartName="/ppt/slideLayouts/slideLayout2047.xml" ContentType="application/vnd.openxmlformats-officedocument.presentationml.slideLayout+xml"/>
  <Override PartName="/ppt/slideLayouts/slideLayout2048.xml" ContentType="application/vnd.openxmlformats-officedocument.presentationml.slideLayout+xml"/>
  <Override PartName="/ppt/slideLayouts/slideLayout2049.xml" ContentType="application/vnd.openxmlformats-officedocument.presentationml.slideLayout+xml"/>
  <Override PartName="/ppt/slideLayouts/slideLayout2050.xml" ContentType="application/vnd.openxmlformats-officedocument.presentationml.slideLayout+xml"/>
  <Override PartName="/ppt/slideLayouts/slideLayout2051.xml" ContentType="application/vnd.openxmlformats-officedocument.presentationml.slideLayout+xml"/>
  <Override PartName="/ppt/slideLayouts/slideLayout2052.xml" ContentType="application/vnd.openxmlformats-officedocument.presentationml.slideLayout+xml"/>
  <Override PartName="/ppt/slideLayouts/slideLayout2053.xml" ContentType="application/vnd.openxmlformats-officedocument.presentationml.slideLayout+xml"/>
  <Override PartName="/ppt/slideLayouts/slideLayout2054.xml" ContentType="application/vnd.openxmlformats-officedocument.presentationml.slideLayout+xml"/>
  <Override PartName="/ppt/slideLayouts/slideLayout2055.xml" ContentType="application/vnd.openxmlformats-officedocument.presentationml.slideLayout+xml"/>
  <Override PartName="/ppt/slideLayouts/slideLayout2056.xml" ContentType="application/vnd.openxmlformats-officedocument.presentationml.slideLayout+xml"/>
  <Override PartName="/ppt/slideLayouts/slideLayout2057.xml" ContentType="application/vnd.openxmlformats-officedocument.presentationml.slideLayout+xml"/>
  <Override PartName="/ppt/slideLayouts/slideLayout2058.xml" ContentType="application/vnd.openxmlformats-officedocument.presentationml.slideLayout+xml"/>
  <Override PartName="/ppt/slideLayouts/slideLayout2059.xml" ContentType="application/vnd.openxmlformats-officedocument.presentationml.slideLayout+xml"/>
  <Override PartName="/ppt/slideLayouts/slideLayout2060.xml" ContentType="application/vnd.openxmlformats-officedocument.presentationml.slideLayout+xml"/>
  <Override PartName="/ppt/slideLayouts/slideLayout2061.xml" ContentType="application/vnd.openxmlformats-officedocument.presentationml.slideLayout+xml"/>
  <Override PartName="/ppt/slideLayouts/slideLayout2062.xml" ContentType="application/vnd.openxmlformats-officedocument.presentationml.slideLayout+xml"/>
  <Override PartName="/ppt/slideLayouts/slideLayout2063.xml" ContentType="application/vnd.openxmlformats-officedocument.presentationml.slideLayout+xml"/>
  <Override PartName="/ppt/slideLayouts/slideLayout2064.xml" ContentType="application/vnd.openxmlformats-officedocument.presentationml.slideLayout+xml"/>
  <Override PartName="/ppt/slideLayouts/slideLayout2065.xml" ContentType="application/vnd.openxmlformats-officedocument.presentationml.slideLayout+xml"/>
  <Override PartName="/ppt/slideLayouts/slideLayout2066.xml" ContentType="application/vnd.openxmlformats-officedocument.presentationml.slideLayout+xml"/>
  <Override PartName="/ppt/slideLayouts/slideLayout2067.xml" ContentType="application/vnd.openxmlformats-officedocument.presentationml.slideLayout+xml"/>
  <Override PartName="/ppt/slideLayouts/slideLayout2068.xml" ContentType="application/vnd.openxmlformats-officedocument.presentationml.slideLayout+xml"/>
  <Override PartName="/ppt/slideLayouts/slideLayout2069.xml" ContentType="application/vnd.openxmlformats-officedocument.presentationml.slideLayout+xml"/>
  <Override PartName="/ppt/slideLayouts/slideLayout2070.xml" ContentType="application/vnd.openxmlformats-officedocument.presentationml.slideLayout+xml"/>
  <Override PartName="/ppt/slideLayouts/slideLayout2071.xml" ContentType="application/vnd.openxmlformats-officedocument.presentationml.slideLayout+xml"/>
  <Override PartName="/ppt/slideLayouts/slideLayout2072.xml" ContentType="application/vnd.openxmlformats-officedocument.presentationml.slideLayout+xml"/>
  <Override PartName="/ppt/slideLayouts/slideLayout2073.xml" ContentType="application/vnd.openxmlformats-officedocument.presentationml.slideLayout+xml"/>
  <Override PartName="/ppt/slideLayouts/slideLayout2074.xml" ContentType="application/vnd.openxmlformats-officedocument.presentationml.slideLayout+xml"/>
  <Override PartName="/ppt/slideLayouts/slideLayout2075.xml" ContentType="application/vnd.openxmlformats-officedocument.presentationml.slideLayout+xml"/>
  <Override PartName="/ppt/slideLayouts/slideLayout2076.xml" ContentType="application/vnd.openxmlformats-officedocument.presentationml.slideLayout+xml"/>
  <Override PartName="/ppt/slideLayouts/slideLayout2077.xml" ContentType="application/vnd.openxmlformats-officedocument.presentationml.slideLayout+xml"/>
  <Override PartName="/ppt/slideLayouts/slideLayout2078.xml" ContentType="application/vnd.openxmlformats-officedocument.presentationml.slideLayout+xml"/>
  <Override PartName="/ppt/slideLayouts/slideLayout2079.xml" ContentType="application/vnd.openxmlformats-officedocument.presentationml.slideLayout+xml"/>
  <Override PartName="/ppt/slideLayouts/slideLayout2080.xml" ContentType="application/vnd.openxmlformats-officedocument.presentationml.slideLayout+xml"/>
  <Override PartName="/ppt/slideLayouts/slideLayout2081.xml" ContentType="application/vnd.openxmlformats-officedocument.presentationml.slideLayout+xml"/>
  <Override PartName="/ppt/slideLayouts/slideLayout2082.xml" ContentType="application/vnd.openxmlformats-officedocument.presentationml.slideLayout+xml"/>
  <Override PartName="/ppt/slideLayouts/slideLayout2083.xml" ContentType="application/vnd.openxmlformats-officedocument.presentationml.slideLayout+xml"/>
  <Override PartName="/ppt/slideLayouts/slideLayout2084.xml" ContentType="application/vnd.openxmlformats-officedocument.presentationml.slideLayout+xml"/>
  <Override PartName="/ppt/slideLayouts/slideLayout2085.xml" ContentType="application/vnd.openxmlformats-officedocument.presentationml.slideLayout+xml"/>
  <Override PartName="/ppt/slideLayouts/slideLayout2086.xml" ContentType="application/vnd.openxmlformats-officedocument.presentationml.slideLayout+xml"/>
  <Override PartName="/ppt/slideLayouts/slideLayout2087.xml" ContentType="application/vnd.openxmlformats-officedocument.presentationml.slideLayout+xml"/>
  <Override PartName="/ppt/slideLayouts/slideLayout2088.xml" ContentType="application/vnd.openxmlformats-officedocument.presentationml.slideLayout+xml"/>
  <Override PartName="/ppt/slideLayouts/slideLayout2089.xml" ContentType="application/vnd.openxmlformats-officedocument.presentationml.slideLayout+xml"/>
  <Override PartName="/ppt/slideLayouts/slideLayout2090.xml" ContentType="application/vnd.openxmlformats-officedocument.presentationml.slideLayout+xml"/>
  <Override PartName="/ppt/slideLayouts/slideLayout2091.xml" ContentType="application/vnd.openxmlformats-officedocument.presentationml.slideLayout+xml"/>
  <Override PartName="/ppt/slideLayouts/slideLayout2092.xml" ContentType="application/vnd.openxmlformats-officedocument.presentationml.slideLayout+xml"/>
  <Override PartName="/ppt/slideLayouts/slideLayout2093.xml" ContentType="application/vnd.openxmlformats-officedocument.presentationml.slideLayout+xml"/>
  <Override PartName="/ppt/slideLayouts/slideLayout2094.xml" ContentType="application/vnd.openxmlformats-officedocument.presentationml.slideLayout+xml"/>
  <Override PartName="/ppt/slideLayouts/slideLayout2095.xml" ContentType="application/vnd.openxmlformats-officedocument.presentationml.slideLayout+xml"/>
  <Override PartName="/ppt/slideLayouts/slideLayout2096.xml" ContentType="application/vnd.openxmlformats-officedocument.presentationml.slideLayout+xml"/>
  <Override PartName="/ppt/slideLayouts/slideLayout2097.xml" ContentType="application/vnd.openxmlformats-officedocument.presentationml.slideLayout+xml"/>
  <Override PartName="/ppt/slideLayouts/slideLayout2098.xml" ContentType="application/vnd.openxmlformats-officedocument.presentationml.slideLayout+xml"/>
  <Override PartName="/ppt/slideLayouts/slideLayout2099.xml" ContentType="application/vnd.openxmlformats-officedocument.presentationml.slideLayout+xml"/>
  <Override PartName="/ppt/slideLayouts/slideLayout2100.xml" ContentType="application/vnd.openxmlformats-officedocument.presentationml.slideLayout+xml"/>
  <Override PartName="/ppt/slideLayouts/slideLayout2101.xml" ContentType="application/vnd.openxmlformats-officedocument.presentationml.slideLayout+xml"/>
  <Override PartName="/ppt/slideLayouts/slideLayout2102.xml" ContentType="application/vnd.openxmlformats-officedocument.presentationml.slideLayout+xml"/>
  <Override PartName="/ppt/slideLayouts/slideLayout2103.xml" ContentType="application/vnd.openxmlformats-officedocument.presentationml.slideLayout+xml"/>
  <Override PartName="/ppt/slideLayouts/slideLayout2104.xml" ContentType="application/vnd.openxmlformats-officedocument.presentationml.slideLayout+xml"/>
  <Override PartName="/ppt/slideLayouts/slideLayout2105.xml" ContentType="application/vnd.openxmlformats-officedocument.presentationml.slideLayout+xml"/>
  <Override PartName="/ppt/slideLayouts/slideLayout2106.xml" ContentType="application/vnd.openxmlformats-officedocument.presentationml.slideLayout+xml"/>
  <Override PartName="/ppt/slideLayouts/slideLayout2107.xml" ContentType="application/vnd.openxmlformats-officedocument.presentationml.slideLayout+xml"/>
  <Override PartName="/ppt/slideLayouts/slideLayout2108.xml" ContentType="application/vnd.openxmlformats-officedocument.presentationml.slideLayout+xml"/>
  <Override PartName="/ppt/slideLayouts/slideLayout2109.xml" ContentType="application/vnd.openxmlformats-officedocument.presentationml.slideLayout+xml"/>
  <Override PartName="/ppt/slideLayouts/slideLayout2110.xml" ContentType="application/vnd.openxmlformats-officedocument.presentationml.slideLayout+xml"/>
  <Override PartName="/ppt/slideLayouts/slideLayout2111.xml" ContentType="application/vnd.openxmlformats-officedocument.presentationml.slideLayout+xml"/>
  <Override PartName="/ppt/slideLayouts/slideLayout2112.xml" ContentType="application/vnd.openxmlformats-officedocument.presentationml.slideLayout+xml"/>
  <Override PartName="/ppt/slideLayouts/slideLayout2113.xml" ContentType="application/vnd.openxmlformats-officedocument.presentationml.slideLayout+xml"/>
  <Override PartName="/ppt/slideLayouts/slideLayout2114.xml" ContentType="application/vnd.openxmlformats-officedocument.presentationml.slideLayout+xml"/>
  <Override PartName="/ppt/slideLayouts/slideLayout2115.xml" ContentType="application/vnd.openxmlformats-officedocument.presentationml.slideLayout+xml"/>
  <Override PartName="/ppt/slideLayouts/slideLayout2116.xml" ContentType="application/vnd.openxmlformats-officedocument.presentationml.slideLayout+xml"/>
  <Override PartName="/ppt/slideLayouts/slideLayout2117.xml" ContentType="application/vnd.openxmlformats-officedocument.presentationml.slideLayout+xml"/>
  <Override PartName="/ppt/slideLayouts/slideLayout2118.xml" ContentType="application/vnd.openxmlformats-officedocument.presentationml.slideLayout+xml"/>
  <Override PartName="/ppt/slideLayouts/slideLayout2119.xml" ContentType="application/vnd.openxmlformats-officedocument.presentationml.slideLayout+xml"/>
  <Override PartName="/ppt/slideLayouts/slideLayout2120.xml" ContentType="application/vnd.openxmlformats-officedocument.presentationml.slideLayout+xml"/>
  <Override PartName="/ppt/slideLayouts/slideLayout2121.xml" ContentType="application/vnd.openxmlformats-officedocument.presentationml.slideLayout+xml"/>
  <Override PartName="/ppt/slideLayouts/slideLayout2122.xml" ContentType="application/vnd.openxmlformats-officedocument.presentationml.slideLayout+xml"/>
  <Override PartName="/ppt/slideLayouts/slideLayout2123.xml" ContentType="application/vnd.openxmlformats-officedocument.presentationml.slideLayout+xml"/>
  <Override PartName="/ppt/slideLayouts/slideLayout2124.xml" ContentType="application/vnd.openxmlformats-officedocument.presentationml.slideLayout+xml"/>
  <Override PartName="/ppt/slideLayouts/slideLayout2125.xml" ContentType="application/vnd.openxmlformats-officedocument.presentationml.slideLayout+xml"/>
  <Override PartName="/ppt/slideLayouts/slideLayout2126.xml" ContentType="application/vnd.openxmlformats-officedocument.presentationml.slideLayout+xml"/>
  <Override PartName="/ppt/slideLayouts/slideLayout2127.xml" ContentType="application/vnd.openxmlformats-officedocument.presentationml.slideLayout+xml"/>
  <Override PartName="/ppt/slideLayouts/slideLayout2128.xml" ContentType="application/vnd.openxmlformats-officedocument.presentationml.slideLayout+xml"/>
  <Override PartName="/ppt/slideLayouts/slideLayout2129.xml" ContentType="application/vnd.openxmlformats-officedocument.presentationml.slideLayout+xml"/>
  <Override PartName="/ppt/slideLayouts/slideLayout2130.xml" ContentType="application/vnd.openxmlformats-officedocument.presentationml.slideLayout+xml"/>
  <Override PartName="/ppt/slideLayouts/slideLayout2131.xml" ContentType="application/vnd.openxmlformats-officedocument.presentationml.slideLayout+xml"/>
  <Override PartName="/ppt/slideLayouts/slideLayout2132.xml" ContentType="application/vnd.openxmlformats-officedocument.presentationml.slideLayout+xml"/>
  <Override PartName="/ppt/slideLayouts/slideLayout2133.xml" ContentType="application/vnd.openxmlformats-officedocument.presentationml.slideLayout+xml"/>
  <Override PartName="/ppt/slideLayouts/slideLayout2134.xml" ContentType="application/vnd.openxmlformats-officedocument.presentationml.slideLayout+xml"/>
  <Override PartName="/ppt/slideLayouts/slideLayout2135.xml" ContentType="application/vnd.openxmlformats-officedocument.presentationml.slideLayout+xml"/>
  <Override PartName="/ppt/slideLayouts/slideLayout2136.xml" ContentType="application/vnd.openxmlformats-officedocument.presentationml.slideLayout+xml"/>
  <Override PartName="/ppt/slideLayouts/slideLayout2137.xml" ContentType="application/vnd.openxmlformats-officedocument.presentationml.slideLayout+xml"/>
  <Override PartName="/ppt/slideLayouts/slideLayout2138.xml" ContentType="application/vnd.openxmlformats-officedocument.presentationml.slideLayout+xml"/>
  <Override PartName="/ppt/slideLayouts/slideLayout2139.xml" ContentType="application/vnd.openxmlformats-officedocument.presentationml.slideLayout+xml"/>
  <Override PartName="/ppt/slideLayouts/slideLayout2140.xml" ContentType="application/vnd.openxmlformats-officedocument.presentationml.slideLayout+xml"/>
  <Override PartName="/ppt/slideLayouts/slideLayout2141.xml" ContentType="application/vnd.openxmlformats-officedocument.presentationml.slideLayout+xml"/>
  <Override PartName="/ppt/slideLayouts/slideLayout2142.xml" ContentType="application/vnd.openxmlformats-officedocument.presentationml.slideLayout+xml"/>
  <Override PartName="/ppt/slideLayouts/slideLayout2143.xml" ContentType="application/vnd.openxmlformats-officedocument.presentationml.slideLayout+xml"/>
  <Override PartName="/ppt/slideLayouts/slideLayout2144.xml" ContentType="application/vnd.openxmlformats-officedocument.presentationml.slideLayout+xml"/>
  <Override PartName="/ppt/slideLayouts/slideLayout2145.xml" ContentType="application/vnd.openxmlformats-officedocument.presentationml.slideLayout+xml"/>
  <Override PartName="/ppt/slideLayouts/slideLayout2146.xml" ContentType="application/vnd.openxmlformats-officedocument.presentationml.slideLayout+xml"/>
  <Override PartName="/ppt/slideLayouts/slideLayout2147.xml" ContentType="application/vnd.openxmlformats-officedocument.presentationml.slideLayout+xml"/>
  <Override PartName="/ppt/slideLayouts/slideLayout2148.xml" ContentType="application/vnd.openxmlformats-officedocument.presentationml.slideLayout+xml"/>
  <Override PartName="/ppt/slideLayouts/slideLayout2149.xml" ContentType="application/vnd.openxmlformats-officedocument.presentationml.slideLayout+xml"/>
  <Override PartName="/ppt/slideLayouts/slideLayout2150.xml" ContentType="application/vnd.openxmlformats-officedocument.presentationml.slideLayout+xml"/>
  <Override PartName="/ppt/slideLayouts/slideLayout2151.xml" ContentType="application/vnd.openxmlformats-officedocument.presentationml.slideLayout+xml"/>
  <Override PartName="/ppt/slideLayouts/slideLayout2152.xml" ContentType="application/vnd.openxmlformats-officedocument.presentationml.slideLayout+xml"/>
  <Override PartName="/ppt/slideLayouts/slideLayout2153.xml" ContentType="application/vnd.openxmlformats-officedocument.presentationml.slideLayout+xml"/>
  <Override PartName="/ppt/slideLayouts/slideLayout2154.xml" ContentType="application/vnd.openxmlformats-officedocument.presentationml.slideLayout+xml"/>
  <Override PartName="/ppt/slideLayouts/slideLayout2155.xml" ContentType="application/vnd.openxmlformats-officedocument.presentationml.slideLayout+xml"/>
  <Override PartName="/ppt/slideLayouts/slideLayout2156.xml" ContentType="application/vnd.openxmlformats-officedocument.presentationml.slideLayout+xml"/>
  <Override PartName="/ppt/slideLayouts/slideLayout2157.xml" ContentType="application/vnd.openxmlformats-officedocument.presentationml.slideLayout+xml"/>
  <Override PartName="/ppt/slideLayouts/slideLayout2158.xml" ContentType="application/vnd.openxmlformats-officedocument.presentationml.slideLayout+xml"/>
  <Override PartName="/ppt/slideLayouts/slideLayout2159.xml" ContentType="application/vnd.openxmlformats-officedocument.presentationml.slideLayout+xml"/>
  <Override PartName="/ppt/slideLayouts/slideLayout2160.xml" ContentType="application/vnd.openxmlformats-officedocument.presentationml.slideLayout+xml"/>
  <Override PartName="/ppt/slideLayouts/slideLayout2161.xml" ContentType="application/vnd.openxmlformats-officedocument.presentationml.slideLayout+xml"/>
  <Override PartName="/ppt/slideLayouts/slideLayout2162.xml" ContentType="application/vnd.openxmlformats-officedocument.presentationml.slideLayout+xml"/>
  <Override PartName="/ppt/slideLayouts/slideLayout2163.xml" ContentType="application/vnd.openxmlformats-officedocument.presentationml.slideLayout+xml"/>
  <Override PartName="/ppt/slideLayouts/slideLayout2164.xml" ContentType="application/vnd.openxmlformats-officedocument.presentationml.slideLayout+xml"/>
  <Override PartName="/ppt/slideLayouts/slideLayout2165.xml" ContentType="application/vnd.openxmlformats-officedocument.presentationml.slideLayout+xml"/>
  <Override PartName="/ppt/slideLayouts/slideLayout2166.xml" ContentType="application/vnd.openxmlformats-officedocument.presentationml.slideLayout+xml"/>
  <Override PartName="/ppt/slideLayouts/slideLayout2167.xml" ContentType="application/vnd.openxmlformats-officedocument.presentationml.slideLayout+xml"/>
  <Override PartName="/ppt/slideLayouts/slideLayout2168.xml" ContentType="application/vnd.openxmlformats-officedocument.presentationml.slideLayout+xml"/>
  <Override PartName="/ppt/slideLayouts/slideLayout2169.xml" ContentType="application/vnd.openxmlformats-officedocument.presentationml.slideLayout+xml"/>
  <Override PartName="/ppt/slideLayouts/slideLayout2170.xml" ContentType="application/vnd.openxmlformats-officedocument.presentationml.slideLayout+xml"/>
  <Override PartName="/ppt/slideLayouts/slideLayout2171.xml" ContentType="application/vnd.openxmlformats-officedocument.presentationml.slideLayout+xml"/>
  <Override PartName="/ppt/slideLayouts/slideLayout2172.xml" ContentType="application/vnd.openxmlformats-officedocument.presentationml.slideLayout+xml"/>
  <Override PartName="/ppt/slideLayouts/slideLayout2173.xml" ContentType="application/vnd.openxmlformats-officedocument.presentationml.slideLayout+xml"/>
  <Override PartName="/ppt/slideLayouts/slideLayout2174.xml" ContentType="application/vnd.openxmlformats-officedocument.presentationml.slideLayout+xml"/>
  <Override PartName="/ppt/slideLayouts/slideLayout2175.xml" ContentType="application/vnd.openxmlformats-officedocument.presentationml.slideLayout+xml"/>
  <Override PartName="/ppt/slideLayouts/slideLayout2176.xml" ContentType="application/vnd.openxmlformats-officedocument.presentationml.slideLayout+xml"/>
  <Override PartName="/ppt/slideLayouts/slideLayout2177.xml" ContentType="application/vnd.openxmlformats-officedocument.presentationml.slideLayout+xml"/>
  <Override PartName="/ppt/slideLayouts/slideLayout2178.xml" ContentType="application/vnd.openxmlformats-officedocument.presentationml.slideLayout+xml"/>
  <Override PartName="/ppt/slideLayouts/slideLayout2179.xml" ContentType="application/vnd.openxmlformats-officedocument.presentationml.slideLayout+xml"/>
  <Override PartName="/ppt/slideLayouts/slideLayout2180.xml" ContentType="application/vnd.openxmlformats-officedocument.presentationml.slideLayout+xml"/>
  <Override PartName="/ppt/slideLayouts/slideLayout2181.xml" ContentType="application/vnd.openxmlformats-officedocument.presentationml.slideLayout+xml"/>
  <Override PartName="/ppt/slideLayouts/slideLayout2182.xml" ContentType="application/vnd.openxmlformats-officedocument.presentationml.slideLayout+xml"/>
  <Override PartName="/ppt/slideLayouts/slideLayout2183.xml" ContentType="application/vnd.openxmlformats-officedocument.presentationml.slideLayout+xml"/>
  <Override PartName="/ppt/slideLayouts/slideLayout2184.xml" ContentType="application/vnd.openxmlformats-officedocument.presentationml.slideLayout+xml"/>
  <Override PartName="/ppt/slideLayouts/slideLayout2185.xml" ContentType="application/vnd.openxmlformats-officedocument.presentationml.slideLayout+xml"/>
  <Override PartName="/ppt/slideLayouts/slideLayout2186.xml" ContentType="application/vnd.openxmlformats-officedocument.presentationml.slideLayout+xml"/>
  <Override PartName="/ppt/slideLayouts/slideLayout2187.xml" ContentType="application/vnd.openxmlformats-officedocument.presentationml.slideLayout+xml"/>
  <Override PartName="/ppt/slideLayouts/slideLayout2188.xml" ContentType="application/vnd.openxmlformats-officedocument.presentationml.slideLayout+xml"/>
  <Override PartName="/ppt/slideLayouts/slideLayout2189.xml" ContentType="application/vnd.openxmlformats-officedocument.presentationml.slideLayout+xml"/>
  <Override PartName="/ppt/slideLayouts/slideLayout2190.xml" ContentType="application/vnd.openxmlformats-officedocument.presentationml.slideLayout+xml"/>
  <Override PartName="/ppt/slideLayouts/slideLayout2191.xml" ContentType="application/vnd.openxmlformats-officedocument.presentationml.slideLayout+xml"/>
  <Override PartName="/ppt/slideLayouts/slideLayout2192.xml" ContentType="application/vnd.openxmlformats-officedocument.presentationml.slideLayout+xml"/>
  <Override PartName="/ppt/slideLayouts/slideLayout2193.xml" ContentType="application/vnd.openxmlformats-officedocument.presentationml.slideLayout+xml"/>
  <Override PartName="/ppt/slideLayouts/slideLayout2194.xml" ContentType="application/vnd.openxmlformats-officedocument.presentationml.slideLayout+xml"/>
  <Override PartName="/ppt/slideLayouts/slideLayout2195.xml" ContentType="application/vnd.openxmlformats-officedocument.presentationml.slideLayout+xml"/>
  <Override PartName="/ppt/slideLayouts/slideLayout2196.xml" ContentType="application/vnd.openxmlformats-officedocument.presentationml.slideLayout+xml"/>
  <Override PartName="/ppt/slideLayouts/slideLayout2197.xml" ContentType="application/vnd.openxmlformats-officedocument.presentationml.slideLayout+xml"/>
  <Override PartName="/ppt/slideLayouts/slideLayout2198.xml" ContentType="application/vnd.openxmlformats-officedocument.presentationml.slideLayout+xml"/>
  <Override PartName="/ppt/slideLayouts/slideLayout2199.xml" ContentType="application/vnd.openxmlformats-officedocument.presentationml.slideLayout+xml"/>
  <Override PartName="/ppt/slideLayouts/slideLayout2200.xml" ContentType="application/vnd.openxmlformats-officedocument.presentationml.slideLayout+xml"/>
  <Override PartName="/ppt/slideLayouts/slideLayout2201.xml" ContentType="application/vnd.openxmlformats-officedocument.presentationml.slideLayout+xml"/>
  <Override PartName="/ppt/slideLayouts/slideLayout2202.xml" ContentType="application/vnd.openxmlformats-officedocument.presentationml.slideLayout+xml"/>
  <Override PartName="/ppt/slideLayouts/slideLayout2203.xml" ContentType="application/vnd.openxmlformats-officedocument.presentationml.slideLayout+xml"/>
  <Override PartName="/ppt/slideLayouts/slideLayout2204.xml" ContentType="application/vnd.openxmlformats-officedocument.presentationml.slideLayout+xml"/>
  <Override PartName="/ppt/slideLayouts/slideLayout2205.xml" ContentType="application/vnd.openxmlformats-officedocument.presentationml.slideLayout+xml"/>
  <Override PartName="/ppt/slideLayouts/slideLayout2206.xml" ContentType="application/vnd.openxmlformats-officedocument.presentationml.slideLayout+xml"/>
  <Override PartName="/ppt/slideLayouts/slideLayout2207.xml" ContentType="application/vnd.openxmlformats-officedocument.presentationml.slideLayout+xml"/>
  <Override PartName="/ppt/slideLayouts/slideLayout2208.xml" ContentType="application/vnd.openxmlformats-officedocument.presentationml.slideLayout+xml"/>
  <Override PartName="/ppt/slideLayouts/slideLayout2209.xml" ContentType="application/vnd.openxmlformats-officedocument.presentationml.slideLayout+xml"/>
  <Override PartName="/ppt/slideLayouts/slideLayout2210.xml" ContentType="application/vnd.openxmlformats-officedocument.presentationml.slideLayout+xml"/>
  <Override PartName="/ppt/slideLayouts/slideLayout2211.xml" ContentType="application/vnd.openxmlformats-officedocument.presentationml.slideLayout+xml"/>
  <Override PartName="/ppt/slideLayouts/slideLayout2212.xml" ContentType="application/vnd.openxmlformats-officedocument.presentationml.slideLayout+xml"/>
  <Override PartName="/ppt/slideLayouts/slideLayout2213.xml" ContentType="application/vnd.openxmlformats-officedocument.presentationml.slideLayout+xml"/>
  <Override PartName="/ppt/slideLayouts/slideLayout2214.xml" ContentType="application/vnd.openxmlformats-officedocument.presentationml.slideLayout+xml"/>
  <Override PartName="/ppt/slideLayouts/slideLayout2215.xml" ContentType="application/vnd.openxmlformats-officedocument.presentationml.slideLayout+xml"/>
  <Override PartName="/ppt/slideLayouts/slideLayout2216.xml" ContentType="application/vnd.openxmlformats-officedocument.presentationml.slideLayout+xml"/>
  <Override PartName="/ppt/slideLayouts/slideLayout2217.xml" ContentType="application/vnd.openxmlformats-officedocument.presentationml.slideLayout+xml"/>
  <Override PartName="/ppt/slideLayouts/slideLayout2218.xml" ContentType="application/vnd.openxmlformats-officedocument.presentationml.slideLayout+xml"/>
  <Override PartName="/ppt/slideLayouts/slideLayout2219.xml" ContentType="application/vnd.openxmlformats-officedocument.presentationml.slideLayout+xml"/>
  <Override PartName="/ppt/slideLayouts/slideLayout2220.xml" ContentType="application/vnd.openxmlformats-officedocument.presentationml.slideLayout+xml"/>
  <Override PartName="/ppt/slideLayouts/slideLayout2221.xml" ContentType="application/vnd.openxmlformats-officedocument.presentationml.slideLayout+xml"/>
  <Override PartName="/ppt/slideLayouts/slideLayout2222.xml" ContentType="application/vnd.openxmlformats-officedocument.presentationml.slideLayout+xml"/>
  <Override PartName="/ppt/slideLayouts/slideLayout2223.xml" ContentType="application/vnd.openxmlformats-officedocument.presentationml.slideLayout+xml"/>
  <Override PartName="/ppt/slideLayouts/slideLayout2224.xml" ContentType="application/vnd.openxmlformats-officedocument.presentationml.slideLayout+xml"/>
  <Override PartName="/ppt/slideLayouts/slideLayout2225.xml" ContentType="application/vnd.openxmlformats-officedocument.presentationml.slideLayout+xml"/>
  <Override PartName="/ppt/slideLayouts/slideLayout2226.xml" ContentType="application/vnd.openxmlformats-officedocument.presentationml.slideLayout+xml"/>
  <Override PartName="/ppt/slideLayouts/slideLayout2227.xml" ContentType="application/vnd.openxmlformats-officedocument.presentationml.slideLayout+xml"/>
  <Override PartName="/ppt/slideLayouts/slideLayout2228.xml" ContentType="application/vnd.openxmlformats-officedocument.presentationml.slideLayout+xml"/>
  <Override PartName="/ppt/slideLayouts/slideLayout2229.xml" ContentType="application/vnd.openxmlformats-officedocument.presentationml.slideLayout+xml"/>
  <Override PartName="/ppt/slideLayouts/slideLayout2230.xml" ContentType="application/vnd.openxmlformats-officedocument.presentationml.slideLayout+xml"/>
  <Override PartName="/ppt/slideLayouts/slideLayout2231.xml" ContentType="application/vnd.openxmlformats-officedocument.presentationml.slideLayout+xml"/>
  <Override PartName="/ppt/slideLayouts/slideLayout2232.xml" ContentType="application/vnd.openxmlformats-officedocument.presentationml.slideLayout+xml"/>
  <Override PartName="/ppt/slideLayouts/slideLayout2233.xml" ContentType="application/vnd.openxmlformats-officedocument.presentationml.slideLayout+xml"/>
  <Override PartName="/ppt/slideLayouts/slideLayout2234.xml" ContentType="application/vnd.openxmlformats-officedocument.presentationml.slideLayout+xml"/>
  <Override PartName="/ppt/slideLayouts/slideLayout2235.xml" ContentType="application/vnd.openxmlformats-officedocument.presentationml.slideLayout+xml"/>
  <Override PartName="/ppt/slideLayouts/slideLayout2236.xml" ContentType="application/vnd.openxmlformats-officedocument.presentationml.slideLayout+xml"/>
  <Override PartName="/ppt/slideLayouts/slideLayout2237.xml" ContentType="application/vnd.openxmlformats-officedocument.presentationml.slideLayout+xml"/>
  <Override PartName="/ppt/slideLayouts/slideLayout2238.xml" ContentType="application/vnd.openxmlformats-officedocument.presentationml.slideLayout+xml"/>
  <Override PartName="/ppt/slideLayouts/slideLayout2239.xml" ContentType="application/vnd.openxmlformats-officedocument.presentationml.slideLayout+xml"/>
  <Override PartName="/ppt/slideLayouts/slideLayout2240.xml" ContentType="application/vnd.openxmlformats-officedocument.presentationml.slideLayout+xml"/>
  <Override PartName="/ppt/slideLayouts/slideLayout2241.xml" ContentType="application/vnd.openxmlformats-officedocument.presentationml.slideLayout+xml"/>
  <Override PartName="/ppt/slideLayouts/slideLayout2242.xml" ContentType="application/vnd.openxmlformats-officedocument.presentationml.slideLayout+xml"/>
  <Override PartName="/ppt/slideLayouts/slideLayout2243.xml" ContentType="application/vnd.openxmlformats-officedocument.presentationml.slideLayout+xml"/>
  <Override PartName="/ppt/slideLayouts/slideLayout2244.xml" ContentType="application/vnd.openxmlformats-officedocument.presentationml.slideLayout+xml"/>
  <Override PartName="/ppt/slideLayouts/slideLayout2245.xml" ContentType="application/vnd.openxmlformats-officedocument.presentationml.slideLayout+xml"/>
  <Override PartName="/ppt/slideLayouts/slideLayout2246.xml" ContentType="application/vnd.openxmlformats-officedocument.presentationml.slideLayout+xml"/>
  <Override PartName="/ppt/slideLayouts/slideLayout2247.xml" ContentType="application/vnd.openxmlformats-officedocument.presentationml.slideLayout+xml"/>
  <Override PartName="/ppt/slideLayouts/slideLayout2248.xml" ContentType="application/vnd.openxmlformats-officedocument.presentationml.slideLayout+xml"/>
  <Override PartName="/ppt/slideLayouts/slideLayout2249.xml" ContentType="application/vnd.openxmlformats-officedocument.presentationml.slideLayout+xml"/>
  <Override PartName="/ppt/slideLayouts/slideLayout2250.xml" ContentType="application/vnd.openxmlformats-officedocument.presentationml.slideLayout+xml"/>
  <Override PartName="/ppt/slideLayouts/slideLayout2251.xml" ContentType="application/vnd.openxmlformats-officedocument.presentationml.slideLayout+xml"/>
  <Override PartName="/ppt/slideLayouts/slideLayout2252.xml" ContentType="application/vnd.openxmlformats-officedocument.presentationml.slideLayout+xml"/>
  <Override PartName="/ppt/slideLayouts/slideLayout2253.xml" ContentType="application/vnd.openxmlformats-officedocument.presentationml.slideLayout+xml"/>
  <Override PartName="/ppt/slideLayouts/slideLayout2254.xml" ContentType="application/vnd.openxmlformats-officedocument.presentationml.slideLayout+xml"/>
  <Override PartName="/ppt/slideLayouts/slideLayout2255.xml" ContentType="application/vnd.openxmlformats-officedocument.presentationml.slideLayout+xml"/>
  <Override PartName="/ppt/slideLayouts/slideLayout2256.xml" ContentType="application/vnd.openxmlformats-officedocument.presentationml.slideLayout+xml"/>
  <Override PartName="/ppt/slideLayouts/slideLayout2257.xml" ContentType="application/vnd.openxmlformats-officedocument.presentationml.slideLayout+xml"/>
  <Override PartName="/ppt/slideLayouts/slideLayout2258.xml" ContentType="application/vnd.openxmlformats-officedocument.presentationml.slideLayout+xml"/>
  <Override PartName="/ppt/slideLayouts/slideLayout2259.xml" ContentType="application/vnd.openxmlformats-officedocument.presentationml.slideLayout+xml"/>
  <Override PartName="/ppt/slideLayouts/slideLayout2260.xml" ContentType="application/vnd.openxmlformats-officedocument.presentationml.slideLayout+xml"/>
  <Override PartName="/ppt/slideLayouts/slideLayout2261.xml" ContentType="application/vnd.openxmlformats-officedocument.presentationml.slideLayout+xml"/>
  <Override PartName="/ppt/slideLayouts/slideLayout2262.xml" ContentType="application/vnd.openxmlformats-officedocument.presentationml.slideLayout+xml"/>
  <Override PartName="/ppt/slideLayouts/slideLayout2263.xml" ContentType="application/vnd.openxmlformats-officedocument.presentationml.slideLayout+xml"/>
  <Override PartName="/ppt/slideLayouts/slideLayout2264.xml" ContentType="application/vnd.openxmlformats-officedocument.presentationml.slideLayout+xml"/>
  <Override PartName="/ppt/slideLayouts/slideLayout2265.xml" ContentType="application/vnd.openxmlformats-officedocument.presentationml.slideLayout+xml"/>
  <Override PartName="/ppt/slideLayouts/slideLayout2266.xml" ContentType="application/vnd.openxmlformats-officedocument.presentationml.slideLayout+xml"/>
  <Override PartName="/ppt/slideLayouts/slideLayout2267.xml" ContentType="application/vnd.openxmlformats-officedocument.presentationml.slideLayout+xml"/>
  <Override PartName="/ppt/slideLayouts/slideLayout2268.xml" ContentType="application/vnd.openxmlformats-officedocument.presentationml.slideLayout+xml"/>
  <Override PartName="/ppt/slideLayouts/slideLayout2269.xml" ContentType="application/vnd.openxmlformats-officedocument.presentationml.slideLayout+xml"/>
  <Override PartName="/ppt/slideLayouts/slideLayout2270.xml" ContentType="application/vnd.openxmlformats-officedocument.presentationml.slideLayout+xml"/>
  <Override PartName="/ppt/slideLayouts/slideLayout2271.xml" ContentType="application/vnd.openxmlformats-officedocument.presentationml.slideLayout+xml"/>
  <Override PartName="/ppt/slideLayouts/slideLayout2272.xml" ContentType="application/vnd.openxmlformats-officedocument.presentationml.slideLayout+xml"/>
  <Override PartName="/ppt/slideLayouts/slideLayout2273.xml" ContentType="application/vnd.openxmlformats-officedocument.presentationml.slideLayout+xml"/>
  <Override PartName="/ppt/slideLayouts/slideLayout2274.xml" ContentType="application/vnd.openxmlformats-officedocument.presentationml.slideLayout+xml"/>
  <Override PartName="/ppt/slideLayouts/slideLayout2275.xml" ContentType="application/vnd.openxmlformats-officedocument.presentationml.slideLayout+xml"/>
  <Override PartName="/ppt/slideLayouts/slideLayout2276.xml" ContentType="application/vnd.openxmlformats-officedocument.presentationml.slideLayout+xml"/>
  <Override PartName="/ppt/slideLayouts/slideLayout2277.xml" ContentType="application/vnd.openxmlformats-officedocument.presentationml.slideLayout+xml"/>
  <Override PartName="/ppt/slideLayouts/slideLayout2278.xml" ContentType="application/vnd.openxmlformats-officedocument.presentationml.slideLayout+xml"/>
  <Override PartName="/ppt/slideLayouts/slideLayout2279.xml" ContentType="application/vnd.openxmlformats-officedocument.presentationml.slideLayout+xml"/>
  <Override PartName="/ppt/slideLayouts/slideLayout2280.xml" ContentType="application/vnd.openxmlformats-officedocument.presentationml.slideLayout+xml"/>
  <Override PartName="/ppt/slideLayouts/slideLayout2281.xml" ContentType="application/vnd.openxmlformats-officedocument.presentationml.slideLayout+xml"/>
  <Override PartName="/ppt/slideLayouts/slideLayout2282.xml" ContentType="application/vnd.openxmlformats-officedocument.presentationml.slideLayout+xml"/>
  <Override PartName="/ppt/slideLayouts/slideLayout2283.xml" ContentType="application/vnd.openxmlformats-officedocument.presentationml.slideLayout+xml"/>
  <Override PartName="/ppt/slideLayouts/slideLayout2284.xml" ContentType="application/vnd.openxmlformats-officedocument.presentationml.slideLayout+xml"/>
  <Override PartName="/ppt/slideLayouts/slideLayout2285.xml" ContentType="application/vnd.openxmlformats-officedocument.presentationml.slideLayout+xml"/>
  <Override PartName="/ppt/slideLayouts/slideLayout2286.xml" ContentType="application/vnd.openxmlformats-officedocument.presentationml.slideLayout+xml"/>
  <Override PartName="/ppt/slideLayouts/slideLayout2287.xml" ContentType="application/vnd.openxmlformats-officedocument.presentationml.slideLayout+xml"/>
  <Override PartName="/ppt/slideLayouts/slideLayout2288.xml" ContentType="application/vnd.openxmlformats-officedocument.presentationml.slideLayout+xml"/>
  <Override PartName="/ppt/slideLayouts/slideLayout2289.xml" ContentType="application/vnd.openxmlformats-officedocument.presentationml.slideLayout+xml"/>
  <Override PartName="/ppt/slideLayouts/slideLayout2290.xml" ContentType="application/vnd.openxmlformats-officedocument.presentationml.slideLayout+xml"/>
  <Override PartName="/ppt/slideLayouts/slideLayout2291.xml" ContentType="application/vnd.openxmlformats-officedocument.presentationml.slideLayout+xml"/>
  <Override PartName="/ppt/slideLayouts/slideLayout2292.xml" ContentType="application/vnd.openxmlformats-officedocument.presentationml.slideLayout+xml"/>
  <Override PartName="/ppt/slideLayouts/slideLayout2293.xml" ContentType="application/vnd.openxmlformats-officedocument.presentationml.slideLayout+xml"/>
  <Override PartName="/ppt/slideLayouts/slideLayout2294.xml" ContentType="application/vnd.openxmlformats-officedocument.presentationml.slideLayout+xml"/>
  <Override PartName="/ppt/slideLayouts/slideLayout2295.xml" ContentType="application/vnd.openxmlformats-officedocument.presentationml.slideLayout+xml"/>
  <Override PartName="/ppt/slideLayouts/slideLayout2296.xml" ContentType="application/vnd.openxmlformats-officedocument.presentationml.slideLayout+xml"/>
  <Override PartName="/ppt/slideLayouts/slideLayout2297.xml" ContentType="application/vnd.openxmlformats-officedocument.presentationml.slideLayout+xml"/>
  <Override PartName="/ppt/slideLayouts/slideLayout2298.xml" ContentType="application/vnd.openxmlformats-officedocument.presentationml.slideLayout+xml"/>
  <Override PartName="/ppt/slideLayouts/slideLayout2299.xml" ContentType="application/vnd.openxmlformats-officedocument.presentationml.slideLayout+xml"/>
  <Override PartName="/ppt/slideLayouts/slideLayout2300.xml" ContentType="application/vnd.openxmlformats-officedocument.presentationml.slideLayout+xml"/>
  <Override PartName="/ppt/slideLayouts/slideLayout2301.xml" ContentType="application/vnd.openxmlformats-officedocument.presentationml.slideLayout+xml"/>
  <Override PartName="/ppt/slideLayouts/slideLayout2302.xml" ContentType="application/vnd.openxmlformats-officedocument.presentationml.slideLayout+xml"/>
  <Override PartName="/ppt/slideLayouts/slideLayout2303.xml" ContentType="application/vnd.openxmlformats-officedocument.presentationml.slideLayout+xml"/>
  <Override PartName="/ppt/slideLayouts/slideLayout2304.xml" ContentType="application/vnd.openxmlformats-officedocument.presentationml.slideLayout+xml"/>
  <Override PartName="/ppt/slideLayouts/slideLayout2305.xml" ContentType="application/vnd.openxmlformats-officedocument.presentationml.slideLayout+xml"/>
  <Override PartName="/ppt/slideLayouts/slideLayout2306.xml" ContentType="application/vnd.openxmlformats-officedocument.presentationml.slideLayout+xml"/>
  <Override PartName="/ppt/slideLayouts/slideLayout2307.xml" ContentType="application/vnd.openxmlformats-officedocument.presentationml.slideLayout+xml"/>
  <Override PartName="/ppt/slideLayouts/slideLayout2308.xml" ContentType="application/vnd.openxmlformats-officedocument.presentationml.slideLayout+xml"/>
  <Override PartName="/ppt/slideLayouts/slideLayout2309.xml" ContentType="application/vnd.openxmlformats-officedocument.presentationml.slideLayout+xml"/>
  <Override PartName="/ppt/slideLayouts/slideLayout2310.xml" ContentType="application/vnd.openxmlformats-officedocument.presentationml.slideLayout+xml"/>
  <Override PartName="/ppt/slideLayouts/slideLayout2311.xml" ContentType="application/vnd.openxmlformats-officedocument.presentationml.slideLayout+xml"/>
  <Override PartName="/ppt/slideLayouts/slideLayout2312.xml" ContentType="application/vnd.openxmlformats-officedocument.presentationml.slideLayout+xml"/>
  <Override PartName="/ppt/slideLayouts/slideLayout2313.xml" ContentType="application/vnd.openxmlformats-officedocument.presentationml.slideLayout+xml"/>
  <Override PartName="/ppt/slideLayouts/slideLayout2314.xml" ContentType="application/vnd.openxmlformats-officedocument.presentationml.slideLayout+xml"/>
  <Override PartName="/ppt/slideLayouts/slideLayout2315.xml" ContentType="application/vnd.openxmlformats-officedocument.presentationml.slideLayout+xml"/>
  <Override PartName="/ppt/slideLayouts/slideLayout2316.xml" ContentType="application/vnd.openxmlformats-officedocument.presentationml.slideLayout+xml"/>
  <Override PartName="/ppt/slideLayouts/slideLayout2317.xml" ContentType="application/vnd.openxmlformats-officedocument.presentationml.slideLayout+xml"/>
  <Override PartName="/ppt/slideLayouts/slideLayout2318.xml" ContentType="application/vnd.openxmlformats-officedocument.presentationml.slideLayout+xml"/>
  <Override PartName="/ppt/slideLayouts/slideLayout2319.xml" ContentType="application/vnd.openxmlformats-officedocument.presentationml.slideLayout+xml"/>
  <Override PartName="/ppt/slideLayouts/slideLayout2320.xml" ContentType="application/vnd.openxmlformats-officedocument.presentationml.slideLayout+xml"/>
  <Override PartName="/ppt/slideLayouts/slideLayout2321.xml" ContentType="application/vnd.openxmlformats-officedocument.presentationml.slideLayout+xml"/>
  <Override PartName="/ppt/slideLayouts/slideLayout2322.xml" ContentType="application/vnd.openxmlformats-officedocument.presentationml.slideLayout+xml"/>
  <Override PartName="/ppt/slideLayouts/slideLayout2323.xml" ContentType="application/vnd.openxmlformats-officedocument.presentationml.slideLayout+xml"/>
  <Override PartName="/ppt/slideLayouts/slideLayout2324.xml" ContentType="application/vnd.openxmlformats-officedocument.presentationml.slideLayout+xml"/>
  <Override PartName="/ppt/slideLayouts/slideLayout2325.xml" ContentType="application/vnd.openxmlformats-officedocument.presentationml.slideLayout+xml"/>
  <Override PartName="/ppt/slideLayouts/slideLayout2326.xml" ContentType="application/vnd.openxmlformats-officedocument.presentationml.slideLayout+xml"/>
  <Override PartName="/ppt/slideLayouts/slideLayout2327.xml" ContentType="application/vnd.openxmlformats-officedocument.presentationml.slideLayout+xml"/>
  <Override PartName="/ppt/slideLayouts/slideLayout2328.xml" ContentType="application/vnd.openxmlformats-officedocument.presentationml.slideLayout+xml"/>
  <Override PartName="/ppt/slideLayouts/slideLayout2329.xml" ContentType="application/vnd.openxmlformats-officedocument.presentationml.slideLayout+xml"/>
  <Override PartName="/ppt/slideLayouts/slideLayout2330.xml" ContentType="application/vnd.openxmlformats-officedocument.presentationml.slideLayout+xml"/>
  <Override PartName="/ppt/slideLayouts/slideLayout2331.xml" ContentType="application/vnd.openxmlformats-officedocument.presentationml.slideLayout+xml"/>
  <Override PartName="/ppt/slideLayouts/slideLayout2332.xml" ContentType="application/vnd.openxmlformats-officedocument.presentationml.slideLayout+xml"/>
  <Override PartName="/ppt/slideLayouts/slideLayout2333.xml" ContentType="application/vnd.openxmlformats-officedocument.presentationml.slideLayout+xml"/>
  <Override PartName="/ppt/slideLayouts/slideLayout2334.xml" ContentType="application/vnd.openxmlformats-officedocument.presentationml.slideLayout+xml"/>
  <Override PartName="/ppt/slideLayouts/slideLayout2335.xml" ContentType="application/vnd.openxmlformats-officedocument.presentationml.slideLayout+xml"/>
  <Override PartName="/ppt/slideLayouts/slideLayout2336.xml" ContentType="application/vnd.openxmlformats-officedocument.presentationml.slideLayout+xml"/>
  <Override PartName="/ppt/slideLayouts/slideLayout2337.xml" ContentType="application/vnd.openxmlformats-officedocument.presentationml.slideLayout+xml"/>
  <Override PartName="/ppt/slideLayouts/slideLayout2338.xml" ContentType="application/vnd.openxmlformats-officedocument.presentationml.slideLayout+xml"/>
  <Override PartName="/ppt/slideLayouts/slideLayout2339.xml" ContentType="application/vnd.openxmlformats-officedocument.presentationml.slideLayout+xml"/>
  <Override PartName="/ppt/slideLayouts/slideLayout2340.xml" ContentType="application/vnd.openxmlformats-officedocument.presentationml.slideLayout+xml"/>
  <Override PartName="/ppt/slideLayouts/slideLayout2341.xml" ContentType="application/vnd.openxmlformats-officedocument.presentationml.slideLayout+xml"/>
  <Override PartName="/ppt/slideLayouts/slideLayout2342.xml" ContentType="application/vnd.openxmlformats-officedocument.presentationml.slideLayout+xml"/>
  <Override PartName="/ppt/slideLayouts/slideLayout2343.xml" ContentType="application/vnd.openxmlformats-officedocument.presentationml.slideLayout+xml"/>
  <Override PartName="/ppt/slideLayouts/slideLayout2344.xml" ContentType="application/vnd.openxmlformats-officedocument.presentationml.slideLayout+xml"/>
  <Override PartName="/ppt/slideLayouts/slideLayout2345.xml" ContentType="application/vnd.openxmlformats-officedocument.presentationml.slideLayout+xml"/>
  <Override PartName="/ppt/slideLayouts/slideLayout2346.xml" ContentType="application/vnd.openxmlformats-officedocument.presentationml.slideLayout+xml"/>
  <Override PartName="/ppt/slideLayouts/slideLayout2347.xml" ContentType="application/vnd.openxmlformats-officedocument.presentationml.slideLayout+xml"/>
  <Override PartName="/ppt/slideLayouts/slideLayout2348.xml" ContentType="application/vnd.openxmlformats-officedocument.presentationml.slideLayout+xml"/>
  <Override PartName="/ppt/slideLayouts/slideLayout2349.xml" ContentType="application/vnd.openxmlformats-officedocument.presentationml.slideLayout+xml"/>
  <Override PartName="/ppt/slideLayouts/slideLayout2350.xml" ContentType="application/vnd.openxmlformats-officedocument.presentationml.slideLayout+xml"/>
  <Override PartName="/ppt/slideLayouts/slideLayout2351.xml" ContentType="application/vnd.openxmlformats-officedocument.presentationml.slideLayout+xml"/>
  <Override PartName="/ppt/slideLayouts/slideLayout2352.xml" ContentType="application/vnd.openxmlformats-officedocument.presentationml.slideLayout+xml"/>
  <Override PartName="/ppt/slideLayouts/slideLayout2353.xml" ContentType="application/vnd.openxmlformats-officedocument.presentationml.slideLayout+xml"/>
  <Override PartName="/ppt/slideLayouts/slideLayout2354.xml" ContentType="application/vnd.openxmlformats-officedocument.presentationml.slideLayout+xml"/>
  <Override PartName="/ppt/slideLayouts/slideLayout2355.xml" ContentType="application/vnd.openxmlformats-officedocument.presentationml.slideLayout+xml"/>
  <Override PartName="/ppt/slideLayouts/slideLayout2356.xml" ContentType="application/vnd.openxmlformats-officedocument.presentationml.slideLayout+xml"/>
  <Override PartName="/ppt/slideLayouts/slideLayout2357.xml" ContentType="application/vnd.openxmlformats-officedocument.presentationml.slideLayout+xml"/>
  <Override PartName="/ppt/slideLayouts/slideLayout2358.xml" ContentType="application/vnd.openxmlformats-officedocument.presentationml.slideLayout+xml"/>
  <Override PartName="/ppt/slideLayouts/slideLayout2359.xml" ContentType="application/vnd.openxmlformats-officedocument.presentationml.slideLayout+xml"/>
  <Override PartName="/ppt/slideLayouts/slideLayout2360.xml" ContentType="application/vnd.openxmlformats-officedocument.presentationml.slideLayout+xml"/>
  <Override PartName="/ppt/slideLayouts/slideLayout2361.xml" ContentType="application/vnd.openxmlformats-officedocument.presentationml.slideLayout+xml"/>
  <Override PartName="/ppt/slideLayouts/slideLayout2362.xml" ContentType="application/vnd.openxmlformats-officedocument.presentationml.slideLayout+xml"/>
  <Override PartName="/ppt/slideLayouts/slideLayout2363.xml" ContentType="application/vnd.openxmlformats-officedocument.presentationml.slideLayout+xml"/>
  <Override PartName="/ppt/slideLayouts/slideLayout2364.xml" ContentType="application/vnd.openxmlformats-officedocument.presentationml.slideLayout+xml"/>
  <Override PartName="/ppt/slideLayouts/slideLayout2365.xml" ContentType="application/vnd.openxmlformats-officedocument.presentationml.slideLayout+xml"/>
  <Override PartName="/ppt/slideLayouts/slideLayout2366.xml" ContentType="application/vnd.openxmlformats-officedocument.presentationml.slideLayout+xml"/>
  <Override PartName="/ppt/slideLayouts/slideLayout2367.xml" ContentType="application/vnd.openxmlformats-officedocument.presentationml.slideLayout+xml"/>
  <Override PartName="/ppt/slideLayouts/slideLayout2368.xml" ContentType="application/vnd.openxmlformats-officedocument.presentationml.slideLayout+xml"/>
  <Override PartName="/ppt/slideLayouts/slideLayout2369.xml" ContentType="application/vnd.openxmlformats-officedocument.presentationml.slideLayout+xml"/>
  <Override PartName="/ppt/slideLayouts/slideLayout2370.xml" ContentType="application/vnd.openxmlformats-officedocument.presentationml.slideLayout+xml"/>
  <Override PartName="/ppt/slideLayouts/slideLayout2371.xml" ContentType="application/vnd.openxmlformats-officedocument.presentationml.slideLayout+xml"/>
  <Override PartName="/ppt/slideLayouts/slideLayout2372.xml" ContentType="application/vnd.openxmlformats-officedocument.presentationml.slideLayout+xml"/>
  <Override PartName="/ppt/slideLayouts/slideLayout2373.xml" ContentType="application/vnd.openxmlformats-officedocument.presentationml.slideLayout+xml"/>
  <Override PartName="/ppt/slideLayouts/slideLayout2374.xml" ContentType="application/vnd.openxmlformats-officedocument.presentationml.slideLayout+xml"/>
  <Override PartName="/ppt/slideLayouts/slideLayout2375.xml" ContentType="application/vnd.openxmlformats-officedocument.presentationml.slideLayout+xml"/>
  <Override PartName="/ppt/slideLayouts/slideLayout2376.xml" ContentType="application/vnd.openxmlformats-officedocument.presentationml.slideLayout+xml"/>
  <Override PartName="/ppt/slideLayouts/slideLayout2377.xml" ContentType="application/vnd.openxmlformats-officedocument.presentationml.slideLayout+xml"/>
  <Override PartName="/ppt/slideLayouts/slideLayout2378.xml" ContentType="application/vnd.openxmlformats-officedocument.presentationml.slideLayout+xml"/>
  <Override PartName="/ppt/slideLayouts/slideLayout2379.xml" ContentType="application/vnd.openxmlformats-officedocument.presentationml.slideLayout+xml"/>
  <Override PartName="/ppt/slideLayouts/slideLayout2380.xml" ContentType="application/vnd.openxmlformats-officedocument.presentationml.slideLayout+xml"/>
  <Override PartName="/ppt/slideLayouts/slideLayout2381.xml" ContentType="application/vnd.openxmlformats-officedocument.presentationml.slideLayout+xml"/>
  <Override PartName="/ppt/slideLayouts/slideLayout2382.xml" ContentType="application/vnd.openxmlformats-officedocument.presentationml.slideLayout+xml"/>
  <Override PartName="/ppt/slideLayouts/slideLayout2383.xml" ContentType="application/vnd.openxmlformats-officedocument.presentationml.slideLayout+xml"/>
  <Override PartName="/ppt/slideLayouts/slideLayout2384.xml" ContentType="application/vnd.openxmlformats-officedocument.presentationml.slideLayout+xml"/>
  <Override PartName="/ppt/slideLayouts/slideLayout2385.xml" ContentType="application/vnd.openxmlformats-officedocument.presentationml.slideLayout+xml"/>
  <Override PartName="/ppt/slideLayouts/slideLayout2386.xml" ContentType="application/vnd.openxmlformats-officedocument.presentationml.slideLayout+xml"/>
  <Override PartName="/ppt/slideLayouts/slideLayout2387.xml" ContentType="application/vnd.openxmlformats-officedocument.presentationml.slideLayout+xml"/>
  <Override PartName="/ppt/slideLayouts/slideLayout2388.xml" ContentType="application/vnd.openxmlformats-officedocument.presentationml.slideLayout+xml"/>
  <Override PartName="/ppt/slideLayouts/slideLayout2389.xml" ContentType="application/vnd.openxmlformats-officedocument.presentationml.slideLayout+xml"/>
  <Override PartName="/ppt/slideLayouts/slideLayout2390.xml" ContentType="application/vnd.openxmlformats-officedocument.presentationml.slideLayout+xml"/>
  <Override PartName="/ppt/slideLayouts/slideLayout2391.xml" ContentType="application/vnd.openxmlformats-officedocument.presentationml.slideLayout+xml"/>
  <Override PartName="/ppt/slideLayouts/slideLayout2392.xml" ContentType="application/vnd.openxmlformats-officedocument.presentationml.slideLayout+xml"/>
  <Override PartName="/ppt/slideLayouts/slideLayout2393.xml" ContentType="application/vnd.openxmlformats-officedocument.presentationml.slideLayout+xml"/>
  <Override PartName="/ppt/slideLayouts/slideLayout2394.xml" ContentType="application/vnd.openxmlformats-officedocument.presentationml.slideLayout+xml"/>
  <Override PartName="/ppt/slideLayouts/slideLayout2395.xml" ContentType="application/vnd.openxmlformats-officedocument.presentationml.slideLayout+xml"/>
  <Override PartName="/ppt/slideLayouts/slideLayout2396.xml" ContentType="application/vnd.openxmlformats-officedocument.presentationml.slideLayout+xml"/>
  <Override PartName="/ppt/slideLayouts/slideLayout2397.xml" ContentType="application/vnd.openxmlformats-officedocument.presentationml.slideLayout+xml"/>
  <Override PartName="/ppt/slideLayouts/slideLayout2398.xml" ContentType="application/vnd.openxmlformats-officedocument.presentationml.slideLayout+xml"/>
  <Override PartName="/ppt/slideLayouts/slideLayout2399.xml" ContentType="application/vnd.openxmlformats-officedocument.presentationml.slideLayout+xml"/>
  <Override PartName="/ppt/slideLayouts/slideLayout2400.xml" ContentType="application/vnd.openxmlformats-officedocument.presentationml.slideLayout+xml"/>
  <Override PartName="/ppt/slideLayouts/slideLayout2401.xml" ContentType="application/vnd.openxmlformats-officedocument.presentationml.slideLayout+xml"/>
  <Override PartName="/ppt/slideLayouts/slideLayout2402.xml" ContentType="application/vnd.openxmlformats-officedocument.presentationml.slideLayout+xml"/>
  <Override PartName="/ppt/slideLayouts/slideLayout2403.xml" ContentType="application/vnd.openxmlformats-officedocument.presentationml.slideLayout+xml"/>
  <Override PartName="/ppt/slideLayouts/slideLayout2404.xml" ContentType="application/vnd.openxmlformats-officedocument.presentationml.slideLayout+xml"/>
  <Override PartName="/ppt/slideLayouts/slideLayout2405.xml" ContentType="application/vnd.openxmlformats-officedocument.presentationml.slideLayout+xml"/>
  <Override PartName="/ppt/slideLayouts/slideLayout2406.xml" ContentType="application/vnd.openxmlformats-officedocument.presentationml.slideLayout+xml"/>
  <Override PartName="/ppt/slideLayouts/slideLayout2407.xml" ContentType="application/vnd.openxmlformats-officedocument.presentationml.slideLayout+xml"/>
  <Override PartName="/ppt/slideLayouts/slideLayout2408.xml" ContentType="application/vnd.openxmlformats-officedocument.presentationml.slideLayout+xml"/>
  <Override PartName="/ppt/slideLayouts/slideLayout2409.xml" ContentType="application/vnd.openxmlformats-officedocument.presentationml.slideLayout+xml"/>
  <Override PartName="/ppt/slideLayouts/slideLayout2410.xml" ContentType="application/vnd.openxmlformats-officedocument.presentationml.slideLayout+xml"/>
  <Override PartName="/ppt/slideLayouts/slideLayout2411.xml" ContentType="application/vnd.openxmlformats-officedocument.presentationml.slideLayout+xml"/>
  <Override PartName="/ppt/slideLayouts/slideLayout2412.xml" ContentType="application/vnd.openxmlformats-officedocument.presentationml.slideLayout+xml"/>
  <Override PartName="/ppt/slideLayouts/slideLayout2413.xml" ContentType="application/vnd.openxmlformats-officedocument.presentationml.slideLayout+xml"/>
  <Override PartName="/ppt/slideLayouts/slideLayout2414.xml" ContentType="application/vnd.openxmlformats-officedocument.presentationml.slideLayout+xml"/>
  <Override PartName="/ppt/slideLayouts/slideLayout2415.xml" ContentType="application/vnd.openxmlformats-officedocument.presentationml.slideLayout+xml"/>
  <Override PartName="/ppt/slideLayouts/slideLayout2416.xml" ContentType="application/vnd.openxmlformats-officedocument.presentationml.slideLayout+xml"/>
  <Override PartName="/ppt/slideLayouts/slideLayout2417.xml" ContentType="application/vnd.openxmlformats-officedocument.presentationml.slideLayout+xml"/>
  <Override PartName="/ppt/slideLayouts/slideLayout2418.xml" ContentType="application/vnd.openxmlformats-officedocument.presentationml.slideLayout+xml"/>
  <Override PartName="/ppt/slideLayouts/slideLayout2419.xml" ContentType="application/vnd.openxmlformats-officedocument.presentationml.slideLayout+xml"/>
  <Override PartName="/ppt/slideLayouts/slideLayout2420.xml" ContentType="application/vnd.openxmlformats-officedocument.presentationml.slideLayout+xml"/>
  <Override PartName="/ppt/slideLayouts/slideLayout2421.xml" ContentType="application/vnd.openxmlformats-officedocument.presentationml.slideLayout+xml"/>
  <Override PartName="/ppt/slideLayouts/slideLayout2422.xml" ContentType="application/vnd.openxmlformats-officedocument.presentationml.slideLayout+xml"/>
  <Override PartName="/ppt/slideLayouts/slideLayout2423.xml" ContentType="application/vnd.openxmlformats-officedocument.presentationml.slideLayout+xml"/>
  <Override PartName="/ppt/slideLayouts/slideLayout2424.xml" ContentType="application/vnd.openxmlformats-officedocument.presentationml.slideLayout+xml"/>
  <Override PartName="/ppt/slideLayouts/slideLayout2425.xml" ContentType="application/vnd.openxmlformats-officedocument.presentationml.slideLayout+xml"/>
  <Override PartName="/ppt/slideLayouts/slideLayout2426.xml" ContentType="application/vnd.openxmlformats-officedocument.presentationml.slideLayout+xml"/>
  <Override PartName="/ppt/slideLayouts/slideLayout2427.xml" ContentType="application/vnd.openxmlformats-officedocument.presentationml.slideLayout+xml"/>
  <Override PartName="/ppt/slideLayouts/slideLayout2428.xml" ContentType="application/vnd.openxmlformats-officedocument.presentationml.slideLayout+xml"/>
  <Override PartName="/ppt/slideLayouts/slideLayout2429.xml" ContentType="application/vnd.openxmlformats-officedocument.presentationml.slideLayout+xml"/>
  <Override PartName="/ppt/slideLayouts/slideLayout2430.xml" ContentType="application/vnd.openxmlformats-officedocument.presentationml.slideLayout+xml"/>
  <Override PartName="/ppt/slideLayouts/slideLayout2431.xml" ContentType="application/vnd.openxmlformats-officedocument.presentationml.slideLayout+xml"/>
  <Override PartName="/ppt/slideLayouts/slideLayout2432.xml" ContentType="application/vnd.openxmlformats-officedocument.presentationml.slideLayout+xml"/>
  <Override PartName="/ppt/slideLayouts/slideLayout2433.xml" ContentType="application/vnd.openxmlformats-officedocument.presentationml.slideLayout+xml"/>
  <Override PartName="/ppt/slideLayouts/slideLayout2434.xml" ContentType="application/vnd.openxmlformats-officedocument.presentationml.slideLayout+xml"/>
  <Override PartName="/ppt/slideLayouts/slideLayout2435.xml" ContentType="application/vnd.openxmlformats-officedocument.presentationml.slideLayout+xml"/>
  <Override PartName="/ppt/slideLayouts/slideLayout2436.xml" ContentType="application/vnd.openxmlformats-officedocument.presentationml.slideLayout+xml"/>
  <Override PartName="/ppt/slideLayouts/slideLayout2437.xml" ContentType="application/vnd.openxmlformats-officedocument.presentationml.slideLayout+xml"/>
  <Override PartName="/ppt/slideLayouts/slideLayout2438.xml" ContentType="application/vnd.openxmlformats-officedocument.presentationml.slideLayout+xml"/>
  <Override PartName="/ppt/slideLayouts/slideLayout2439.xml" ContentType="application/vnd.openxmlformats-officedocument.presentationml.slideLayout+xml"/>
  <Override PartName="/ppt/slideLayouts/slideLayout2440.xml" ContentType="application/vnd.openxmlformats-officedocument.presentationml.slideLayout+xml"/>
  <Override PartName="/ppt/slideLayouts/slideLayout2441.xml" ContentType="application/vnd.openxmlformats-officedocument.presentationml.slideLayout+xml"/>
  <Override PartName="/ppt/slideLayouts/slideLayout2442.xml" ContentType="application/vnd.openxmlformats-officedocument.presentationml.slideLayout+xml"/>
  <Override PartName="/ppt/slideLayouts/slideLayout2443.xml" ContentType="application/vnd.openxmlformats-officedocument.presentationml.slideLayout+xml"/>
  <Override PartName="/ppt/slideLayouts/slideLayout2444.xml" ContentType="application/vnd.openxmlformats-officedocument.presentationml.slideLayout+xml"/>
  <Override PartName="/ppt/slideLayouts/slideLayout2445.xml" ContentType="application/vnd.openxmlformats-officedocument.presentationml.slideLayout+xml"/>
  <Override PartName="/ppt/slideLayouts/slideLayout2446.xml" ContentType="application/vnd.openxmlformats-officedocument.presentationml.slideLayout+xml"/>
  <Override PartName="/ppt/slideLayouts/slideLayout2447.xml" ContentType="application/vnd.openxmlformats-officedocument.presentationml.slideLayout+xml"/>
  <Override PartName="/ppt/slideLayouts/slideLayout2448.xml" ContentType="application/vnd.openxmlformats-officedocument.presentationml.slideLayout+xml"/>
  <Override PartName="/ppt/slideLayouts/slideLayout2449.xml" ContentType="application/vnd.openxmlformats-officedocument.presentationml.slideLayout+xml"/>
  <Override PartName="/ppt/slideLayouts/slideLayout2450.xml" ContentType="application/vnd.openxmlformats-officedocument.presentationml.slideLayout+xml"/>
  <Override PartName="/ppt/slideLayouts/slideLayout2451.xml" ContentType="application/vnd.openxmlformats-officedocument.presentationml.slideLayout+xml"/>
  <Override PartName="/ppt/slideLayouts/slideLayout2452.xml" ContentType="application/vnd.openxmlformats-officedocument.presentationml.slideLayout+xml"/>
  <Override PartName="/ppt/slideLayouts/slideLayout2453.xml" ContentType="application/vnd.openxmlformats-officedocument.presentationml.slideLayout+xml"/>
  <Override PartName="/ppt/slideLayouts/slideLayout2454.xml" ContentType="application/vnd.openxmlformats-officedocument.presentationml.slideLayout+xml"/>
  <Override PartName="/ppt/slideLayouts/slideLayout2455.xml" ContentType="application/vnd.openxmlformats-officedocument.presentationml.slideLayout+xml"/>
  <Override PartName="/ppt/slideLayouts/slideLayout2456.xml" ContentType="application/vnd.openxmlformats-officedocument.presentationml.slideLayout+xml"/>
  <Override PartName="/ppt/slideLayouts/slideLayout2457.xml" ContentType="application/vnd.openxmlformats-officedocument.presentationml.slideLayout+xml"/>
  <Override PartName="/ppt/slideLayouts/slideLayout2458.xml" ContentType="application/vnd.openxmlformats-officedocument.presentationml.slideLayout+xml"/>
  <Override PartName="/ppt/slideLayouts/slideLayout2459.xml" ContentType="application/vnd.openxmlformats-officedocument.presentationml.slideLayout+xml"/>
  <Override PartName="/ppt/slideLayouts/slideLayout2460.xml" ContentType="application/vnd.openxmlformats-officedocument.presentationml.slideLayout+xml"/>
  <Override PartName="/ppt/slideLayouts/slideLayout2461.xml" ContentType="application/vnd.openxmlformats-officedocument.presentationml.slideLayout+xml"/>
  <Override PartName="/ppt/slideLayouts/slideLayout2462.xml" ContentType="application/vnd.openxmlformats-officedocument.presentationml.slideLayout+xml"/>
  <Override PartName="/ppt/slideLayouts/slideLayout2463.xml" ContentType="application/vnd.openxmlformats-officedocument.presentationml.slideLayout+xml"/>
  <Override PartName="/ppt/slideLayouts/slideLayout2464.xml" ContentType="application/vnd.openxmlformats-officedocument.presentationml.slideLayout+xml"/>
  <Override PartName="/ppt/slideLayouts/slideLayout2465.xml" ContentType="application/vnd.openxmlformats-officedocument.presentationml.slideLayout+xml"/>
  <Override PartName="/ppt/slideLayouts/slideLayout2466.xml" ContentType="application/vnd.openxmlformats-officedocument.presentationml.slideLayout+xml"/>
  <Override PartName="/ppt/slideLayouts/slideLayout2467.xml" ContentType="application/vnd.openxmlformats-officedocument.presentationml.slideLayout+xml"/>
  <Override PartName="/ppt/slideLayouts/slideLayout2468.xml" ContentType="application/vnd.openxmlformats-officedocument.presentationml.slideLayout+xml"/>
  <Override PartName="/ppt/slideLayouts/slideLayout2469.xml" ContentType="application/vnd.openxmlformats-officedocument.presentationml.slideLayout+xml"/>
  <Override PartName="/ppt/slideLayouts/slideLayout2470.xml" ContentType="application/vnd.openxmlformats-officedocument.presentationml.slideLayout+xml"/>
  <Override PartName="/ppt/slideLayouts/slideLayout2471.xml" ContentType="application/vnd.openxmlformats-officedocument.presentationml.slideLayout+xml"/>
  <Override PartName="/ppt/slideLayouts/slideLayout2472.xml" ContentType="application/vnd.openxmlformats-officedocument.presentationml.slideLayout+xml"/>
  <Override PartName="/ppt/slideLayouts/slideLayout2473.xml" ContentType="application/vnd.openxmlformats-officedocument.presentationml.slideLayout+xml"/>
  <Override PartName="/ppt/slideLayouts/slideLayout2474.xml" ContentType="application/vnd.openxmlformats-officedocument.presentationml.slideLayout+xml"/>
  <Override PartName="/ppt/slideLayouts/slideLayout2475.xml" ContentType="application/vnd.openxmlformats-officedocument.presentationml.slideLayout+xml"/>
  <Override PartName="/ppt/slideLayouts/slideLayout2476.xml" ContentType="application/vnd.openxmlformats-officedocument.presentationml.slideLayout+xml"/>
  <Override PartName="/ppt/slideLayouts/slideLayout2477.xml" ContentType="application/vnd.openxmlformats-officedocument.presentationml.slideLayout+xml"/>
  <Override PartName="/ppt/slideLayouts/slideLayout2478.xml" ContentType="application/vnd.openxmlformats-officedocument.presentationml.slideLayout+xml"/>
  <Override PartName="/ppt/slideLayouts/slideLayout2479.xml" ContentType="application/vnd.openxmlformats-officedocument.presentationml.slideLayout+xml"/>
  <Override PartName="/ppt/slideLayouts/slideLayout2480.xml" ContentType="application/vnd.openxmlformats-officedocument.presentationml.slideLayout+xml"/>
  <Override PartName="/ppt/slideLayouts/slideLayout2481.xml" ContentType="application/vnd.openxmlformats-officedocument.presentationml.slideLayout+xml"/>
  <Override PartName="/ppt/slideLayouts/slideLayout2482.xml" ContentType="application/vnd.openxmlformats-officedocument.presentationml.slideLayout+xml"/>
  <Override PartName="/ppt/slideLayouts/slideLayout2483.xml" ContentType="application/vnd.openxmlformats-officedocument.presentationml.slideLayout+xml"/>
  <Override PartName="/ppt/slideLayouts/slideLayout2484.xml" ContentType="application/vnd.openxmlformats-officedocument.presentationml.slideLayout+xml"/>
  <Override PartName="/ppt/slideLayouts/slideLayout2485.xml" ContentType="application/vnd.openxmlformats-officedocument.presentationml.slideLayout+xml"/>
  <Override PartName="/ppt/slideLayouts/slideLayout2486.xml" ContentType="application/vnd.openxmlformats-officedocument.presentationml.slideLayout+xml"/>
  <Override PartName="/ppt/slideLayouts/slideLayout2487.xml" ContentType="application/vnd.openxmlformats-officedocument.presentationml.slideLayout+xml"/>
  <Override PartName="/ppt/slideLayouts/slideLayout2488.xml" ContentType="application/vnd.openxmlformats-officedocument.presentationml.slideLayout+xml"/>
  <Override PartName="/ppt/slideLayouts/slideLayout2489.xml" ContentType="application/vnd.openxmlformats-officedocument.presentationml.slideLayout+xml"/>
  <Override PartName="/ppt/slideLayouts/slideLayout2490.xml" ContentType="application/vnd.openxmlformats-officedocument.presentationml.slideLayout+xml"/>
  <Override PartName="/ppt/slideLayouts/slideLayout2491.xml" ContentType="application/vnd.openxmlformats-officedocument.presentationml.slideLayout+xml"/>
  <Override PartName="/ppt/slideLayouts/slideLayout2492.xml" ContentType="application/vnd.openxmlformats-officedocument.presentationml.slideLayout+xml"/>
  <Override PartName="/ppt/slideLayouts/slideLayout2493.xml" ContentType="application/vnd.openxmlformats-officedocument.presentationml.slideLayout+xml"/>
  <Override PartName="/ppt/slideLayouts/slideLayout2494.xml" ContentType="application/vnd.openxmlformats-officedocument.presentationml.slideLayout+xml"/>
  <Override PartName="/ppt/slideLayouts/slideLayout2495.xml" ContentType="application/vnd.openxmlformats-officedocument.presentationml.slideLayout+xml"/>
  <Override PartName="/ppt/slideLayouts/slideLayout2496.xml" ContentType="application/vnd.openxmlformats-officedocument.presentationml.slideLayout+xml"/>
  <Override PartName="/ppt/slideLayouts/slideLayout2497.xml" ContentType="application/vnd.openxmlformats-officedocument.presentationml.slideLayout+xml"/>
  <Override PartName="/ppt/slideLayouts/slideLayout2498.xml" ContentType="application/vnd.openxmlformats-officedocument.presentationml.slideLayout+xml"/>
  <Override PartName="/ppt/slideLayouts/slideLayout2499.xml" ContentType="application/vnd.openxmlformats-officedocument.presentationml.slideLayout+xml"/>
  <Override PartName="/ppt/slideLayouts/slideLayout2500.xml" ContentType="application/vnd.openxmlformats-officedocument.presentationml.slideLayout+xml"/>
  <Override PartName="/ppt/slideLayouts/slideLayout2501.xml" ContentType="application/vnd.openxmlformats-officedocument.presentationml.slideLayout+xml"/>
  <Override PartName="/ppt/slideLayouts/slideLayout2502.xml" ContentType="application/vnd.openxmlformats-officedocument.presentationml.slideLayout+xml"/>
  <Override PartName="/ppt/slideLayouts/slideLayout2503.xml" ContentType="application/vnd.openxmlformats-officedocument.presentationml.slideLayout+xml"/>
  <Override PartName="/ppt/slideLayouts/slideLayout2504.xml" ContentType="application/vnd.openxmlformats-officedocument.presentationml.slideLayout+xml"/>
  <Override PartName="/ppt/slideLayouts/slideLayout2505.xml" ContentType="application/vnd.openxmlformats-officedocument.presentationml.slideLayout+xml"/>
  <Override PartName="/ppt/slideLayouts/slideLayout2506.xml" ContentType="application/vnd.openxmlformats-officedocument.presentationml.slideLayout+xml"/>
  <Override PartName="/ppt/slideLayouts/slideLayout2507.xml" ContentType="application/vnd.openxmlformats-officedocument.presentationml.slideLayout+xml"/>
  <Override PartName="/ppt/slideLayouts/slideLayout2508.xml" ContentType="application/vnd.openxmlformats-officedocument.presentationml.slideLayout+xml"/>
  <Override PartName="/ppt/slideLayouts/slideLayout2509.xml" ContentType="application/vnd.openxmlformats-officedocument.presentationml.slideLayout+xml"/>
  <Override PartName="/ppt/slideLayouts/slideLayout2510.xml" ContentType="application/vnd.openxmlformats-officedocument.presentationml.slideLayout+xml"/>
  <Override PartName="/ppt/slideLayouts/slideLayout2511.xml" ContentType="application/vnd.openxmlformats-officedocument.presentationml.slideLayout+xml"/>
  <Override PartName="/ppt/slideLayouts/slideLayout2512.xml" ContentType="application/vnd.openxmlformats-officedocument.presentationml.slideLayout+xml"/>
  <Override PartName="/ppt/slideLayouts/slideLayout2513.xml" ContentType="application/vnd.openxmlformats-officedocument.presentationml.slideLayout+xml"/>
  <Override PartName="/ppt/slideLayouts/slideLayout2514.xml" ContentType="application/vnd.openxmlformats-officedocument.presentationml.slideLayout+xml"/>
  <Override PartName="/ppt/slideLayouts/slideLayout2515.xml" ContentType="application/vnd.openxmlformats-officedocument.presentationml.slideLayout+xml"/>
  <Override PartName="/ppt/slideLayouts/slideLayout2516.xml" ContentType="application/vnd.openxmlformats-officedocument.presentationml.slideLayout+xml"/>
  <Override PartName="/ppt/slideLayouts/slideLayout2517.xml" ContentType="application/vnd.openxmlformats-officedocument.presentationml.slideLayout+xml"/>
  <Override PartName="/ppt/slideLayouts/slideLayout2518.xml" ContentType="application/vnd.openxmlformats-officedocument.presentationml.slideLayout+xml"/>
  <Override PartName="/ppt/slideLayouts/slideLayout2519.xml" ContentType="application/vnd.openxmlformats-officedocument.presentationml.slideLayout+xml"/>
  <Override PartName="/ppt/slideLayouts/slideLayout2520.xml" ContentType="application/vnd.openxmlformats-officedocument.presentationml.slideLayout+xml"/>
  <Override PartName="/ppt/slideLayouts/slideLayout2521.xml" ContentType="application/vnd.openxmlformats-officedocument.presentationml.slideLayout+xml"/>
  <Override PartName="/ppt/slideLayouts/slideLayout2522.xml" ContentType="application/vnd.openxmlformats-officedocument.presentationml.slideLayout+xml"/>
  <Override PartName="/ppt/slideLayouts/slideLayout2523.xml" ContentType="application/vnd.openxmlformats-officedocument.presentationml.slideLayout+xml"/>
  <Override PartName="/ppt/slideLayouts/slideLayout2524.xml" ContentType="application/vnd.openxmlformats-officedocument.presentationml.slideLayout+xml"/>
  <Override PartName="/ppt/slideLayouts/slideLayout2525.xml" ContentType="application/vnd.openxmlformats-officedocument.presentationml.slideLayout+xml"/>
  <Override PartName="/ppt/slideLayouts/slideLayout2526.xml" ContentType="application/vnd.openxmlformats-officedocument.presentationml.slideLayout+xml"/>
  <Override PartName="/ppt/slideLayouts/slideLayout2527.xml" ContentType="application/vnd.openxmlformats-officedocument.presentationml.slideLayout+xml"/>
  <Override PartName="/ppt/slideLayouts/slideLayout2528.xml" ContentType="application/vnd.openxmlformats-officedocument.presentationml.slideLayout+xml"/>
  <Override PartName="/ppt/slideLayouts/slideLayout2529.xml" ContentType="application/vnd.openxmlformats-officedocument.presentationml.slideLayout+xml"/>
  <Override PartName="/ppt/slideLayouts/slideLayout2530.xml" ContentType="application/vnd.openxmlformats-officedocument.presentationml.slideLayout+xml"/>
  <Override PartName="/ppt/slideLayouts/slideLayout2531.xml" ContentType="application/vnd.openxmlformats-officedocument.presentationml.slideLayout+xml"/>
  <Override PartName="/ppt/slideLayouts/slideLayout2532.xml" ContentType="application/vnd.openxmlformats-officedocument.presentationml.slideLayout+xml"/>
  <Override PartName="/ppt/slideLayouts/slideLayout2533.xml" ContentType="application/vnd.openxmlformats-officedocument.presentationml.slideLayout+xml"/>
  <Override PartName="/ppt/slideLayouts/slideLayout2534.xml" ContentType="application/vnd.openxmlformats-officedocument.presentationml.slideLayout+xml"/>
  <Override PartName="/ppt/slideLayouts/slideLayout2535.xml" ContentType="application/vnd.openxmlformats-officedocument.presentationml.slideLayout+xml"/>
  <Override PartName="/ppt/slideLayouts/slideLayout2536.xml" ContentType="application/vnd.openxmlformats-officedocument.presentationml.slideLayout+xml"/>
  <Override PartName="/ppt/slideLayouts/slideLayout2537.xml" ContentType="application/vnd.openxmlformats-officedocument.presentationml.slideLayout+xml"/>
  <Override PartName="/ppt/slideLayouts/slideLayout2538.xml" ContentType="application/vnd.openxmlformats-officedocument.presentationml.slideLayout+xml"/>
  <Override PartName="/ppt/slideLayouts/slideLayout2539.xml" ContentType="application/vnd.openxmlformats-officedocument.presentationml.slideLayout+xml"/>
  <Override PartName="/ppt/slideLayouts/slideLayout2540.xml" ContentType="application/vnd.openxmlformats-officedocument.presentationml.slideLayout+xml"/>
  <Override PartName="/ppt/slideLayouts/slideLayout2541.xml" ContentType="application/vnd.openxmlformats-officedocument.presentationml.slideLayout+xml"/>
  <Override PartName="/ppt/slideLayouts/slideLayout2542.xml" ContentType="application/vnd.openxmlformats-officedocument.presentationml.slideLayout+xml"/>
  <Override PartName="/ppt/slideLayouts/slideLayout2543.xml" ContentType="application/vnd.openxmlformats-officedocument.presentationml.slideLayout+xml"/>
  <Override PartName="/ppt/slideLayouts/slideLayout2544.xml" ContentType="application/vnd.openxmlformats-officedocument.presentationml.slideLayout+xml"/>
  <Override PartName="/ppt/slideLayouts/slideLayout2545.xml" ContentType="application/vnd.openxmlformats-officedocument.presentationml.slideLayout+xml"/>
  <Override PartName="/ppt/slideLayouts/slideLayout2546.xml" ContentType="application/vnd.openxmlformats-officedocument.presentationml.slideLayout+xml"/>
  <Override PartName="/ppt/slideLayouts/slideLayout2547.xml" ContentType="application/vnd.openxmlformats-officedocument.presentationml.slideLayout+xml"/>
  <Override PartName="/ppt/slideLayouts/slideLayout2548.xml" ContentType="application/vnd.openxmlformats-officedocument.presentationml.slideLayout+xml"/>
  <Override PartName="/ppt/slideLayouts/slideLayout2549.xml" ContentType="application/vnd.openxmlformats-officedocument.presentationml.slideLayout+xml"/>
  <Override PartName="/ppt/slideLayouts/slideLayout2550.xml" ContentType="application/vnd.openxmlformats-officedocument.presentationml.slideLayout+xml"/>
  <Override PartName="/ppt/slideLayouts/slideLayout2551.xml" ContentType="application/vnd.openxmlformats-officedocument.presentationml.slideLayout+xml"/>
  <Override PartName="/ppt/slideLayouts/slideLayout2552.xml" ContentType="application/vnd.openxmlformats-officedocument.presentationml.slideLayout+xml"/>
  <Override PartName="/ppt/slideLayouts/slideLayout2553.xml" ContentType="application/vnd.openxmlformats-officedocument.presentationml.slideLayout+xml"/>
  <Override PartName="/ppt/slideLayouts/slideLayout2554.xml" ContentType="application/vnd.openxmlformats-officedocument.presentationml.slideLayout+xml"/>
  <Override PartName="/ppt/slideLayouts/slideLayout2555.xml" ContentType="application/vnd.openxmlformats-officedocument.presentationml.slideLayout+xml"/>
  <Override PartName="/ppt/slideLayouts/slideLayout2556.xml" ContentType="application/vnd.openxmlformats-officedocument.presentationml.slideLayout+xml"/>
  <Override PartName="/ppt/slideLayouts/slideLayout2557.xml" ContentType="application/vnd.openxmlformats-officedocument.presentationml.slideLayout+xml"/>
  <Override PartName="/ppt/slideLayouts/slideLayout2558.xml" ContentType="application/vnd.openxmlformats-officedocument.presentationml.slideLayout+xml"/>
  <Override PartName="/ppt/slideLayouts/slideLayout2559.xml" ContentType="application/vnd.openxmlformats-officedocument.presentationml.slideLayout+xml"/>
  <Override PartName="/ppt/slideLayouts/slideLayout2560.xml" ContentType="application/vnd.openxmlformats-officedocument.presentationml.slideLayout+xml"/>
  <Override PartName="/ppt/slideLayouts/slideLayout2561.xml" ContentType="application/vnd.openxmlformats-officedocument.presentationml.slideLayout+xml"/>
  <Override PartName="/ppt/slideLayouts/slideLayout2562.xml" ContentType="application/vnd.openxmlformats-officedocument.presentationml.slideLayout+xml"/>
  <Override PartName="/ppt/slideLayouts/slideLayout2563.xml" ContentType="application/vnd.openxmlformats-officedocument.presentationml.slideLayout+xml"/>
  <Override PartName="/ppt/slideLayouts/slideLayout2564.xml" ContentType="application/vnd.openxmlformats-officedocument.presentationml.slideLayout+xml"/>
  <Override PartName="/ppt/slideLayouts/slideLayout2565.xml" ContentType="application/vnd.openxmlformats-officedocument.presentationml.slideLayout+xml"/>
  <Override PartName="/ppt/slideLayouts/slideLayout2566.xml" ContentType="application/vnd.openxmlformats-officedocument.presentationml.slideLayout+xml"/>
  <Override PartName="/ppt/slideLayouts/slideLayout2567.xml" ContentType="application/vnd.openxmlformats-officedocument.presentationml.slideLayout+xml"/>
  <Override PartName="/ppt/slideLayouts/slideLayout2568.xml" ContentType="application/vnd.openxmlformats-officedocument.presentationml.slideLayout+xml"/>
  <Override PartName="/ppt/slideLayouts/slideLayout2569.xml" ContentType="application/vnd.openxmlformats-officedocument.presentationml.slideLayout+xml"/>
  <Override PartName="/ppt/slideLayouts/slideLayout2570.xml" ContentType="application/vnd.openxmlformats-officedocument.presentationml.slideLayout+xml"/>
  <Override PartName="/ppt/slideLayouts/slideLayout2571.xml" ContentType="application/vnd.openxmlformats-officedocument.presentationml.slideLayout+xml"/>
  <Override PartName="/ppt/slideLayouts/slideLayout2572.xml" ContentType="application/vnd.openxmlformats-officedocument.presentationml.slideLayout+xml"/>
  <Override PartName="/ppt/slideLayouts/slideLayout2573.xml" ContentType="application/vnd.openxmlformats-officedocument.presentationml.slideLayout+xml"/>
  <Override PartName="/ppt/slideLayouts/slideLayout2574.xml" ContentType="application/vnd.openxmlformats-officedocument.presentationml.slideLayout+xml"/>
  <Override PartName="/ppt/slideLayouts/slideLayout2575.xml" ContentType="application/vnd.openxmlformats-officedocument.presentationml.slideLayout+xml"/>
  <Override PartName="/ppt/slideLayouts/slideLayout2576.xml" ContentType="application/vnd.openxmlformats-officedocument.presentationml.slideLayout+xml"/>
  <Override PartName="/ppt/slideLayouts/slideLayout2577.xml" ContentType="application/vnd.openxmlformats-officedocument.presentationml.slideLayout+xml"/>
  <Override PartName="/ppt/slideLayouts/slideLayout2578.xml" ContentType="application/vnd.openxmlformats-officedocument.presentationml.slideLayout+xml"/>
  <Override PartName="/ppt/slideLayouts/slideLayout2579.xml" ContentType="application/vnd.openxmlformats-officedocument.presentationml.slideLayout+xml"/>
  <Override PartName="/ppt/slideLayouts/slideLayout2580.xml" ContentType="application/vnd.openxmlformats-officedocument.presentationml.slideLayout+xml"/>
  <Override PartName="/ppt/slideLayouts/slideLayout2581.xml" ContentType="application/vnd.openxmlformats-officedocument.presentationml.slideLayout+xml"/>
  <Override PartName="/ppt/slideLayouts/slideLayout2582.xml" ContentType="application/vnd.openxmlformats-officedocument.presentationml.slideLayout+xml"/>
  <Override PartName="/ppt/slideLayouts/slideLayout2583.xml" ContentType="application/vnd.openxmlformats-officedocument.presentationml.slideLayout+xml"/>
  <Override PartName="/ppt/slideLayouts/slideLayout2584.xml" ContentType="application/vnd.openxmlformats-officedocument.presentationml.slideLayout+xml"/>
  <Override PartName="/ppt/slideLayouts/slideLayout2585.xml" ContentType="application/vnd.openxmlformats-officedocument.presentationml.slideLayout+xml"/>
  <Override PartName="/ppt/slideLayouts/slideLayout2586.xml" ContentType="application/vnd.openxmlformats-officedocument.presentationml.slideLayout+xml"/>
  <Override PartName="/ppt/slideLayouts/slideLayout2587.xml" ContentType="application/vnd.openxmlformats-officedocument.presentationml.slideLayout+xml"/>
  <Override PartName="/ppt/slideLayouts/slideLayout2588.xml" ContentType="application/vnd.openxmlformats-officedocument.presentationml.slideLayout+xml"/>
  <Override PartName="/ppt/slideLayouts/slideLayout2589.xml" ContentType="application/vnd.openxmlformats-officedocument.presentationml.slideLayout+xml"/>
  <Override PartName="/ppt/slideLayouts/slideLayout2590.xml" ContentType="application/vnd.openxmlformats-officedocument.presentationml.slideLayout+xml"/>
  <Override PartName="/ppt/slideLayouts/slideLayout2591.xml" ContentType="application/vnd.openxmlformats-officedocument.presentationml.slideLayout+xml"/>
  <Override PartName="/ppt/slideLayouts/slideLayout2592.xml" ContentType="application/vnd.openxmlformats-officedocument.presentationml.slideLayout+xml"/>
  <Override PartName="/ppt/slideLayouts/slideLayout2593.xml" ContentType="application/vnd.openxmlformats-officedocument.presentationml.slideLayout+xml"/>
  <Override PartName="/ppt/slideLayouts/slideLayout2594.xml" ContentType="application/vnd.openxmlformats-officedocument.presentationml.slideLayout+xml"/>
  <Override PartName="/ppt/slideLayouts/slideLayout2595.xml" ContentType="application/vnd.openxmlformats-officedocument.presentationml.slideLayout+xml"/>
  <Override PartName="/ppt/slideLayouts/slideLayout2596.xml" ContentType="application/vnd.openxmlformats-officedocument.presentationml.slideLayout+xml"/>
  <Override PartName="/ppt/slideLayouts/slideLayout2597.xml" ContentType="application/vnd.openxmlformats-officedocument.presentationml.slideLayout+xml"/>
  <Override PartName="/ppt/slideLayouts/slideLayout2598.xml" ContentType="application/vnd.openxmlformats-officedocument.presentationml.slideLayout+xml"/>
  <Override PartName="/ppt/slideLayouts/slideLayout2599.xml" ContentType="application/vnd.openxmlformats-officedocument.presentationml.slideLayout+xml"/>
  <Override PartName="/ppt/slideLayouts/slideLayout2600.xml" ContentType="application/vnd.openxmlformats-officedocument.presentationml.slideLayout+xml"/>
  <Override PartName="/ppt/slideLayouts/slideLayout2601.xml" ContentType="application/vnd.openxmlformats-officedocument.presentationml.slideLayout+xml"/>
  <Override PartName="/ppt/slideLayouts/slideLayout2602.xml" ContentType="application/vnd.openxmlformats-officedocument.presentationml.slideLayout+xml"/>
  <Override PartName="/ppt/slideLayouts/slideLayout2603.xml" ContentType="application/vnd.openxmlformats-officedocument.presentationml.slideLayout+xml"/>
  <Override PartName="/ppt/slideLayouts/slideLayout2604.xml" ContentType="application/vnd.openxmlformats-officedocument.presentationml.slideLayout+xml"/>
  <Override PartName="/ppt/slideLayouts/slideLayout2605.xml" ContentType="application/vnd.openxmlformats-officedocument.presentationml.slideLayout+xml"/>
  <Override PartName="/ppt/slideLayouts/slideLayout2606.xml" ContentType="application/vnd.openxmlformats-officedocument.presentationml.slideLayout+xml"/>
  <Override PartName="/ppt/slideLayouts/slideLayout2607.xml" ContentType="application/vnd.openxmlformats-officedocument.presentationml.slideLayout+xml"/>
  <Override PartName="/ppt/slideLayouts/slideLayout2608.xml" ContentType="application/vnd.openxmlformats-officedocument.presentationml.slideLayout+xml"/>
  <Override PartName="/ppt/slideLayouts/slideLayout2609.xml" ContentType="application/vnd.openxmlformats-officedocument.presentationml.slideLayout+xml"/>
  <Override PartName="/ppt/slideLayouts/slideLayout2610.xml" ContentType="application/vnd.openxmlformats-officedocument.presentationml.slideLayout+xml"/>
  <Override PartName="/ppt/slideLayouts/slideLayout2611.xml" ContentType="application/vnd.openxmlformats-officedocument.presentationml.slideLayout+xml"/>
  <Override PartName="/ppt/slideLayouts/slideLayout2612.xml" ContentType="application/vnd.openxmlformats-officedocument.presentationml.slideLayout+xml"/>
  <Override PartName="/ppt/slideLayouts/slideLayout2613.xml" ContentType="application/vnd.openxmlformats-officedocument.presentationml.slideLayout+xml"/>
  <Override PartName="/ppt/slideLayouts/slideLayout2614.xml" ContentType="application/vnd.openxmlformats-officedocument.presentationml.slideLayout+xml"/>
  <Override PartName="/ppt/slideLayouts/slideLayout2615.xml" ContentType="application/vnd.openxmlformats-officedocument.presentationml.slideLayout+xml"/>
  <Override PartName="/ppt/slideLayouts/slideLayout2616.xml" ContentType="application/vnd.openxmlformats-officedocument.presentationml.slideLayout+xml"/>
  <Override PartName="/ppt/slideLayouts/slideLayout2617.xml" ContentType="application/vnd.openxmlformats-officedocument.presentationml.slideLayout+xml"/>
  <Override PartName="/ppt/slideLayouts/slideLayout2618.xml" ContentType="application/vnd.openxmlformats-officedocument.presentationml.slideLayout+xml"/>
  <Override PartName="/ppt/slideLayouts/slideLayout2619.xml" ContentType="application/vnd.openxmlformats-officedocument.presentationml.slideLayout+xml"/>
  <Override PartName="/ppt/slideLayouts/slideLayout2620.xml" ContentType="application/vnd.openxmlformats-officedocument.presentationml.slideLayout+xml"/>
  <Override PartName="/ppt/slideLayouts/slideLayout2621.xml" ContentType="application/vnd.openxmlformats-officedocument.presentationml.slideLayout+xml"/>
  <Override PartName="/ppt/slideLayouts/slideLayout2622.xml" ContentType="application/vnd.openxmlformats-officedocument.presentationml.slideLayout+xml"/>
  <Override PartName="/ppt/slideLayouts/slideLayout2623.xml" ContentType="application/vnd.openxmlformats-officedocument.presentationml.slideLayout+xml"/>
  <Override PartName="/ppt/slideLayouts/slideLayout2624.xml" ContentType="application/vnd.openxmlformats-officedocument.presentationml.slideLayout+xml"/>
  <Override PartName="/ppt/slideLayouts/slideLayout2625.xml" ContentType="application/vnd.openxmlformats-officedocument.presentationml.slideLayout+xml"/>
  <Override PartName="/ppt/slideLayouts/slideLayout2626.xml" ContentType="application/vnd.openxmlformats-officedocument.presentationml.slideLayout+xml"/>
  <Override PartName="/ppt/slideLayouts/slideLayout2627.xml" ContentType="application/vnd.openxmlformats-officedocument.presentationml.slideLayout+xml"/>
  <Override PartName="/ppt/slideLayouts/slideLayout2628.xml" ContentType="application/vnd.openxmlformats-officedocument.presentationml.slideLayout+xml"/>
  <Override PartName="/ppt/slideLayouts/slideLayout2629.xml" ContentType="application/vnd.openxmlformats-officedocument.presentationml.slideLayout+xml"/>
  <Override PartName="/ppt/slideLayouts/slideLayout2630.xml" ContentType="application/vnd.openxmlformats-officedocument.presentationml.slideLayout+xml"/>
  <Override PartName="/ppt/slideLayouts/slideLayout2631.xml" ContentType="application/vnd.openxmlformats-officedocument.presentationml.slideLayout+xml"/>
  <Override PartName="/ppt/slideLayouts/slideLayout2632.xml" ContentType="application/vnd.openxmlformats-officedocument.presentationml.slideLayout+xml"/>
  <Override PartName="/ppt/slideLayouts/slideLayout2633.xml" ContentType="application/vnd.openxmlformats-officedocument.presentationml.slideLayout+xml"/>
  <Override PartName="/ppt/slideLayouts/slideLayout2634.xml" ContentType="application/vnd.openxmlformats-officedocument.presentationml.slideLayout+xml"/>
  <Override PartName="/ppt/slideLayouts/slideLayout2635.xml" ContentType="application/vnd.openxmlformats-officedocument.presentationml.slideLayout+xml"/>
  <Override PartName="/ppt/slideLayouts/slideLayout2636.xml" ContentType="application/vnd.openxmlformats-officedocument.presentationml.slideLayout+xml"/>
  <Override PartName="/ppt/slideLayouts/slideLayout2637.xml" ContentType="application/vnd.openxmlformats-officedocument.presentationml.slideLayout+xml"/>
  <Override PartName="/ppt/slideLayouts/slideLayout2638.xml" ContentType="application/vnd.openxmlformats-officedocument.presentationml.slideLayout+xml"/>
  <Override PartName="/ppt/slideLayouts/slideLayout2639.xml" ContentType="application/vnd.openxmlformats-officedocument.presentationml.slideLayout+xml"/>
  <Override PartName="/ppt/slideLayouts/slideLayout2640.xml" ContentType="application/vnd.openxmlformats-officedocument.presentationml.slideLayout+xml"/>
  <Override PartName="/ppt/slideLayouts/slideLayout2641.xml" ContentType="application/vnd.openxmlformats-officedocument.presentationml.slideLayout+xml"/>
  <Override PartName="/ppt/slideLayouts/slideLayout2642.xml" ContentType="application/vnd.openxmlformats-officedocument.presentationml.slideLayout+xml"/>
  <Override PartName="/ppt/slideLayouts/slideLayout2643.xml" ContentType="application/vnd.openxmlformats-officedocument.presentationml.slideLayout+xml"/>
  <Override PartName="/ppt/slideLayouts/slideLayout2644.xml" ContentType="application/vnd.openxmlformats-officedocument.presentationml.slideLayout+xml"/>
  <Override PartName="/ppt/slideLayouts/slideLayout2645.xml" ContentType="application/vnd.openxmlformats-officedocument.presentationml.slideLayout+xml"/>
  <Override PartName="/ppt/slideLayouts/slideLayout2646.xml" ContentType="application/vnd.openxmlformats-officedocument.presentationml.slideLayout+xml"/>
  <Override PartName="/ppt/slideLayouts/slideLayout2647.xml" ContentType="application/vnd.openxmlformats-officedocument.presentationml.slideLayout+xml"/>
  <Override PartName="/ppt/slideLayouts/slideLayout2648.xml" ContentType="application/vnd.openxmlformats-officedocument.presentationml.slideLayout+xml"/>
  <Override PartName="/ppt/slideLayouts/slideLayout2649.xml" ContentType="application/vnd.openxmlformats-officedocument.presentationml.slideLayout+xml"/>
  <Override PartName="/ppt/slideLayouts/slideLayout2650.xml" ContentType="application/vnd.openxmlformats-officedocument.presentationml.slideLayout+xml"/>
  <Override PartName="/ppt/slideLayouts/slideLayout2651.xml" ContentType="application/vnd.openxmlformats-officedocument.presentationml.slideLayout+xml"/>
  <Override PartName="/ppt/slideLayouts/slideLayout2652.xml" ContentType="application/vnd.openxmlformats-officedocument.presentationml.slideLayout+xml"/>
  <Override PartName="/ppt/slideLayouts/slideLayout2653.xml" ContentType="application/vnd.openxmlformats-officedocument.presentationml.slideLayout+xml"/>
  <Override PartName="/ppt/slideLayouts/slideLayout2654.xml" ContentType="application/vnd.openxmlformats-officedocument.presentationml.slideLayout+xml"/>
  <Override PartName="/ppt/slideLayouts/slideLayout2655.xml" ContentType="application/vnd.openxmlformats-officedocument.presentationml.slideLayout+xml"/>
  <Override PartName="/ppt/slideLayouts/slideLayout2656.xml" ContentType="application/vnd.openxmlformats-officedocument.presentationml.slideLayout+xml"/>
  <Override PartName="/ppt/slideLayouts/slideLayout2657.xml" ContentType="application/vnd.openxmlformats-officedocument.presentationml.slideLayout+xml"/>
  <Override PartName="/ppt/slideLayouts/slideLayout26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659.xml" ContentType="application/vnd.openxmlformats-officedocument.presentationml.slideLayout+xml"/>
  <Override PartName="/ppt/slideLayouts/slideLayout2660.xml" ContentType="application/vnd.openxmlformats-officedocument.presentationml.slideLayout+xml"/>
  <Override PartName="/ppt/slideLayouts/slideLayout2661.xml" ContentType="application/vnd.openxmlformats-officedocument.presentationml.slideLayout+xml"/>
  <Override PartName="/ppt/slideLayouts/slideLayout2662.xml" ContentType="application/vnd.openxmlformats-officedocument.presentationml.slideLayout+xml"/>
  <Override PartName="/ppt/slideLayouts/slideLayout2663.xml" ContentType="application/vnd.openxmlformats-officedocument.presentationml.slideLayout+xml"/>
  <Override PartName="/ppt/slideLayouts/slideLayout2664.xml" ContentType="application/vnd.openxmlformats-officedocument.presentationml.slideLayout+xml"/>
  <Override PartName="/ppt/slideLayouts/slideLayout2665.xml" ContentType="application/vnd.openxmlformats-officedocument.presentationml.slideLayout+xml"/>
  <Override PartName="/ppt/slideLayouts/slideLayout2666.xml" ContentType="application/vnd.openxmlformats-officedocument.presentationml.slideLayout+xml"/>
  <Override PartName="/ppt/slideLayouts/slideLayout2667.xml" ContentType="application/vnd.openxmlformats-officedocument.presentationml.slideLayout+xml"/>
  <Override PartName="/ppt/slideLayouts/slideLayout2668.xml" ContentType="application/vnd.openxmlformats-officedocument.presentationml.slideLayout+xml"/>
  <Override PartName="/ppt/slideLayouts/slideLayout2669.xml" ContentType="application/vnd.openxmlformats-officedocument.presentationml.slideLayout+xml"/>
  <Override PartName="/ppt/slideLayouts/slideLayout2670.xml" ContentType="application/vnd.openxmlformats-officedocument.presentationml.slideLayout+xml"/>
  <Override PartName="/ppt/slideLayouts/slideLayout2671.xml" ContentType="application/vnd.openxmlformats-officedocument.presentationml.slideLayout+xml"/>
  <Override PartName="/ppt/slideLayouts/slideLayout2672.xml" ContentType="application/vnd.openxmlformats-officedocument.presentationml.slideLayout+xml"/>
  <Override PartName="/ppt/slideLayouts/slideLayout2673.xml" ContentType="application/vnd.openxmlformats-officedocument.presentationml.slideLayout+xml"/>
  <Override PartName="/ppt/slideLayouts/slideLayout2674.xml" ContentType="application/vnd.openxmlformats-officedocument.presentationml.slideLayout+xml"/>
  <Override PartName="/ppt/theme/theme6.xml" ContentType="application/vnd.openxmlformats-officedocument.theme+xml"/>
  <Override PartName="/ppt/slideLayouts/slideLayout2675.xml" ContentType="application/vnd.openxmlformats-officedocument.presentationml.slideLayout+xml"/>
  <Override PartName="/ppt/slideLayouts/slideLayout2676.xml" ContentType="application/vnd.openxmlformats-officedocument.presentationml.slideLayout+xml"/>
  <Override PartName="/ppt/slideLayouts/slideLayout2677.xml" ContentType="application/vnd.openxmlformats-officedocument.presentationml.slideLayout+xml"/>
  <Override PartName="/ppt/slideLayouts/slideLayout2678.xml" ContentType="application/vnd.openxmlformats-officedocument.presentationml.slideLayout+xml"/>
  <Override PartName="/ppt/slideLayouts/slideLayout2679.xml" ContentType="application/vnd.openxmlformats-officedocument.presentationml.slideLayout+xml"/>
  <Override PartName="/ppt/slideLayouts/slideLayout2680.xml" ContentType="application/vnd.openxmlformats-officedocument.presentationml.slideLayout+xml"/>
  <Override PartName="/ppt/slideLayouts/slideLayout2681.xml" ContentType="application/vnd.openxmlformats-officedocument.presentationml.slideLayout+xml"/>
  <Override PartName="/ppt/slideLayouts/slideLayout2682.xml" ContentType="application/vnd.openxmlformats-officedocument.presentationml.slideLayout+xml"/>
  <Override PartName="/ppt/slideLayouts/slideLayout2683.xml" ContentType="application/vnd.openxmlformats-officedocument.presentationml.slideLayout+xml"/>
  <Override PartName="/ppt/slideLayouts/slideLayout2684.xml" ContentType="application/vnd.openxmlformats-officedocument.presentationml.slideLayout+xml"/>
  <Override PartName="/ppt/slideLayouts/slideLayout2685.xml" ContentType="application/vnd.openxmlformats-officedocument.presentationml.slideLayout+xml"/>
  <Override PartName="/ppt/theme/theme7.xml" ContentType="application/vnd.openxmlformats-officedocument.theme+xml"/>
  <Override PartName="/ppt/slideLayouts/slideLayout2686.xml" ContentType="application/vnd.openxmlformats-officedocument.presentationml.slideLayout+xml"/>
  <Override PartName="/ppt/slideLayouts/slideLayout2687.xml" ContentType="application/vnd.openxmlformats-officedocument.presentationml.slideLayout+xml"/>
  <Override PartName="/ppt/slideLayouts/slideLayout2688.xml" ContentType="application/vnd.openxmlformats-officedocument.presentationml.slideLayout+xml"/>
  <Override PartName="/ppt/slideLayouts/slideLayout2689.xml" ContentType="application/vnd.openxmlformats-officedocument.presentationml.slideLayout+xml"/>
  <Override PartName="/ppt/slideLayouts/slideLayout2690.xml" ContentType="application/vnd.openxmlformats-officedocument.presentationml.slideLayout+xml"/>
  <Override PartName="/ppt/slideLayouts/slideLayout2691.xml" ContentType="application/vnd.openxmlformats-officedocument.presentationml.slideLayout+xml"/>
  <Override PartName="/ppt/slideLayouts/slideLayout2692.xml" ContentType="application/vnd.openxmlformats-officedocument.presentationml.slideLayout+xml"/>
  <Override PartName="/ppt/slideLayouts/slideLayout2693.xml" ContentType="application/vnd.openxmlformats-officedocument.presentationml.slideLayout+xml"/>
  <Override PartName="/ppt/slideLayouts/slideLayout2694.xml" ContentType="application/vnd.openxmlformats-officedocument.presentationml.slideLayout+xml"/>
  <Override PartName="/ppt/slideLayouts/slideLayout2695.xml" ContentType="application/vnd.openxmlformats-officedocument.presentationml.slideLayout+xml"/>
  <Override PartName="/ppt/slideLayouts/slideLayout2696.xml" ContentType="application/vnd.openxmlformats-officedocument.presentationml.slideLayout+xml"/>
  <Override PartName="/ppt/theme/theme8.xml" ContentType="application/vnd.openxmlformats-officedocument.theme+xml"/>
  <Override PartName="/ppt/slideLayouts/slideLayout2697.xml" ContentType="application/vnd.openxmlformats-officedocument.presentationml.slideLayout+xml"/>
  <Override PartName="/ppt/slideLayouts/slideLayout2698.xml" ContentType="application/vnd.openxmlformats-officedocument.presentationml.slideLayout+xml"/>
  <Override PartName="/ppt/slideLayouts/slideLayout2699.xml" ContentType="application/vnd.openxmlformats-officedocument.presentationml.slideLayout+xml"/>
  <Override PartName="/ppt/slideLayouts/slideLayout2700.xml" ContentType="application/vnd.openxmlformats-officedocument.presentationml.slideLayout+xml"/>
  <Override PartName="/ppt/slideLayouts/slideLayout2701.xml" ContentType="application/vnd.openxmlformats-officedocument.presentationml.slideLayout+xml"/>
  <Override PartName="/ppt/slideLayouts/slideLayout2702.xml" ContentType="application/vnd.openxmlformats-officedocument.presentationml.slideLayout+xml"/>
  <Override PartName="/ppt/slideLayouts/slideLayout270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05_0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modernComment_A6E_BC6AD10F.xml" ContentType="application/vnd.ms-powerpoint.comments+xml"/>
  <Override PartName="/ppt/comments/modernComment_A50_CEC8E8E0.xml" ContentType="application/vnd.ms-powerpoint.comments+xml"/>
  <Override PartName="/ppt/comments/modernComment_A5D_F1DA543A.xml" ContentType="application/vnd.ms-powerpoint.comments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5842" r:id="rId1"/>
    <p:sldMasterId id="2147484076" r:id="rId2"/>
    <p:sldMasterId id="2147484506" r:id="rId3"/>
    <p:sldMasterId id="2147484975" r:id="rId4"/>
    <p:sldMasterId id="2147491125" r:id="rId5"/>
    <p:sldMasterId id="2147491401" r:id="rId6"/>
    <p:sldMasterId id="2147489026" r:id="rId7"/>
    <p:sldMasterId id="2147494164" r:id="rId8"/>
    <p:sldMasterId id="2147491428" r:id="rId9"/>
  </p:sldMasterIdLst>
  <p:notesMasterIdLst>
    <p:notesMasterId r:id="rId44"/>
  </p:notesMasterIdLst>
  <p:sldIdLst>
    <p:sldId id="256" r:id="rId10"/>
    <p:sldId id="257" r:id="rId11"/>
    <p:sldId id="259" r:id="rId12"/>
    <p:sldId id="258" r:id="rId13"/>
    <p:sldId id="1195" r:id="rId14"/>
    <p:sldId id="261" r:id="rId15"/>
    <p:sldId id="2655" r:id="rId16"/>
    <p:sldId id="2656" r:id="rId17"/>
    <p:sldId id="312" r:id="rId18"/>
    <p:sldId id="968" r:id="rId19"/>
    <p:sldId id="2667" r:id="rId20"/>
    <p:sldId id="2671" r:id="rId21"/>
    <p:sldId id="278" r:id="rId22"/>
    <p:sldId id="2670" r:id="rId23"/>
    <p:sldId id="2640" r:id="rId24"/>
    <p:sldId id="2653" r:id="rId25"/>
    <p:sldId id="2672" r:id="rId26"/>
    <p:sldId id="2658" r:id="rId27"/>
    <p:sldId id="2659" r:id="rId28"/>
    <p:sldId id="2660" r:id="rId29"/>
    <p:sldId id="2668" r:id="rId30"/>
    <p:sldId id="2662" r:id="rId31"/>
    <p:sldId id="2663" r:id="rId32"/>
    <p:sldId id="2669" r:id="rId33"/>
    <p:sldId id="2664" r:id="rId34"/>
    <p:sldId id="2666" r:id="rId35"/>
    <p:sldId id="2665" r:id="rId36"/>
    <p:sldId id="277" r:id="rId37"/>
    <p:sldId id="2654" r:id="rId38"/>
    <p:sldId id="293" r:id="rId39"/>
    <p:sldId id="260" r:id="rId40"/>
    <p:sldId id="2673" r:id="rId41"/>
    <p:sldId id="1003" r:id="rId42"/>
    <p:sldId id="304" r:id="rId43"/>
  </p:sldIdLst>
  <p:sldSz cx="12192000" cy="6858000"/>
  <p:notesSz cx="6858000" cy="9144000"/>
  <p:embeddedFontLst>
    <p:embeddedFont>
      <p:font typeface="DM Sans" pitchFamily="2" charset="0"/>
      <p:regular r:id="rId45"/>
      <p:bold r:id="rId46"/>
      <p:italic r:id="rId47"/>
      <p:boldItalic r:id="rId48"/>
    </p:embeddedFont>
    <p:embeddedFont>
      <p:font typeface="Lato" panose="020F0502020204030203" pitchFamily="34" charset="0"/>
      <p:regular r:id="rId49"/>
      <p:bold r:id="rId50"/>
      <p:italic r:id="rId51"/>
      <p:boldItalic r:id="rId52"/>
    </p:embeddedFont>
    <p:embeddedFont>
      <p:font typeface="Montserrat" panose="00000500000000000000" pitchFamily="2" charset="0"/>
      <p:regular r:id="rId53"/>
      <p:bold r:id="rId54"/>
      <p:italic r:id="rId55"/>
      <p:boldItalic r:id="rId56"/>
    </p:embeddedFont>
    <p:embeddedFont>
      <p:font typeface="Montserrat SemiBold" panose="00000700000000000000" pitchFamily="2" charset="0"/>
      <p:regular r:id="rId57"/>
      <p:bold r:id="rId58"/>
      <p:italic r:id="rId59"/>
      <p:boldItalic r:id="rId6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5" roundtripDataSignature="AMtx7mjNgo3LddgwuhQluCkWiRwODKp28Q=="/>
    </p:ext>
  </p:extLst>
</p:presentation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89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font" Target="fonts/font14.fntdata"/><Relationship Id="rId8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90" Type="http://schemas.microsoft.com/office/2015/10/relationships/revisionInfo" Target="revisionInfo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8" Type="http://schemas.openxmlformats.org/officeDocument/2006/relationships/slideMaster" Target="slideMasters/slideMaster8.xml"/><Relationship Id="rId51" Type="http://schemas.openxmlformats.org/officeDocument/2006/relationships/font" Target="fonts/font7.fntdata"/><Relationship Id="rId85" Type="http://customschemas.google.com/relationships/presentationmetadata" Target="meta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font" Target="fonts/font2.fntdata"/><Relationship Id="rId59" Type="http://schemas.openxmlformats.org/officeDocument/2006/relationships/font" Target="fonts/font15.fntdata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font" Target="fonts/font10.fntdata"/><Relationship Id="rId88" Type="http://schemas.openxmlformats.org/officeDocument/2006/relationships/theme" Target="theme/theme1.xml"/><Relationship Id="rId91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font" Target="fonts/font5.fntdata"/><Relationship Id="rId57" Type="http://schemas.openxmlformats.org/officeDocument/2006/relationships/font" Target="fonts/font13.fntdata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font" Target="fonts/font16.fntdata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/Relationships>
</file>

<file path=ppt/diagrams/data1.xml><?xml version="1.0" encoding="utf-8"?>
<dgm:dataModel xmlns:dgm="http://schemas.openxmlformats.org/drawingml/2006/diagram" xmlns:a="http://schemas.openxmlformats.org/drawingml/2006/main">
  <dgm:ptLst>
    <dgm:pt modelId="{047ACECB-DBE7-4CF9-B7EB-64BD771CC76C}" type="doc">
      <dgm:prSet loTypeId="urn:microsoft.com/office/officeart/2005/8/layout/hList6" loCatId="list" qsTypeId="urn:microsoft.com/office/officeart/2005/8/quickstyle/simple1" qsCatId="simple" csTypeId="urn:microsoft.com/office/officeart/2005/8/colors/accent5_4" csCatId="accent5" phldr="1"/>
      <dgm:spPr/>
      <dgm:t>
        <a:bodyPr/>
        <a:lstStyle/>
        <a:p>
          <a:endParaRPr lang="en-US"/>
        </a:p>
      </dgm:t>
    </dgm:pt>
    <dgm:pt modelId="{ED3E3B50-4806-4D04-B857-51B1CAF9EDA2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Operationalize ESSI workflows</a:t>
          </a:r>
          <a:endParaRPr lang="en-US"/>
        </a:p>
      </dgm:t>
    </dgm:pt>
    <dgm:pt modelId="{6EB04DA1-8BFF-4FAC-8D16-63FAE69027E9}" type="parTrans" cxnId="{44286481-0D0E-4DC2-87A2-C5C589863367}">
      <dgm:prSet/>
      <dgm:spPr/>
      <dgm:t>
        <a:bodyPr/>
        <a:lstStyle/>
        <a:p>
          <a:endParaRPr lang="en-US"/>
        </a:p>
      </dgm:t>
    </dgm:pt>
    <dgm:pt modelId="{3B1DFDFF-1940-42A1-85F8-9B7929EFD557}" type="sibTrans" cxnId="{44286481-0D0E-4DC2-87A2-C5C589863367}">
      <dgm:prSet/>
      <dgm:spPr/>
      <dgm:t>
        <a:bodyPr/>
        <a:lstStyle/>
        <a:p>
          <a:endParaRPr lang="en-US"/>
        </a:p>
      </dgm:t>
    </dgm:pt>
    <dgm:pt modelId="{E6F75B2F-0903-4BE5-8B24-066AF94822D9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Build durable education systems</a:t>
          </a:r>
          <a:endParaRPr lang="en-US"/>
        </a:p>
      </dgm:t>
    </dgm:pt>
    <dgm:pt modelId="{08B42EAF-5BD5-4EA0-99ED-6301618A6324}" type="parTrans" cxnId="{6D6FA167-54A2-4211-82BA-D89D92C152F6}">
      <dgm:prSet/>
      <dgm:spPr/>
      <dgm:t>
        <a:bodyPr/>
        <a:lstStyle/>
        <a:p>
          <a:endParaRPr lang="en-US"/>
        </a:p>
      </dgm:t>
    </dgm:pt>
    <dgm:pt modelId="{57975E70-1CDC-4C8C-A780-8908B5D8B6F2}" type="sibTrans" cxnId="{6D6FA167-54A2-4211-82BA-D89D92C152F6}">
      <dgm:prSet/>
      <dgm:spPr/>
      <dgm:t>
        <a:bodyPr/>
        <a:lstStyle/>
        <a:p>
          <a:endParaRPr lang="en-US"/>
        </a:p>
      </dgm:t>
    </dgm:pt>
    <dgm:pt modelId="{BCC282E8-17A9-40F6-998B-97ED190F5DAC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Strengthen EMR and data infrastructure</a:t>
          </a:r>
          <a:endParaRPr lang="en-US"/>
        </a:p>
      </dgm:t>
    </dgm:pt>
    <dgm:pt modelId="{55A1F693-842A-40EF-B126-C76FD440A6FB}" type="parTrans" cxnId="{CC83A2A9-B160-493B-8E62-2FF824BA3059}">
      <dgm:prSet/>
      <dgm:spPr/>
      <dgm:t>
        <a:bodyPr/>
        <a:lstStyle/>
        <a:p>
          <a:endParaRPr lang="en-US"/>
        </a:p>
      </dgm:t>
    </dgm:pt>
    <dgm:pt modelId="{6E2C99D5-FD07-49D8-B77E-CD6C3B786C5F}" type="sibTrans" cxnId="{CC83A2A9-B160-493B-8E62-2FF824BA3059}">
      <dgm:prSet/>
      <dgm:spPr/>
      <dgm:t>
        <a:bodyPr/>
        <a:lstStyle/>
        <a:p>
          <a:endParaRPr lang="en-US"/>
        </a:p>
      </dgm:t>
    </dgm:pt>
    <dgm:pt modelId="{06A480BA-D878-4D67-AAED-557C2A53E42E}">
      <dgm:prSet phldrT="[Text]" phldr="0"/>
      <dgm:spPr/>
      <dgm:t>
        <a:bodyPr/>
        <a:lstStyle/>
        <a:p>
          <a:pPr rtl="0"/>
          <a:r>
            <a:rPr lang="en-US" sz="2200">
              <a:latin typeface="Calibri" panose="020F0502020204030204"/>
            </a:rPr>
            <a:t>Expand community partnership</a:t>
          </a:r>
          <a:endParaRPr lang="en-US" sz="2200"/>
        </a:p>
      </dgm:t>
    </dgm:pt>
    <dgm:pt modelId="{33836CCC-E69C-4339-88CC-69E750A27A94}" type="parTrans" cxnId="{54C5541C-CA6A-4658-AA08-2F4A5326FA42}">
      <dgm:prSet/>
      <dgm:spPr/>
      <dgm:t>
        <a:bodyPr/>
        <a:lstStyle/>
        <a:p>
          <a:endParaRPr lang="en-US"/>
        </a:p>
      </dgm:t>
    </dgm:pt>
    <dgm:pt modelId="{DFB69BDC-7022-4B30-85F5-FBE4ED1F204D}" type="sibTrans" cxnId="{54C5541C-CA6A-4658-AA08-2F4A5326FA42}">
      <dgm:prSet/>
      <dgm:spPr/>
      <dgm:t>
        <a:bodyPr/>
        <a:lstStyle/>
        <a:p>
          <a:endParaRPr lang="en-US"/>
        </a:p>
      </dgm:t>
    </dgm:pt>
    <dgm:pt modelId="{8ADCBC8F-B832-4E21-876D-90AAF246AD09}">
      <dgm:prSet phldrT="[Text]" phldr="0"/>
      <dgm:spPr/>
      <dgm:t>
        <a:bodyPr/>
        <a:lstStyle/>
        <a:p>
          <a:pPr rtl="0"/>
          <a:r>
            <a:rPr lang="en-US" sz="2200">
              <a:latin typeface="Calibri" panose="020F0502020204030204"/>
            </a:rPr>
            <a:t>Maintain equity-centered design</a:t>
          </a:r>
          <a:endParaRPr lang="en-US" sz="2200"/>
        </a:p>
      </dgm:t>
    </dgm:pt>
    <dgm:pt modelId="{50B0EB8D-DE94-4F77-80AA-3AC03E25768D}" type="parTrans" cxnId="{92628541-5D2E-48B9-A49F-6CBD788F2FA9}">
      <dgm:prSet/>
      <dgm:spPr/>
      <dgm:t>
        <a:bodyPr/>
        <a:lstStyle/>
        <a:p>
          <a:endParaRPr lang="en-US"/>
        </a:p>
      </dgm:t>
    </dgm:pt>
    <dgm:pt modelId="{67E8A03A-283D-48FB-971A-6D20868B8C50}" type="sibTrans" cxnId="{92628541-5D2E-48B9-A49F-6CBD788F2FA9}">
      <dgm:prSet/>
      <dgm:spPr/>
      <dgm:t>
        <a:bodyPr/>
        <a:lstStyle/>
        <a:p>
          <a:endParaRPr lang="en-US"/>
        </a:p>
      </dgm:t>
    </dgm:pt>
    <dgm:pt modelId="{A182A5E9-65DE-4D86-81F7-A82F42FA850E}" type="pres">
      <dgm:prSet presAssocID="{047ACECB-DBE7-4CF9-B7EB-64BD771CC76C}" presName="Name0" presStyleCnt="0">
        <dgm:presLayoutVars>
          <dgm:dir/>
          <dgm:resizeHandles val="exact"/>
        </dgm:presLayoutVars>
      </dgm:prSet>
      <dgm:spPr/>
    </dgm:pt>
    <dgm:pt modelId="{4F30D553-9FA8-4AD6-B144-1DF1363E8C0E}" type="pres">
      <dgm:prSet presAssocID="{ED3E3B50-4806-4D04-B857-51B1CAF9EDA2}" presName="node" presStyleLbl="node1" presStyleIdx="0" presStyleCnt="5">
        <dgm:presLayoutVars>
          <dgm:bulletEnabled val="1"/>
        </dgm:presLayoutVars>
      </dgm:prSet>
      <dgm:spPr/>
    </dgm:pt>
    <dgm:pt modelId="{FB948AEC-45BB-4549-839E-086645724811}" type="pres">
      <dgm:prSet presAssocID="{3B1DFDFF-1940-42A1-85F8-9B7929EFD557}" presName="sibTrans" presStyleCnt="0"/>
      <dgm:spPr/>
    </dgm:pt>
    <dgm:pt modelId="{E4C762B4-13BD-4E3D-9FA3-E69A04577C21}" type="pres">
      <dgm:prSet presAssocID="{E6F75B2F-0903-4BE5-8B24-066AF94822D9}" presName="node" presStyleLbl="node1" presStyleIdx="1" presStyleCnt="5">
        <dgm:presLayoutVars>
          <dgm:bulletEnabled val="1"/>
        </dgm:presLayoutVars>
      </dgm:prSet>
      <dgm:spPr/>
    </dgm:pt>
    <dgm:pt modelId="{BE30F5DB-AEDB-4747-8951-4B35E1B337E7}" type="pres">
      <dgm:prSet presAssocID="{57975E70-1CDC-4C8C-A780-8908B5D8B6F2}" presName="sibTrans" presStyleCnt="0"/>
      <dgm:spPr/>
    </dgm:pt>
    <dgm:pt modelId="{F87D2225-AC0B-4DD8-AB4C-11A9776B3FAE}" type="pres">
      <dgm:prSet presAssocID="{BCC282E8-17A9-40F6-998B-97ED190F5DAC}" presName="node" presStyleLbl="node1" presStyleIdx="2" presStyleCnt="5">
        <dgm:presLayoutVars>
          <dgm:bulletEnabled val="1"/>
        </dgm:presLayoutVars>
      </dgm:prSet>
      <dgm:spPr/>
    </dgm:pt>
    <dgm:pt modelId="{83CBB8E4-B117-4837-B255-C9B9A742E911}" type="pres">
      <dgm:prSet presAssocID="{6E2C99D5-FD07-49D8-B77E-CD6C3B786C5F}" presName="sibTrans" presStyleCnt="0"/>
      <dgm:spPr/>
    </dgm:pt>
    <dgm:pt modelId="{F8D0DDE4-B488-49D4-AF96-8DBB1ECE8A8B}" type="pres">
      <dgm:prSet presAssocID="{06A480BA-D878-4D67-AAED-557C2A53E42E}" presName="node" presStyleLbl="node1" presStyleIdx="3" presStyleCnt="5">
        <dgm:presLayoutVars>
          <dgm:bulletEnabled val="1"/>
        </dgm:presLayoutVars>
      </dgm:prSet>
      <dgm:spPr/>
    </dgm:pt>
    <dgm:pt modelId="{C2D88559-53A1-4E62-A3B4-C0EEF90B9669}" type="pres">
      <dgm:prSet presAssocID="{DFB69BDC-7022-4B30-85F5-FBE4ED1F204D}" presName="sibTrans" presStyleCnt="0"/>
      <dgm:spPr/>
    </dgm:pt>
    <dgm:pt modelId="{344BFBBF-F512-4496-A88F-355CE55E2D1A}" type="pres">
      <dgm:prSet presAssocID="{8ADCBC8F-B832-4E21-876D-90AAF246AD09}" presName="node" presStyleLbl="node1" presStyleIdx="4" presStyleCnt="5">
        <dgm:presLayoutVars>
          <dgm:bulletEnabled val="1"/>
        </dgm:presLayoutVars>
      </dgm:prSet>
      <dgm:spPr/>
    </dgm:pt>
  </dgm:ptLst>
  <dgm:cxnLst>
    <dgm:cxn modelId="{D852A01A-68A4-4625-9492-C715CFE527DA}" type="presOf" srcId="{047ACECB-DBE7-4CF9-B7EB-64BD771CC76C}" destId="{A182A5E9-65DE-4D86-81F7-A82F42FA850E}" srcOrd="0" destOrd="0" presId="urn:microsoft.com/office/officeart/2005/8/layout/hList6"/>
    <dgm:cxn modelId="{54C5541C-CA6A-4658-AA08-2F4A5326FA42}" srcId="{047ACECB-DBE7-4CF9-B7EB-64BD771CC76C}" destId="{06A480BA-D878-4D67-AAED-557C2A53E42E}" srcOrd="3" destOrd="0" parTransId="{33836CCC-E69C-4339-88CC-69E750A27A94}" sibTransId="{DFB69BDC-7022-4B30-85F5-FBE4ED1F204D}"/>
    <dgm:cxn modelId="{047D4B1E-0438-40B3-9331-4F281A55029A}" type="presOf" srcId="{ED3E3B50-4806-4D04-B857-51B1CAF9EDA2}" destId="{4F30D553-9FA8-4AD6-B144-1DF1363E8C0E}" srcOrd="0" destOrd="0" presId="urn:microsoft.com/office/officeart/2005/8/layout/hList6"/>
    <dgm:cxn modelId="{95045F34-25BD-4F63-8B4E-F10D2E1A0E96}" type="presOf" srcId="{BCC282E8-17A9-40F6-998B-97ED190F5DAC}" destId="{F87D2225-AC0B-4DD8-AB4C-11A9776B3FAE}" srcOrd="0" destOrd="0" presId="urn:microsoft.com/office/officeart/2005/8/layout/hList6"/>
    <dgm:cxn modelId="{92628541-5D2E-48B9-A49F-6CBD788F2FA9}" srcId="{047ACECB-DBE7-4CF9-B7EB-64BD771CC76C}" destId="{8ADCBC8F-B832-4E21-876D-90AAF246AD09}" srcOrd="4" destOrd="0" parTransId="{50B0EB8D-DE94-4F77-80AA-3AC03E25768D}" sibTransId="{67E8A03A-283D-48FB-971A-6D20868B8C50}"/>
    <dgm:cxn modelId="{6D6FA167-54A2-4211-82BA-D89D92C152F6}" srcId="{047ACECB-DBE7-4CF9-B7EB-64BD771CC76C}" destId="{E6F75B2F-0903-4BE5-8B24-066AF94822D9}" srcOrd="1" destOrd="0" parTransId="{08B42EAF-5BD5-4EA0-99ED-6301618A6324}" sibTransId="{57975E70-1CDC-4C8C-A780-8908B5D8B6F2}"/>
    <dgm:cxn modelId="{C6402A79-B0C1-482E-BA24-507483C54E4B}" type="presOf" srcId="{06A480BA-D878-4D67-AAED-557C2A53E42E}" destId="{F8D0DDE4-B488-49D4-AF96-8DBB1ECE8A8B}" srcOrd="0" destOrd="0" presId="urn:microsoft.com/office/officeart/2005/8/layout/hList6"/>
    <dgm:cxn modelId="{44286481-0D0E-4DC2-87A2-C5C589863367}" srcId="{047ACECB-DBE7-4CF9-B7EB-64BD771CC76C}" destId="{ED3E3B50-4806-4D04-B857-51B1CAF9EDA2}" srcOrd="0" destOrd="0" parTransId="{6EB04DA1-8BFF-4FAC-8D16-63FAE69027E9}" sibTransId="{3B1DFDFF-1940-42A1-85F8-9B7929EFD557}"/>
    <dgm:cxn modelId="{CC83A2A9-B160-493B-8E62-2FF824BA3059}" srcId="{047ACECB-DBE7-4CF9-B7EB-64BD771CC76C}" destId="{BCC282E8-17A9-40F6-998B-97ED190F5DAC}" srcOrd="2" destOrd="0" parTransId="{55A1F693-842A-40EF-B126-C76FD440A6FB}" sibTransId="{6E2C99D5-FD07-49D8-B77E-CD6C3B786C5F}"/>
    <dgm:cxn modelId="{E1697BB5-E219-4338-B4BF-B2E5EA43D2F9}" type="presOf" srcId="{E6F75B2F-0903-4BE5-8B24-066AF94822D9}" destId="{E4C762B4-13BD-4E3D-9FA3-E69A04577C21}" srcOrd="0" destOrd="0" presId="urn:microsoft.com/office/officeart/2005/8/layout/hList6"/>
    <dgm:cxn modelId="{C83C64D5-953F-4653-82F6-F5B5B862F904}" type="presOf" srcId="{8ADCBC8F-B832-4E21-876D-90AAF246AD09}" destId="{344BFBBF-F512-4496-A88F-355CE55E2D1A}" srcOrd="0" destOrd="0" presId="urn:microsoft.com/office/officeart/2005/8/layout/hList6"/>
    <dgm:cxn modelId="{689851D3-1B30-4191-BF72-B3140ADF0E76}" type="presParOf" srcId="{A182A5E9-65DE-4D86-81F7-A82F42FA850E}" destId="{4F30D553-9FA8-4AD6-B144-1DF1363E8C0E}" srcOrd="0" destOrd="0" presId="urn:microsoft.com/office/officeart/2005/8/layout/hList6"/>
    <dgm:cxn modelId="{8F6CD330-DAE8-45A8-AE6D-78EB00CF7EE8}" type="presParOf" srcId="{A182A5E9-65DE-4D86-81F7-A82F42FA850E}" destId="{FB948AEC-45BB-4549-839E-086645724811}" srcOrd="1" destOrd="0" presId="urn:microsoft.com/office/officeart/2005/8/layout/hList6"/>
    <dgm:cxn modelId="{DB1CB9C8-64DC-4C37-9101-42185E492FBB}" type="presParOf" srcId="{A182A5E9-65DE-4D86-81F7-A82F42FA850E}" destId="{E4C762B4-13BD-4E3D-9FA3-E69A04577C21}" srcOrd="2" destOrd="0" presId="urn:microsoft.com/office/officeart/2005/8/layout/hList6"/>
    <dgm:cxn modelId="{12A9D28A-E9C2-4D11-AE6C-381249797027}" type="presParOf" srcId="{A182A5E9-65DE-4D86-81F7-A82F42FA850E}" destId="{BE30F5DB-AEDB-4747-8951-4B35E1B337E7}" srcOrd="3" destOrd="0" presId="urn:microsoft.com/office/officeart/2005/8/layout/hList6"/>
    <dgm:cxn modelId="{8AA24E1B-CCD9-4D2E-BA5A-7EA8623AFCDD}" type="presParOf" srcId="{A182A5E9-65DE-4D86-81F7-A82F42FA850E}" destId="{F87D2225-AC0B-4DD8-AB4C-11A9776B3FAE}" srcOrd="4" destOrd="0" presId="urn:microsoft.com/office/officeart/2005/8/layout/hList6"/>
    <dgm:cxn modelId="{F5A607C7-7EA0-4935-8C0F-0A8D56C2D058}" type="presParOf" srcId="{A182A5E9-65DE-4D86-81F7-A82F42FA850E}" destId="{83CBB8E4-B117-4837-B255-C9B9A742E911}" srcOrd="5" destOrd="0" presId="urn:microsoft.com/office/officeart/2005/8/layout/hList6"/>
    <dgm:cxn modelId="{3FFD7CB4-B0C7-4F9A-943C-69C76F6BA20E}" type="presParOf" srcId="{A182A5E9-65DE-4D86-81F7-A82F42FA850E}" destId="{F8D0DDE4-B488-49D4-AF96-8DBB1ECE8A8B}" srcOrd="6" destOrd="0" presId="urn:microsoft.com/office/officeart/2005/8/layout/hList6"/>
    <dgm:cxn modelId="{2389A940-E6D2-4476-BACC-9CE5C0EBAAF6}" type="presParOf" srcId="{A182A5E9-65DE-4D86-81F7-A82F42FA850E}" destId="{C2D88559-53A1-4E62-A3B4-C0EEF90B9669}" srcOrd="7" destOrd="0" presId="urn:microsoft.com/office/officeart/2005/8/layout/hList6"/>
    <dgm:cxn modelId="{DBB58544-8635-43DE-8419-6A12DE4403B8}" type="presParOf" srcId="{A182A5E9-65DE-4D86-81F7-A82F42FA850E}" destId="{344BFBBF-F512-4496-A88F-355CE55E2D1A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32" name="Google Shape;20932;g3681a448973_2_129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933" name="Google Shape;20933;g3681a448973_2_1290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34" name="Google Shape;20934;g3681a448973_2_1290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3" name="Google Shape;9313;g3dea1330d01_2_490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314" name="Google Shape;9314;g3dea1330d01_2_4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73">
          <a:extLst>
            <a:ext uri="{FF2B5EF4-FFF2-40B4-BE49-F238E27FC236}">
              <a16:creationId xmlns:a16="http://schemas.microsoft.com/office/drawing/2014/main" id="{907300D4-FD35-7F55-1B73-C84500B4E2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4" name="Google Shape;20974;g3681a448973_2_12940:notes">
            <a:extLst>
              <a:ext uri="{FF2B5EF4-FFF2-40B4-BE49-F238E27FC236}">
                <a16:creationId xmlns:a16="http://schemas.microsoft.com/office/drawing/2014/main" id="{0D2F2701-CA88-BB47-71ED-A045D7325FF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75" name="Google Shape;20975;g3681a448973_2_12940:notes">
            <a:extLst>
              <a:ext uri="{FF2B5EF4-FFF2-40B4-BE49-F238E27FC236}">
                <a16:creationId xmlns:a16="http://schemas.microsoft.com/office/drawing/2014/main" id="{893AC628-8882-9786-C20B-344698566E6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409479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73">
          <a:extLst>
            <a:ext uri="{FF2B5EF4-FFF2-40B4-BE49-F238E27FC236}">
              <a16:creationId xmlns:a16="http://schemas.microsoft.com/office/drawing/2014/main" id="{8A908586-799A-37C6-F93D-95329A8B2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4" name="Google Shape;20974;g3681a448973_2_12940:notes">
            <a:extLst>
              <a:ext uri="{FF2B5EF4-FFF2-40B4-BE49-F238E27FC236}">
                <a16:creationId xmlns:a16="http://schemas.microsoft.com/office/drawing/2014/main" id="{8BA06058-95D9-4C35-E888-60A87F3AB08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75" name="Google Shape;20975;g3681a448973_2_12940:notes">
            <a:extLst>
              <a:ext uri="{FF2B5EF4-FFF2-40B4-BE49-F238E27FC236}">
                <a16:creationId xmlns:a16="http://schemas.microsoft.com/office/drawing/2014/main" id="{A1A666D9-9AC0-146C-1103-2CE2CA0B83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32075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35" name="Google Shape;21235;g3681a448973_2_531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236" name="Google Shape;21236;g3681a448973_2_5317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237" name="Google Shape;21237;g3681a448973_2_5317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8</a:t>
            </a:fld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80" name="Google Shape;21380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381" name="Google Shape;21381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9" name="Google Shape;6029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030" name="Google Shape;603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1" name="Google Shape;52171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2172" name="Google Shape;52172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0" name="Google Shape;20940;g3681a448973_2_129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0941" name="Google Shape;20941;g3681a448973_2_1290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42" name="Google Shape;20942;g3681a448973_2_1290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7" name="Google Shape;20957;g3681a448973_2_129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58" name="Google Shape;20958;g3681a448973_2_129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9" name="Google Shape;2094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0950" name="Google Shape;2095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51" name="Google Shape;20951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73">
          <a:extLst>
            <a:ext uri="{FF2B5EF4-FFF2-40B4-BE49-F238E27FC236}">
              <a16:creationId xmlns:a16="http://schemas.microsoft.com/office/drawing/2014/main" id="{EE5A9C1E-8E66-9425-9760-E5C175734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4" name="Google Shape;9274;g3c5b803b16c_1_12:notes">
            <a:extLst>
              <a:ext uri="{FF2B5EF4-FFF2-40B4-BE49-F238E27FC236}">
                <a16:creationId xmlns:a16="http://schemas.microsoft.com/office/drawing/2014/main" id="{89F24D43-E093-524E-8713-B7C22C2126D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75" name="Google Shape;9275;g3c5b803b16c_1_12:notes">
            <a:extLst>
              <a:ext uri="{FF2B5EF4-FFF2-40B4-BE49-F238E27FC236}">
                <a16:creationId xmlns:a16="http://schemas.microsoft.com/office/drawing/2014/main" id="{05A0ADEE-7DF8-9B55-6178-B3692A339E5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276" name="Google Shape;9276;g3c5b803b16c_1_12:notes">
            <a:extLst>
              <a:ext uri="{FF2B5EF4-FFF2-40B4-BE49-F238E27FC236}">
                <a16:creationId xmlns:a16="http://schemas.microsoft.com/office/drawing/2014/main" id="{823DA142-99C8-0E05-A518-A962611F4EE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5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9212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4" name="Google Shape;20974;g3681a448973_2_129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75" name="Google Shape;20975;g3681a448973_2_129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48">
          <a:extLst>
            <a:ext uri="{FF2B5EF4-FFF2-40B4-BE49-F238E27FC236}">
              <a16:creationId xmlns:a16="http://schemas.microsoft.com/office/drawing/2014/main" id="{8F531A94-19EA-C9AC-7D3B-B70A102E5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9" name="Google Shape;20949;p1:notes">
            <a:extLst>
              <a:ext uri="{FF2B5EF4-FFF2-40B4-BE49-F238E27FC236}">
                <a16:creationId xmlns:a16="http://schemas.microsoft.com/office/drawing/2014/main" id="{19C60A13-E464-5460-C3DE-67335369FC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0950" name="Google Shape;20950;p1:notes">
            <a:extLst>
              <a:ext uri="{FF2B5EF4-FFF2-40B4-BE49-F238E27FC236}">
                <a16:creationId xmlns:a16="http://schemas.microsoft.com/office/drawing/2014/main" id="{5F6E5052-0AF7-C1A5-482C-884544E2F04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51" name="Google Shape;20951;p1:notes">
            <a:extLst>
              <a:ext uri="{FF2B5EF4-FFF2-40B4-BE49-F238E27FC236}">
                <a16:creationId xmlns:a16="http://schemas.microsoft.com/office/drawing/2014/main" id="{9985C1A4-5B68-3AA5-517B-17C42C3FB54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1990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48">
          <a:extLst>
            <a:ext uri="{FF2B5EF4-FFF2-40B4-BE49-F238E27FC236}">
              <a16:creationId xmlns:a16="http://schemas.microsoft.com/office/drawing/2014/main" id="{5C5CACBC-0D69-0C9B-24D9-85E50F0F14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9" name="Google Shape;20949;p1:notes">
            <a:extLst>
              <a:ext uri="{FF2B5EF4-FFF2-40B4-BE49-F238E27FC236}">
                <a16:creationId xmlns:a16="http://schemas.microsoft.com/office/drawing/2014/main" id="{970F98C9-64A0-6099-084A-020FEBBE8DD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0950" name="Google Shape;20950;p1:notes">
            <a:extLst>
              <a:ext uri="{FF2B5EF4-FFF2-40B4-BE49-F238E27FC236}">
                <a16:creationId xmlns:a16="http://schemas.microsoft.com/office/drawing/2014/main" id="{614083BC-3E68-6D2D-B330-EFC52E8A79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51" name="Google Shape;20951;p1:notes">
            <a:extLst>
              <a:ext uri="{FF2B5EF4-FFF2-40B4-BE49-F238E27FC236}">
                <a16:creationId xmlns:a16="http://schemas.microsoft.com/office/drawing/2014/main" id="{87803869-F3AE-8136-5E19-5FB9DB833B1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87360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73">
          <a:extLst>
            <a:ext uri="{FF2B5EF4-FFF2-40B4-BE49-F238E27FC236}">
              <a16:creationId xmlns:a16="http://schemas.microsoft.com/office/drawing/2014/main" id="{931F25C8-ECBF-19B3-980A-2B9320346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4" name="Google Shape;20974;g3681a448973_2_12940:notes">
            <a:extLst>
              <a:ext uri="{FF2B5EF4-FFF2-40B4-BE49-F238E27FC236}">
                <a16:creationId xmlns:a16="http://schemas.microsoft.com/office/drawing/2014/main" id="{9F2089C0-61D0-FB77-BE94-D27B69D3125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75" name="Google Shape;20975;g3681a448973_2_12940:notes">
            <a:extLst>
              <a:ext uri="{FF2B5EF4-FFF2-40B4-BE49-F238E27FC236}">
                <a16:creationId xmlns:a16="http://schemas.microsoft.com/office/drawing/2014/main" id="{0600D1E9-5F7D-BCB8-ADA3-7B5E0ABE8F5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064011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2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2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2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5.xml"/></Relationships>
</file>

<file path=ppt/slideLayouts/_rels/slideLayout2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2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2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5.xml"/></Relationships>
</file>

<file path=ppt/slideLayouts/_rels/slideLayout2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5.xml"/></Relationships>
</file>

<file path=ppt/slideLayouts/_rels/slideLayout2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5.xml"/></Relationships>
</file>

<file path=ppt/slideLayouts/_rels/slideLayout2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5.xml"/></Relationships>
</file>

<file path=ppt/slideLayouts/_rels/slideLayout2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5.xml"/></Relationships>
</file>

<file path=ppt/slideLayouts/_rels/slideLayout2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5.xml"/></Relationships>
</file>

<file path=ppt/slideLayouts/_rels/slideLayout2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5.xml"/></Relationships>
</file>

<file path=ppt/slideLayouts/_rels/slideLayout2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5.xml"/></Relationships>
</file>

<file path=ppt/slideLayouts/_rels/slideLayout2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/Relationships>
</file>

<file path=ppt/slideLayouts/_rels/slideLayout2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Layouts/_rels/slideLayout2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2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5.xml"/></Relationships>
</file>

<file path=ppt/slideLayouts/_rels/slideLayout2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5.xml"/></Relationships>
</file>

<file path=ppt/slideLayouts/_rels/slideLayout2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2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/Relationships>
</file>

<file path=ppt/slideLayouts/_rels/slideLayout2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/Relationships>
</file>

<file path=ppt/slideLayouts/_rels/slideLayout2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Layouts/_rels/slideLayout2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Master" Target="../slideMasters/slideMaster5.xml"/></Relationships>
</file>

<file path=ppt/slideLayouts/_rels/slideLayout2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9.xml"/></Relationships>
</file>

<file path=ppt/slideLayouts/_rels/slideLayout2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g3681a448973_2_1298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g3681a448973_2_1298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g3681a448973_2_1298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g3681a448973_2_129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grpSp>
        <p:nvGrpSpPr>
          <p:cNvPr id="19" name="Google Shape;19;g3681a448973_2_1298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0" name="Google Shape;20;g3681a448973_2_129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g3681a448973_2_1298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g3681a448973_2_129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Google Shape;109;g3681a448973_2_130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0" name="Google Shape;110;g3681a448973_2_13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" name="Google Shape;111;g3681a448973_2_130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" name="Google Shape;112;g3681a448973_2_13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g3681a448973_2_13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" name="Google Shape;114;g3681a448973_2_13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g3681a448973_2_130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g3681a448973_2_130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g3681a448973_2_13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g3681a448973_2_13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g3681a448973_2_1403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5" name="Google Shape;1045;g3681a448973_2_1403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6" name="Google Shape;1046;g3681a448973_2_1403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7" name="Google Shape;1047;g3681a448973_2_1403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" name="Google Shape;1048;g3681a448973_2_1403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" name="Google Shape;1049;g3681a448973_2_1403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0" name="Google Shape;1050;g3681a448973_2_140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1" name="Google Shape;1051;g3681a448973_2_140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9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1" name="Google Shape;9721;g3681a448973_2_547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2" name="Google Shape;9722;g3681a448973_2_5476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23" name="Google Shape;9723;g3681a448973_2_5476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24" name="Google Shape;9724;g3681a448973_2_547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5" name="Google Shape;9725;g3681a448973_2_547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26" name="Google Shape;9726;g3681a448973_2_547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27" name="Google Shape;9727;g3681a448973_2_547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28" name="Google Shape;9728;g3681a448973_2_5476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9" name="Google Shape;9729;g3681a448973_2_5476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30" name="Google Shape;9730;g3681a448973_2_547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31" name="Google Shape;9731;g3681a448973_2_547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9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33" name="Google Shape;9733;g3681a448973_2_547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34" name="Google Shape;9734;g3681a448973_2_54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5" name="Google Shape;9735;g3681a448973_2_547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36" name="Google Shape;9736;g3681a448973_2_54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37" name="Google Shape;9737;g3681a448973_2_54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38" name="Google Shape;9738;g3681a448973_2_5477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9" name="Google Shape;9739;g3681a448973_2_5477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0" name="Google Shape;9740;g3681a448973_2_5477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1" name="Google Shape;9741;g3681a448973_2_547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2" name="Google Shape;9742;g3681a448973_2_547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3" name="Google Shape;9743;g3681a448973_2_547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4" name="Google Shape;9744;g3681a448973_2_54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5" name="Google Shape;9745;g3681a448973_2_54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9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7" name="Google Shape;9747;g3681a448973_2_547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48" name="Google Shape;9748;g3681a448973_2_54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9" name="Google Shape;9749;g3681a448973_2_547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50" name="Google Shape;9750;g3681a448973_2_547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51" name="Google Shape;9751;g3681a448973_2_547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52" name="Google Shape;9752;g3681a448973_2_547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3" name="Google Shape;9753;g3681a448973_2_547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4" name="Google Shape;9754;g3681a448973_2_547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5" name="Google Shape;9755;g3681a448973_2_547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9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7" name="Google Shape;9757;g3681a448973_2_547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8" name="Google Shape;9758;g3681a448973_2_547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59" name="Google Shape;9759;g3681a448973_2_547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60" name="Google Shape;9760;g3681a448973_2_5479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61" name="Google Shape;9761;g3681a448973_2_5479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2" name="Google Shape;9762;g3681a448973_2_547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63" name="Google Shape;9763;g3681a448973_2_547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4" name="Google Shape;9764;g3681a448973_2_547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9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6" name="Google Shape;9766;g3681a448973_2_548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7" name="Google Shape;9767;g3681a448973_2_54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8" name="Google Shape;9768;g3681a448973_2_54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9" name="Google Shape;9769;g3681a448973_2_548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70" name="Google Shape;9770;g3681a448973_2_54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1" name="Google Shape;9771;g3681a448973_2_548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72" name="Google Shape;9772;g3681a448973_2_54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73" name="Google Shape;9773;g3681a448973_2_54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Quotation">
  <p:cSld name="42_Quotation">
    <p:spTree>
      <p:nvGrpSpPr>
        <p:cNvPr id="1" name="Shape 9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5" name="Google Shape;9775;g3681a448973_2_5481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76" name="Google Shape;9776;g3681a448973_2_5481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7" name="Google Shape;9777;g3681a448973_2_548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8" name="Google Shape;9778;g3681a448973_2_548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9" name="Google Shape;9779;g3681a448973_2_54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0" name="Google Shape;9780;g3681a448973_2_54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81" name="Google Shape;9781;g3681a448973_2_548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82" name="Google Shape;9782;g3681a448973_2_54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3" name="Google Shape;9783;g3681a448973_2_548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84" name="Google Shape;9784;g3681a448973_2_54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85" name="Google Shape;9785;g3681a448973_2_54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86" name="Google Shape;9786;g3681a448973_2_548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TITLE">
    <p:spTree>
      <p:nvGrpSpPr>
        <p:cNvPr id="1" name="Shape 9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8" name="Google Shape;9788;g3681a448973_2_548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9" name="Google Shape;9789;g3681a448973_2_548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90" name="Google Shape;9790;g3681a448973_2_548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91" name="Google Shape;9791;g3681a448973_2_54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2" name="Google Shape;9792;g3681a448973_2_54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9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4" name="Google Shape;9794;g3681a448973_2_5483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95" name="Google Shape;9795;g3681a448973_2_5483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6" name="Google Shape;9796;g3681a448973_2_548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97" name="Google Shape;9797;g3681a448973_2_54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8" name="Google Shape;9798;g3681a448973_2_54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99" name="Google Shape;9799;g3681a448973_2_5483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0" name="Google Shape;9800;g3681a448973_2_5483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1" name="Google Shape;9801;g3681a448973_2_5483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02" name="Google Shape;9802;g3681a448973_2_548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9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4" name="Google Shape;9804;g3681a448973_2_5484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05" name="Google Shape;9805;g3681a448973_2_5484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6" name="Google Shape;9806;g3681a448973_2_548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07" name="Google Shape;9807;g3681a448973_2_54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8" name="Google Shape;9808;g3681a448973_2_54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09" name="Google Shape;9809;g3681a448973_2_5484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0" name="Google Shape;9810;g3681a448973_2_5484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1" name="Google Shape;9811;g3681a448973_2_5484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12" name="Google Shape;9812;g3681a448973_2_548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9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4" name="Google Shape;9814;g3681a448973_2_5485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5" name="Google Shape;9815;g3681a448973_2_5485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6" name="Google Shape;9816;g3681a448973_2_5485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7" name="Google Shape;9817;g3681a448973_2_5485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18" name="Google Shape;9818;g3681a448973_2_548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" name="Google Shape;1053;g3681a448973_2_1403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4" name="Google Shape;1054;g3681a448973_2_140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" name="Google Shape;1055;g3681a448973_2_140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6" name="Google Shape;1056;g3681a448973_2_1403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57" name="Google Shape;1057;g3681a448973_2_140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8" name="Google Shape;1058;g3681a448973_2_140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9" name="Google Shape;1059;g3681a448973_2_140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0" name="Google Shape;1060;g3681a448973_2_140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9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0" name="Google Shape;9820;g3681a448973_2_5486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821" name="Google Shape;9821;g3681a448973_2_548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822" name="Google Shape;9822;g3681a448973_2_5486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3" name="Google Shape;9823;g3681a448973_2_5486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4" name="Google Shape;9824;g3681a448973_2_5486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9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6" name="Google Shape;9826;g3681a448973_2_5486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7" name="Google Shape;9827;g3681a448973_2_5486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8" name="Google Shape;9828;g3681a448973_2_5486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g3681a448973_2_5486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0" name="Google Shape;9830;g3681a448973_2_5486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31" name="Google Shape;9831;g3681a448973_2_548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g3681a448973_2_5487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4" name="Google Shape;9834;g3681a448973_2_5487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5" name="Google Shape;9835;g3681a448973_2_548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36" name="Google Shape;9836;g3681a448973_2_54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7" name="Google Shape;9837;g3681a448973_2_54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38" name="Google Shape;9838;g3681a448973_2_5487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39" name="Google Shape;9839;g3681a448973_2_5487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0" name="Google Shape;9840;g3681a448973_2_5487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41" name="Google Shape;9841;g3681a448973_2_548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9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3" name="Google Shape;9843;g3681a448973_2_5488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44" name="Google Shape;9844;g3681a448973_2_5488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5" name="Google Shape;9845;g3681a448973_2_5488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6" name="Google Shape;9846;g3681a448973_2_5488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47" name="Google Shape;9847;g3681a448973_2_548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9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9" name="Google Shape;9849;g3681a448973_2_5488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50" name="Google Shape;9850;g3681a448973_2_5488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51" name="Google Shape;9851;g3681a448973_2_54889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2" name="Google Shape;9852;g3681a448973_2_54889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g3681a448973_2_54889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54" name="Google Shape;9854;g3681a448973_2_548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9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6" name="Google Shape;9856;g3681a448973_2_5489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7" name="Google Shape;9857;g3681a448973_2_5489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8" name="Google Shape;9858;g3681a448973_2_5489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59" name="Google Shape;9859;g3681a448973_2_548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0" name="Google Shape;9860;g3681a448973_2_548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61" name="Google Shape;9861;g3681a448973_2_5489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62" name="Google Shape;9862;g3681a448973_2_5489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63" name="Google Shape;9863;g3681a448973_2_5489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64" name="Google Shape;9864;g3681a448973_2_54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9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6" name="Google Shape;9866;g3681a448973_2_5490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7" name="Google Shape;9867;g3681a448973_2_5490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8" name="Google Shape;9868;g3681a448973_2_5490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69" name="Google Shape;9869;g3681a448973_2_549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0" name="Google Shape;9870;g3681a448973_2_549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71" name="Google Shape;9871;g3681a448973_2_5490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2" name="Google Shape;9872;g3681a448973_2_5490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3" name="Google Shape;9873;g3681a448973_2_5490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74" name="Google Shape;9874;g3681a448973_2_549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9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6" name="Google Shape;9876;g3681a448973_2_5491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7" name="Google Shape;9877;g3681a448973_2_5491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8" name="Google Shape;9878;g3681a448973_2_549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79" name="Google Shape;9879;g3681a448973_2_54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0" name="Google Shape;9880;g3681a448973_2_549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81" name="Google Shape;9881;g3681a448973_2_5491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2" name="Google Shape;9882;g3681a448973_2_5491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3" name="Google Shape;9883;g3681a448973_2_5491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84" name="Google Shape;9884;g3681a448973_2_549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9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6" name="Google Shape;9886;g3681a448973_2_54926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7" name="Google Shape;9887;g3681a448973_2_5492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8" name="Google Shape;9888;g3681a448973_2_5492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9" name="Google Shape;9889;g3681a448973_2_54926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90" name="Google Shape;9890;g3681a448973_2_549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9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2" name="Google Shape;9892;g3681a448973_2_5493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893" name="Google Shape;9893;g3681a448973_2_549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894" name="Google Shape;9894;g3681a448973_2_5493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95" name="Google Shape;9895;g3681a448973_2_54932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96" name="Google Shape;9896;g3681a448973_2_54932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" name="Google Shape;1062;g3681a448973_2_140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" name="Google Shape;1063;g3681a448973_2_140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" name="Google Shape;1064;g3681a448973_2_140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5" name="Google Shape;1065;g3681a448973_2_140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66" name="Google Shape;1066;g3681a448973_2_14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7" name="Google Shape;1067;g3681a448973_2_140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8" name="Google Shape;1068;g3681a448973_2_140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9" name="Google Shape;1069;g3681a448973_2_140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9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8" name="Google Shape;9898;g3681a448973_2_5493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99" name="Google Shape;9899;g3681a448973_2_5493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00" name="Google Shape;9900;g3681a448973_2_5493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1" name="Google Shape;9901;g3681a448973_2_5493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2" name="Google Shape;9902;g3681a448973_2_5493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03" name="Google Shape;9903;g3681a448973_2_549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9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5" name="Google Shape;9905;g3681a448973_2_54945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6" name="Google Shape;9906;g3681a448973_2_54945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7" name="Google Shape;9907;g3681a448973_2_5494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08" name="Google Shape;9908;g3681a448973_2_549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9" name="Google Shape;9909;g3681a448973_2_549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10" name="Google Shape;9910;g3681a448973_2_54945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1" name="Google Shape;9911;g3681a448973_2_54945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2" name="Google Shape;9912;g3681a448973_2_54945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13" name="Google Shape;9913;g3681a448973_2_54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9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5" name="Google Shape;9915;g3681a448973_2_54955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16" name="Google Shape;9916;g3681a448973_2_5495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7" name="Google Shape;9917;g3681a448973_2_5495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8" name="Google Shape;9918;g3681a448973_2_54955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19" name="Google Shape;9919;g3681a448973_2_54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9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1" name="Google Shape;9921;g3681a448973_2_5496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22" name="Google Shape;9922;g3681a448973_2_54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23" name="Google Shape;9923;g3681a448973_2_5496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4" name="Google Shape;9924;g3681a448973_2_5496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5" name="Google Shape;9925;g3681a448973_2_5496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9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7" name="Google Shape;9927;g3681a448973_2_5496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8" name="Google Shape;9928;g3681a448973_2_5496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9" name="Google Shape;9929;g3681a448973_2_54967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0" name="Google Shape;9930;g3681a448973_2_54967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1" name="Google Shape;9931;g3681a448973_2_54967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32" name="Google Shape;9932;g3681a448973_2_54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9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4" name="Google Shape;9934;g3681a448973_2_5497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5" name="Google Shape;9935;g3681a448973_2_5497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6" name="Google Shape;9936;g3681a448973_2_549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37" name="Google Shape;9937;g3681a448973_2_549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8" name="Google Shape;9938;g3681a448973_2_549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39" name="Google Shape;9939;g3681a448973_2_5497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0" name="Google Shape;9940;g3681a448973_2_5497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1" name="Google Shape;9941;g3681a448973_2_5497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42" name="Google Shape;9942;g3681a448973_2_54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9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4" name="Google Shape;9944;g3681a448973_2_5498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5" name="Google Shape;9945;g3681a448973_2_5498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6" name="Google Shape;9946;g3681a448973_2_5498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7" name="Google Shape;9947;g3681a448973_2_5498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48" name="Google Shape;9948;g3681a448973_2_54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9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50" name="Google Shape;9950;g3681a448973_2_5499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51" name="Google Shape;9951;g3681a448973_2_549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52" name="Google Shape;9952;g3681a448973_2_5499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3" name="Google Shape;9953;g3681a448973_2_5499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4" name="Google Shape;9954;g3681a448973_2_5499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9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56" name="Google Shape;9956;g3681a448973_2_5499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7" name="Google Shape;9957;g3681a448973_2_5499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8" name="Google Shape;9958;g3681a448973_2_5499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9" name="Google Shape;9959;g3681a448973_2_5499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0" name="Google Shape;9960;g3681a448973_2_5499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61" name="Google Shape;9961;g3681a448973_2_549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9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3" name="Google Shape;9963;g3681a448973_2_5500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4" name="Google Shape;9964;g3681a448973_2_5500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5" name="Google Shape;9965;g3681a448973_2_550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66" name="Google Shape;9966;g3681a448973_2_55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g3681a448973_2_55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68" name="Google Shape;9968;g3681a448973_2_5500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69" name="Google Shape;9969;g3681a448973_2_5500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0" name="Google Shape;9970;g3681a448973_2_5500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71" name="Google Shape;9971;g3681a448973_2_550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1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" name="Google Shape;1071;g3681a448973_2_140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g3681a448973_2_140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" name="Google Shape;1073;g3681a448973_2_140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4" name="Google Shape;1074;g3681a448973_2_140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5" name="Google Shape;1075;g3681a448973_2_140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" name="Google Shape;1076;g3681a448973_2_140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7" name="Google Shape;1077;g3681a448973_2_140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78" name="Google Shape;1078;g3681a448973_2_140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9" name="Google Shape;1079;g3681a448973_2_140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0" name="Google Shape;1080;g3681a448973_2_140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1" name="Google Shape;1081;g3681a448973_2_140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2" name="Google Shape;1082;g3681a448973_2_140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9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3" name="Google Shape;9973;g3681a448973_2_5501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74" name="Google Shape;9974;g3681a448973_2_5501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5" name="Google Shape;9975;g3681a448973_2_5501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6" name="Google Shape;9976;g3681a448973_2_5501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77" name="Google Shape;9977;g3681a448973_2_550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9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9" name="Google Shape;9979;g3681a448973_2_5501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80" name="Google Shape;9980;g3681a448973_2_55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81" name="Google Shape;9981;g3681a448973_2_5501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2" name="Google Shape;9982;g3681a448973_2_55019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3" name="Google Shape;9983;g3681a448973_2_55019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5" name="Google Shape;9985;g3681a448973_2_5502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6" name="Google Shape;9986;g3681a448973_2_5502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7" name="Google Shape;9987;g3681a448973_2_5502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8" name="Google Shape;9988;g3681a448973_2_5502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9" name="Google Shape;9989;g3681a448973_2_5502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0" name="Google Shape;9990;g3681a448973_2_550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9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2" name="Google Shape;9992;g3681a448973_2_5503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93" name="Google Shape;9993;g3681a448973_2_5503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4" name="Google Shape;9994;g3681a448973_2_5503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5" name="Google Shape;9995;g3681a448973_2_5503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96" name="Google Shape;9996;g3681a448973_2_550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9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8" name="Google Shape;9998;g3681a448973_2_5503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9" name="Google Shape;9999;g3681a448973_2_5503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0" name="Google Shape;10000;g3681a448973_2_5503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01" name="Google Shape;10001;g3681a448973_2_5503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02" name="Google Shape;10002;g3681a448973_2_5503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003" name="Google Shape;10003;g3681a448973_2_55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10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5" name="Google Shape;10005;g3681a448973_2_5504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006" name="Google Shape;10006;g3681a448973_2_550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07" name="Google Shape;10007;g3681a448973_2_5504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8" name="Google Shape;10008;g3681a448973_2_55045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9" name="Google Shape;10009;g3681a448973_2_55045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10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1" name="Google Shape;10011;g3681a448973_2_5505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12" name="Google Shape;10012;g3681a448973_2_5505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3" name="Google Shape;10013;g3681a448973_2_5505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14" name="Google Shape;10014;g3681a448973_2_550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15" name="Google Shape;10015;g3681a448973_2_5505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0016" name="Google Shape;10016;g3681a448973_2_550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17" name="Google Shape;10017;g3681a448973_2_550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18" name="Google Shape;10018;g3681a448973_2_550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20" name="Google Shape;10020;g3681a448973_2_5506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0021" name="Google Shape;10021;g3681a448973_2_550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22" name="Google Shape;10022;g3681a448973_2_550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23" name="Google Shape;10023;g3681a448973_2_550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24" name="Google Shape;10024;g3681a448973_2_550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25" name="Google Shape;10025;g3681a448973_2_5506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26" name="Google Shape;10026;g3681a448973_2_5506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g3681a448973_2_5506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9" name="Google Shape;10029;g3681a448973_2_5506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30" name="Google Shape;10030;g3681a448973_2_5506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0031" name="Google Shape;10031;g3681a448973_2_550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32" name="Google Shape;10032;g3681a448973_2_550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33" name="Google Shape;10033;g3681a448973_2_550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034" name="Google Shape;10034;g3681a448973_2_55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10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" name="Google Shape;10036;g3681a448973_2_5507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37" name="Google Shape;10037;g3681a448973_2_5507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8" name="Google Shape;10038;g3681a448973_2_55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9" name="Google Shape;10039;g3681a448973_2_5507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0" name="Google Shape;10040;g3681a448973_2_55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1" name="Google Shape;10041;g3681a448973_2_55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2" name="Google Shape;10042;g3681a448973_2_550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43" name="Google Shape;10043;g3681a448973_2_55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4" name="Google Shape;10044;g3681a448973_2_550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45" name="Google Shape;10045;g3681a448973_2_55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46" name="Google Shape;10046;g3681a448973_2_55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47" name="Google Shape;10047;g3681a448973_2_550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" name="Google Shape;1084;g3681a448973_2_1407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5" name="Google Shape;1085;g3681a448973_2_1407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6" name="Google Shape;1086;g3681a448973_2_140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7" name="Google Shape;1087;g3681a448973_2_140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8" name="Google Shape;1088;g3681a448973_2_140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9" name="Google Shape;1089;g3681a448973_2_140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0" name="Google Shape;1090;g3681a448973_2_140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91" name="Google Shape;1091;g3681a448973_2_140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2" name="Google Shape;1092;g3681a448973_2_140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3" name="Google Shape;1093;g3681a448973_2_140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4" name="Google Shape;1094;g3681a448973_2_140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95" name="Google Shape;1095;g3681a448973_2_140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10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49" name="Google Shape;10049;g3681a448973_2_5508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50" name="Google Shape;10050;g3681a448973_2_55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1" name="Google Shape;10051;g3681a448973_2_550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52" name="Google Shape;10052;g3681a448973_2_55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53" name="Google Shape;10053;g3681a448973_2_55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54" name="Google Shape;10054;g3681a448973_2_550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55" name="Google Shape;10055;g3681a448973_2_550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56" name="Google Shape;10056;g3681a448973_2_550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57" name="Google Shape;10057;g3681a448973_2_55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58" name="Google Shape;10058;g3681a448973_2_55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10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0" name="Google Shape;10060;g3681a448973_2_55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1" name="Google Shape;10061;g3681a448973_2_5510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2" name="Google Shape;10062;g3681a448973_2_5510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63" name="Google Shape;10063;g3681a448973_2_55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4" name="Google Shape;10064;g3681a448973_2_551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65" name="Google Shape;10065;g3681a448973_2_55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6" name="Google Shape;10066;g3681a448973_2_55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67" name="Google Shape;10067;g3681a448973_2_5510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8" name="Google Shape;10068;g3681a448973_2_5510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9" name="Google Shape;10069;g3681a448973_2_55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0" name="Google Shape;10070;g3681a448973_2_55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10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2" name="Google Shape;10072;g3681a448973_2_551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73" name="Google Shape;10073;g3681a448973_2_55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4" name="Google Shape;10074;g3681a448973_2_551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75" name="Google Shape;10075;g3681a448973_2_55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76" name="Google Shape;10076;g3681a448973_2_55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77" name="Google Shape;10077;g3681a448973_2_5511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78" name="Google Shape;10078;g3681a448973_2_5511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79" name="Google Shape;10079;g3681a448973_2_5511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0" name="Google Shape;10080;g3681a448973_2_5511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1" name="Google Shape;10081;g3681a448973_2_5511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2" name="Google Shape;10082;g3681a448973_2_551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3" name="Google Shape;10083;g3681a448973_2_55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4" name="Google Shape;10084;g3681a448973_2_55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10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6" name="Google Shape;10086;g3681a448973_2_551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87" name="Google Shape;10087;g3681a448973_2_55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88" name="Google Shape;10088;g3681a448973_2_551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89" name="Google Shape;10089;g3681a448973_2_55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90" name="Google Shape;10090;g3681a448973_2_55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91" name="Google Shape;10091;g3681a448973_2_55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2" name="Google Shape;10092;g3681a448973_2_5512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3" name="Google Shape;10093;g3681a448973_2_55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4" name="Google Shape;10094;g3681a448973_2_55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10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6" name="Google Shape;10096;g3681a448973_2_551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097" name="Google Shape;10097;g3681a448973_2_551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98" name="Google Shape;10098;g3681a448973_2_551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99" name="Google Shape;10099;g3681a448973_2_5513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00" name="Google Shape;10100;g3681a448973_2_5513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1" name="Google Shape;10101;g3681a448973_2_551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2" name="Google Shape;10102;g3681a448973_2_551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3" name="Google Shape;10103;g3681a448973_2_55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10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5" name="Google Shape;10105;g3681a448973_2_551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06" name="Google Shape;10106;g3681a448973_2_55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07" name="Google Shape;10107;g3681a448973_2_55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08" name="Google Shape;10108;g3681a448973_2_551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109" name="Google Shape;10109;g3681a448973_2_55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0" name="Google Shape;10110;g3681a448973_2_551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11" name="Google Shape;10111;g3681a448973_2_55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12" name="Google Shape;10112;g3681a448973_2_55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10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4" name="Google Shape;10114;g3681a448973_2_55154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115" name="Google Shape;10115;g3681a448973_2_551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9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116" name="Google Shape;10116;g3681a448973_2_55154"/>
          <p:cNvGrpSpPr/>
          <p:nvPr/>
        </p:nvGrpSpPr>
        <p:grpSpPr>
          <a:xfrm>
            <a:off x="1" y="0"/>
            <a:ext cx="1862644" cy="6629629"/>
            <a:chOff x="-15876" y="0"/>
            <a:chExt cx="1927803" cy="6858001"/>
          </a:xfrm>
        </p:grpSpPr>
        <p:sp>
          <p:nvSpPr>
            <p:cNvPr id="10117" name="Google Shape;10117;g3681a448973_2_55154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18" name="Google Shape;10118;g3681a448973_2_55154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0119" name="Google Shape;10119;g3681a448973_2_5515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0" name="Google Shape;10120;g3681a448973_2_55154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g3681a448973_2_5515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2" name="Google Shape;10122;g3681a448973_2_5515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0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24" name="Google Shape;10124;g3681a448973_2_55164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25" name="Google Shape;10125;g3681a448973_2_55164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6" name="Google Shape;10126;g3681a448973_2_55164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7" name="Google Shape;10127;g3681a448973_2_55164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8" name="Google Shape;10128;g3681a448973_2_55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129" name="Google Shape;10129;g3681a448973_2_55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0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1" name="Google Shape;10131;g3681a448973_2_5517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32" name="Google Shape;10132;g3681a448973_2_5517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3" name="Google Shape;10133;g3681a448973_2_5517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34" name="Google Shape;10134;g3681a448973_2_55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35" name="Google Shape;10135;g3681a448973_2_5517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36" name="Google Shape;10136;g3681a448973_2_551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37" name="Google Shape;10137;g3681a448973_2_5517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38" name="Google Shape;10138;g3681a448973_2_551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0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0" name="Google Shape;10140;g3681a448973_2_5518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41" name="Google Shape;10141;g3681a448973_2_551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2" name="Google Shape;10142;g3681a448973_2_551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43" name="Google Shape;10143;g3681a448973_2_55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4" name="Google Shape;10144;g3681a448973_2_55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5" name="Google Shape;10145;g3681a448973_2_55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6" name="Google Shape;10146;g3681a448973_2_5518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47" name="Google Shape;10147;g3681a448973_2_55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8" name="Google Shape;10148;g3681a448973_2_551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49" name="Google Shape;10149;g3681a448973_2_55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50" name="Google Shape;10150;g3681a448973_2_55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51" name="Google Shape;10151;g3681a448973_2_551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10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" name="Google Shape;1097;g3681a448973_2_14083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" name="Google Shape;1098;g3681a448973_2_14083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" name="Google Shape;1099;g3681a448973_2_14083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0" name="Google Shape;1100;g3681a448973_2_140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1" name="Google Shape;1101;g3681a448973_2_14083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102" name="Google Shape;1102;g3681a448973_2_140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3" name="Google Shape;1103;g3681a448973_2_140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4" name="Google Shape;1104;g3681a448973_2_14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10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53" name="Google Shape;10153;g3681a448973_2_5519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54" name="Google Shape;10154;g3681a448973_2_5519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5" name="Google Shape;10155;g3681a448973_2_551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6" name="Google Shape;10156;g3681a448973_2_5519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57" name="Google Shape;10157;g3681a448973_2_55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58" name="Google Shape;10158;g3681a448973_2_5519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9" name="Google Shape;10159;g3681a448973_2_5519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10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1" name="Google Shape;10161;g3681a448973_2_5520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62" name="Google Shape;10162;g3681a448973_2_55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3" name="Google Shape;10163;g3681a448973_2_55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4" name="Google Shape;10164;g3681a448973_2_55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5" name="Google Shape;10165;g3681a448973_2_55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66" name="Google Shape;10166;g3681a448973_2_55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67" name="Google Shape;10167;g3681a448973_2_552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68" name="Google Shape;10168;g3681a448973_2_55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9" name="Google Shape;10169;g3681a448973_2_552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70" name="Google Shape;10170;g3681a448973_2_55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71" name="Google Shape;10171;g3681a448973_2_55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72" name="Google Shape;10172;g3681a448973_2_552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10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4" name="Google Shape;10174;g3681a448973_2_552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75" name="Google Shape;10175;g3681a448973_2_55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6" name="Google Shape;10176;g3681a448973_2_552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77" name="Google Shape;10177;g3681a448973_2_552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78" name="Google Shape;10178;g3681a448973_2_552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79" name="Google Shape;10179;g3681a448973_2_552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0" name="Google Shape;10180;g3681a448973_2_552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1" name="Google Shape;10181;g3681a448973_2_55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2" name="Google Shape;10182;g3681a448973_2_552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3" name="Google Shape;10183;g3681a448973_2_55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10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5" name="Google Shape;10185;g3681a448973_2_55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6" name="Google Shape;10186;g3681a448973_2_55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87" name="Google Shape;10187;g3681a448973_2_552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88" name="Google Shape;10188;g3681a448973_2_55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89" name="Google Shape;10189;g3681a448973_2_552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90" name="Google Shape;10190;g3681a448973_2_55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91" name="Google Shape;10191;g3681a448973_2_55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92" name="Google Shape;10192;g3681a448973_2_55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3" name="Google Shape;10193;g3681a448973_2_55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94" name="Google Shape;10194;g3681a448973_2_55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95" name="Google Shape;10195;g3681a448973_2_55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10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7" name="Google Shape;10197;g3681a448973_2_552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98" name="Google Shape;10198;g3681a448973_2_55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99" name="Google Shape;10199;g3681a448973_2_552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00" name="Google Shape;10200;g3681a448973_2_55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01" name="Google Shape;10201;g3681a448973_2_55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02" name="Google Shape;10202;g3681a448973_2_552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03" name="Google Shape;10203;g3681a448973_2_552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04" name="Google Shape;10204;g3681a448973_2_552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5" name="Google Shape;10205;g3681a448973_2_552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06" name="Google Shape;10206;g3681a448973_2_552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7" name="Google Shape;10207;g3681a448973_2_55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8" name="Google Shape;10208;g3681a448973_2_55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9" name="Google Shape;10209;g3681a448973_2_55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0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11" name="Google Shape;10211;g3681a448973_2_5525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12" name="Google Shape;10212;g3681a448973_2_552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3" name="Google Shape;10213;g3681a448973_2_552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14" name="Google Shape;10214;g3681a448973_2_552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15" name="Google Shape;10215;g3681a448973_2_552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16" name="Google Shape;10216;g3681a448973_2_552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17" name="Google Shape;10217;g3681a448973_2_552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18" name="Google Shape;10218;g3681a448973_2_552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0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20" name="Google Shape;10220;g3681a448973_2_552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21" name="Google Shape;10221;g3681a448973_2_552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22" name="Google Shape;10222;g3681a448973_2_55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23" name="Google Shape;10223;g3681a448973_2_552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24" name="Google Shape;10224;g3681a448973_2_55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25" name="Google Shape;10225;g3681a448973_2_552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6" name="Google Shape;10226;g3681a448973_2_552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10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8" name="Google Shape;10228;g3681a448973_2_552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29" name="Google Shape;10229;g3681a448973_2_5526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30" name="Google Shape;10230;g3681a448973_2_552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31" name="Google Shape;10231;g3681a448973_2_552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32" name="Google Shape;10232;g3681a448973_2_552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33" name="Google Shape;10233;g3681a448973_2_552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234" name="Google Shape;10234;g3681a448973_2_552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0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6" name="Google Shape;10236;g3681a448973_2_5527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37" name="Google Shape;10237;g3681a448973_2_552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8" name="Google Shape;10238;g3681a448973_2_552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39" name="Google Shape;10239;g3681a448973_2_55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0" name="Google Shape;10240;g3681a448973_2_55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1" name="Google Shape;10241;g3681a448973_2_55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2" name="Google Shape;10242;g3681a448973_2_5527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43" name="Google Shape;10243;g3681a448973_2_55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4" name="Google Shape;10244;g3681a448973_2_552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45" name="Google Shape;10245;g3681a448973_2_55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46" name="Google Shape;10246;g3681a448973_2_55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47" name="Google Shape;10247;g3681a448973_2_552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0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9" name="Google Shape;10249;g3681a448973_2_5528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50" name="Google Shape;10250;g3681a448973_2_552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1" name="Google Shape;10251;g3681a448973_2_552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52" name="Google Shape;10252;g3681a448973_2_552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3" name="Google Shape;10253;g3681a448973_2_552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54" name="Google Shape;10254;g3681a448973_2_552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5" name="Google Shape;10255;g3681a448973_2_552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6" name="Google Shape;10256;g3681a448973_2_552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57" name="Google Shape;10257;g3681a448973_2_552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58" name="Google Shape;10258;g3681a448973_2_552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6" name="Google Shape;1106;g3681a448973_2_1409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107" name="Google Shape;1107;g3681a448973_2_140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g3681a448973_2_140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9" name="Google Shape;1109;g3681a448973_2_140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0" name="Google Shape;1110;g3681a448973_2_140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1" name="Google Shape;1111;g3681a448973_2_1409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2" name="Google Shape;1112;g3681a448973_2_1409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0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0" name="Google Shape;10260;g3681a448973_2_553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61" name="Google Shape;10261;g3681a448973_2_553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2" name="Google Shape;10262;g3681a448973_2_553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63" name="Google Shape;10263;g3681a448973_2_553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4" name="Google Shape;10264;g3681a448973_2_553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5" name="Google Shape;10265;g3681a448973_2_553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66" name="Google Shape;10266;g3681a448973_2_553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67" name="Google Shape;10267;g3681a448973_2_553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8" name="Google Shape;10268;g3681a448973_2_553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69" name="Google Shape;10269;g3681a448973_2_553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70" name="Google Shape;10270;g3681a448973_2_553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71" name="Google Shape;10271;g3681a448973_2_553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0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3" name="Google Shape;10273;g3681a448973_2_553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74" name="Google Shape;10274;g3681a448973_2_5531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75" name="Google Shape;10275;g3681a448973_2_553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76" name="Google Shape;10276;g3681a448973_2_553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77" name="Google Shape;10277;g3681a448973_2_553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78" name="Google Shape;10278;g3681a448973_2_553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279" name="Google Shape;10279;g3681a448973_2_553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0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1" name="Google Shape;10281;g3681a448973_2_553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282" name="Google Shape;10282;g3681a448973_2_553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83" name="Google Shape;10283;g3681a448973_2_553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84" name="Google Shape;10284;g3681a448973_2_5532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85" name="Google Shape;10285;g3681a448973_2_553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6" name="Google Shape;10286;g3681a448973_2_553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87" name="Google Shape;10287;g3681a448973_2_553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88" name="Google Shape;10288;g3681a448973_2_553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0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0" name="Google Shape;10290;g3681a448973_2_553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1" name="Google Shape;10291;g3681a448973_2_553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2" name="Google Shape;10292;g3681a448973_2_553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93" name="Google Shape;10293;g3681a448973_2_553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94" name="Google Shape;10294;g3681a448973_2_553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95" name="Google Shape;10295;g3681a448973_2_553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96" name="Google Shape;10296;g3681a448973_2_553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97" name="Google Shape;10297;g3681a448973_2_553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10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99" name="Google Shape;10299;g3681a448973_2_553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00" name="Google Shape;10300;g3681a448973_2_55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1" name="Google Shape;10301;g3681a448973_2_553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02" name="Google Shape;10302;g3681a448973_2_55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03" name="Google Shape;10303;g3681a448973_2_55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04" name="Google Shape;10304;g3681a448973_2_553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05" name="Google Shape;10305;g3681a448973_2_55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6" name="Google Shape;10306;g3681a448973_2_55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7" name="Google Shape;10307;g3681a448973_2_55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10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9" name="Google Shape;10309;g3681a448973_2_5534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10" name="Google Shape;10310;g3681a448973_2_5534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311" name="Google Shape;10311;g3681a448973_2_55349"/>
          <p:cNvGrpSpPr/>
          <p:nvPr/>
        </p:nvGrpSpPr>
        <p:grpSpPr>
          <a:xfrm flipH="1">
            <a:off x="225" y="1"/>
            <a:ext cx="6418638" cy="1509802"/>
            <a:chOff x="7522541" y="1"/>
            <a:chExt cx="4669459" cy="1098357"/>
          </a:xfrm>
        </p:grpSpPr>
        <p:sp>
          <p:nvSpPr>
            <p:cNvPr id="10312" name="Google Shape;10312;g3681a448973_2_5534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3" name="Google Shape;10313;g3681a448973_2_5534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314" name="Google Shape;10314;g3681a448973_2_553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0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6" name="Google Shape;10316;g3681a448973_2_553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17" name="Google Shape;10317;g3681a448973_2_553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8" name="Google Shape;10318;g3681a448973_2_553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9" name="Google Shape;10319;g3681a448973_2_553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20" name="Google Shape;10320;g3681a448973_2_553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21" name="Google Shape;10321;g3681a448973_2_553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22" name="Google Shape;10322;g3681a448973_2_553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0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4" name="Google Shape;10324;g3681a448973_2_5536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25" name="Google Shape;10325;g3681a448973_2_5536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26" name="Google Shape;10326;g3681a448973_2_5536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27" name="Google Shape;10327;g3681a448973_2_5536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28" name="Google Shape;10328;g3681a448973_2_5536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329" name="Google Shape;10329;g3681a448973_2_5536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330" name="Google Shape;10330;g3681a448973_2_553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10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2" name="Google Shape;10332;g3681a448973_2_5537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33" name="Google Shape;10333;g3681a448973_2_55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g3681a448973_2_55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35" name="Google Shape;10335;g3681a448973_2_55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6" name="Google Shape;10336;g3681a448973_2_55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7" name="Google Shape;10337;g3681a448973_2_55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38" name="Google Shape;10338;g3681a448973_2_553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39" name="Google Shape;10339;g3681a448973_2_55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0" name="Google Shape;10340;g3681a448973_2_553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41" name="Google Shape;10341;g3681a448973_2_55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2" name="Google Shape;10342;g3681a448973_2_55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43" name="Google Shape;10343;g3681a448973_2_553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Quotation">
  <p:cSld name="23_Quotation">
    <p:spTree>
      <p:nvGrpSpPr>
        <p:cNvPr id="1" name="Shape 10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5" name="Google Shape;10345;g3681a448973_2_5538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46" name="Google Shape;10346;g3681a448973_2_55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7" name="Google Shape;10347;g3681a448973_2_55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48" name="Google Shape;10348;g3681a448973_2_55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49" name="Google Shape;10349;g3681a448973_2_55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50" name="Google Shape;10350;g3681a448973_2_55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51" name="Google Shape;10351;g3681a448973_2_5538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52" name="Google Shape;10352;g3681a448973_2_55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53" name="Google Shape;10353;g3681a448973_2_553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54" name="Google Shape;10354;g3681a448973_2_55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55" name="Google Shape;10355;g3681a448973_2_55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6" name="Google Shape;10356;g3681a448973_2_553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1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" name="Google Shape;1114;g3681a448973_2_1410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5" name="Google Shape;1115;g3681a448973_2_1410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6" name="Google Shape;1116;g3681a448973_2_1410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17" name="Google Shape;1117;g3681a448973_2_14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8" name="Google Shape;1118;g3681a448973_2_14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9" name="Google Shape;1119;g3681a448973_2_14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20" name="Google Shape;1120;g3681a448973_2_14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10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58" name="Google Shape;10358;g3681a448973_2_553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59" name="Google Shape;10359;g3681a448973_2_55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0" name="Google Shape;10360;g3681a448973_2_553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61" name="Google Shape;10361;g3681a448973_2_55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2" name="Google Shape;10362;g3681a448973_2_55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63" name="Google Shape;10363;g3681a448973_2_553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4" name="Google Shape;10364;g3681a448973_2_553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5" name="Google Shape;10365;g3681a448973_2_55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6" name="Google Shape;10366;g3681a448973_2_55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7" name="Google Shape;10367;g3681a448973_2_55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10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9" name="Google Shape;10369;g3681a448973_2_554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0" name="Google Shape;10370;g3681a448973_2_554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71" name="Google Shape;10371;g3681a448973_2_5540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72" name="Google Shape;10372;g3681a448973_2_55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3" name="Google Shape;10373;g3681a448973_2_554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74" name="Google Shape;10374;g3681a448973_2_554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75" name="Google Shape;10375;g3681a448973_2_554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6" name="Google Shape;10376;g3681a448973_2_554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7" name="Google Shape;10377;g3681a448973_2_554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78" name="Google Shape;10378;g3681a448973_2_554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79" name="Google Shape;10379;g3681a448973_2_554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10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1" name="Google Shape;10381;g3681a448973_2_554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82" name="Google Shape;10382;g3681a448973_2_55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3" name="Google Shape;10383;g3681a448973_2_554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84" name="Google Shape;10384;g3681a448973_2_55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5" name="Google Shape;10385;g3681a448973_2_55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86" name="Google Shape;10386;g3681a448973_2_55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7" name="Google Shape;10387;g3681a448973_2_55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88" name="Google Shape;10388;g3681a448973_2_55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89" name="Google Shape;10389;g3681a448973_2_55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0" name="Google Shape;10390;g3681a448973_2_55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1" name="Google Shape;10391;g3681a448973_2_55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2" name="Google Shape;10392;g3681a448973_2_55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3" name="Google Shape;10393;g3681a448973_2_55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10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95" name="Google Shape;10395;g3681a448973_2_554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96" name="Google Shape;10396;g3681a448973_2_554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7" name="Google Shape;10397;g3681a448973_2_554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98" name="Google Shape;10398;g3681a448973_2_554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99" name="Google Shape;10399;g3681a448973_2_554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00" name="Google Shape;10400;g3681a448973_2_554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g3681a448973_2_554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2" name="Google Shape;10402;g3681a448973_2_554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03" name="Google Shape;10403;g3681a448973_2_554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10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05" name="Google Shape;10405;g3681a448973_2_554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06" name="Google Shape;10406;g3681a448973_2_554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07" name="Google Shape;10407;g3681a448973_2_554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08" name="Google Shape;10408;g3681a448973_2_5544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09" name="Google Shape;10409;g3681a448973_2_554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10" name="Google Shape;10410;g3681a448973_2_554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11" name="Google Shape;10411;g3681a448973_2_55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12" name="Google Shape;10412;g3681a448973_2_554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10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" name="Google Shape;10414;g3681a448973_2_554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5" name="Google Shape;10415;g3681a448973_2_554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6" name="Google Shape;10416;g3681a448973_2_554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17" name="Google Shape;10417;g3681a448973_2_5545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18" name="Google Shape;10418;g3681a448973_2_554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9" name="Google Shape;10419;g3681a448973_2_554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20" name="Google Shape;10420;g3681a448973_2_554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21" name="Google Shape;10421;g3681a448973_2_554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10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3" name="Google Shape;10423;g3681a448973_2_5546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24" name="Google Shape;10424;g3681a448973_2_554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25" name="Google Shape;10425;g3681a448973_2_554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26" name="Google Shape;10426;g3681a448973_2_554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27" name="Google Shape;10427;g3681a448973_2_554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28" name="Google Shape;10428;g3681a448973_2_554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29" name="Google Shape;10429;g3681a448973_2_554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30" name="Google Shape;10430;g3681a448973_2_554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10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2" name="Google Shape;10432;g3681a448973_2_5547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33" name="Google Shape;10433;g3681a448973_2_5547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34" name="Google Shape;10434;g3681a448973_2_554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35" name="Google Shape;10435;g3681a448973_2_5547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36" name="Google Shape;10436;g3681a448973_2_554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37" name="Google Shape;10437;g3681a448973_2_5547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8" name="Google Shape;10438;g3681a448973_2_5547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10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0" name="Google Shape;10440;g3681a448973_2_5548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41" name="Google Shape;10441;g3681a448973_2_554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42" name="Google Shape;10442;g3681a448973_2_554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3" name="Google Shape;10443;g3681a448973_2_554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4" name="Google Shape;10444;g3681a448973_2_55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5" name="Google Shape;10445;g3681a448973_2_55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6" name="Google Shape;10446;g3681a448973_2_5548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47" name="Google Shape;10447;g3681a448973_2_55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48" name="Google Shape;10448;g3681a448973_2_554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49" name="Google Shape;10449;g3681a448973_2_55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0" name="Google Shape;10450;g3681a448973_2_55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51" name="Google Shape;10451;g3681a448973_2_554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10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53" name="Google Shape;10453;g3681a448973_2_5549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54" name="Google Shape;10454;g3681a448973_2_55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5" name="Google Shape;10455;g3681a448973_2_5549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56" name="Google Shape;10456;g3681a448973_2_55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7" name="Google Shape;10457;g3681a448973_2_55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58" name="Google Shape;10458;g3681a448973_2_55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9" name="Google Shape;10459;g3681a448973_2_554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60" name="Google Shape;10460;g3681a448973_2_55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61" name="Google Shape;10461;g3681a448973_2_55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2" name="Google Shape;10462;g3681a448973_2_55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" name="Google Shape;1122;g3681a448973_2_141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3" name="Google Shape;1123;g3681a448973_2_141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" name="Google Shape;1124;g3681a448973_2_141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" name="Google Shape;1125;g3681a448973_2_141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6" name="Google Shape;1126;g3681a448973_2_14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7" name="Google Shape;1127;g3681a448973_2_14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8" name="Google Shape;1128;g3681a448973_2_141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29" name="Google Shape;1129;g3681a448973_2_14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0" name="Google Shape;1130;g3681a448973_2_141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1" name="Google Shape;1131;g3681a448973_2_14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2" name="Google Shape;1132;g3681a448973_2_14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3" name="Google Shape;1133;g3681a448973_2_141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10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4" name="Google Shape;10464;g3681a448973_2_555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5" name="Google Shape;10465;g3681a448973_2_555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66" name="Google Shape;10466;g3681a448973_2_5550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67" name="Google Shape;10467;g3681a448973_2_555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8" name="Google Shape;10468;g3681a448973_2_555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69" name="Google Shape;10469;g3681a448973_2_555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70" name="Google Shape;10470;g3681a448973_2_555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71" name="Google Shape;10471;g3681a448973_2_555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72" name="Google Shape;10472;g3681a448973_2_555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73" name="Google Shape;10473;g3681a448973_2_555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74" name="Google Shape;10474;g3681a448973_2_555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10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76" name="Google Shape;10476;g3681a448973_2_555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77" name="Google Shape;10477;g3681a448973_2_555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78" name="Google Shape;10478;g3681a448973_2_555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79" name="Google Shape;10479;g3681a448973_2_555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0" name="Google Shape;10480;g3681a448973_2_555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81" name="Google Shape;10481;g3681a448973_2_555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82" name="Google Shape;10482;g3681a448973_2_5551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3" name="Google Shape;10483;g3681a448973_2_5551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4" name="Google Shape;10484;g3681a448973_2_5551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5" name="Google Shape;10485;g3681a448973_2_5551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6" name="Google Shape;10486;g3681a448973_2_555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87" name="Google Shape;10487;g3681a448973_2_555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88" name="Google Shape;10488;g3681a448973_2_555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10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" name="Google Shape;10490;g3681a448973_2_555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91" name="Google Shape;10491;g3681a448973_2_5553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92" name="Google Shape;10492;g3681a448973_2_555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93" name="Google Shape;10493;g3681a448973_2_555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4" name="Google Shape;10494;g3681a448973_2_555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5" name="Google Shape;10495;g3681a448973_2_555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496" name="Google Shape;10496;g3681a448973_2_555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10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98" name="Google Shape;10498;g3681a448973_2_555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99" name="Google Shape;10499;g3681a448973_2_555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00" name="Google Shape;10500;g3681a448973_2_555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01" name="Google Shape;10501;g3681a448973_2_5553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2" name="Google Shape;10502;g3681a448973_2_555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3" name="Google Shape;10503;g3681a448973_2_555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04" name="Google Shape;10504;g3681a448973_2_555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05" name="Google Shape;10505;g3681a448973_2_555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10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" name="Google Shape;10507;g3681a448973_2_55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8" name="Google Shape;10508;g3681a448973_2_55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9" name="Google Shape;10509;g3681a448973_2_55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10" name="Google Shape;10510;g3681a448973_2_555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11" name="Google Shape;10511;g3681a448973_2_55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2" name="Google Shape;10512;g3681a448973_2_555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13" name="Google Shape;10513;g3681a448973_2_55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14" name="Google Shape;10514;g3681a448973_2_55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10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16" name="Google Shape;10516;g3681a448973_2_555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17" name="Google Shape;10517;g3681a448973_2_55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8" name="Google Shape;10518;g3681a448973_2_555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19" name="Google Shape;10519;g3681a448973_2_55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20" name="Google Shape;10520;g3681a448973_2_55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21" name="Google Shape;10521;g3681a448973_2_55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2" name="Google Shape;10522;g3681a448973_2_55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3" name="Google Shape;10523;g3681a448973_2_55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4" name="Google Shape;10524;g3681a448973_2_55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10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6" name="Google Shape;10526;g3681a448973_2_5556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27" name="Google Shape;10527;g3681a448973_2_5556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8" name="Google Shape;10528;g3681a448973_2_5556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529" name="Google Shape;10529;g3681a448973_2_555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530" name="Google Shape;10530;g3681a448973_2_5556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531" name="Google Shape;10531;g3681a448973_2_555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2" name="Google Shape;10532;g3681a448973_2_5556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33" name="Google Shape;10533;g3681a448973_2_55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10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5" name="Google Shape;10535;g3681a448973_2_555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536" name="Google Shape;10536;g3681a448973_2_555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7" name="Google Shape;10537;g3681a448973_2_555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8" name="Google Shape;10538;g3681a448973_2_555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39" name="Google Shape;10539;g3681a448973_2_55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540" name="Google Shape;10540;g3681a448973_2_555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1" name="Google Shape;10541;g3681a448973_2_555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10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3" name="Google Shape;10543;g3681a448973_2_5558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44" name="Google Shape;10544;g3681a448973_2_555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5" name="Google Shape;10545;g3681a448973_2_555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6" name="Google Shape;10546;g3681a448973_2_55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47" name="Google Shape;10547;g3681a448973_2_555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8" name="Google Shape;10548;g3681a448973_2_55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49" name="Google Shape;10549;g3681a448973_2_5558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50" name="Google Shape;10550;g3681a448973_2_555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1" name="Google Shape;10551;g3681a448973_2_555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52" name="Google Shape;10552;g3681a448973_2_555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53" name="Google Shape;10553;g3681a448973_2_555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554" name="Google Shape;10554;g3681a448973_2_555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10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56" name="Google Shape;10556;g3681a448973_2_5559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57" name="Google Shape;10557;g3681a448973_2_55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8" name="Google Shape;10558;g3681a448973_2_55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59" name="Google Shape;10559;g3681a448973_2_55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60" name="Google Shape;10560;g3681a448973_2_55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61" name="Google Shape;10561;g3681a448973_2_555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2" name="Google Shape;10562;g3681a448973_2_555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3" name="Google Shape;10563;g3681a448973_2_555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64" name="Google Shape;10564;g3681a448973_2_55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5" name="Google Shape;10565;g3681a448973_2_55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5" name="Google Shape;1135;g3681a448973_2_141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36" name="Google Shape;1136;g3681a448973_2_14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7" name="Google Shape;1137;g3681a448973_2_141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8" name="Google Shape;1138;g3681a448973_2_14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9" name="Google Shape;1139;g3681a448973_2_14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0" name="Google Shape;1140;g3681a448973_2_14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" name="Google Shape;1141;g3681a448973_2_14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" name="Google Shape;1142;g3681a448973_2_141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3" name="Google Shape;1143;g3681a448973_2_14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" name="Google Shape;1144;g3681a448973_2_14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10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7" name="Google Shape;10567;g3681a448973_2_556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8" name="Google Shape;10568;g3681a448973_2_556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69" name="Google Shape;10569;g3681a448973_2_556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70" name="Google Shape;10570;g3681a448973_2_556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1" name="Google Shape;10571;g3681a448973_2_556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72" name="Google Shape;10572;g3681a448973_2_556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73" name="Google Shape;10573;g3681a448973_2_556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74" name="Google Shape;10574;g3681a448973_2_5560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5" name="Google Shape;10575;g3681a448973_2_5560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6" name="Google Shape;10576;g3681a448973_2_556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7" name="Google Shape;10577;g3681a448973_2_556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10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79" name="Google Shape;10579;g3681a448973_2_556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80" name="Google Shape;10580;g3681a448973_2_556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81" name="Google Shape;10581;g3681a448973_2_556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82" name="Google Shape;10582;g3681a448973_2_556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83" name="Google Shape;10583;g3681a448973_2_556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84" name="Google Shape;10584;g3681a448973_2_556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5" name="Google Shape;10585;g3681a448973_2_556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6" name="Google Shape;10586;g3681a448973_2_556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7" name="Google Shape;10587;g3681a448973_2_556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8" name="Google Shape;10588;g3681a448973_2_556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g3681a448973_2_556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0" name="Google Shape;10590;g3681a448973_2_556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1" name="Google Shape;10591;g3681a448973_2_556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g3681a448973_2_556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594" name="Google Shape;10594;g3681a448973_2_5563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595" name="Google Shape;10595;g3681a448973_2_556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596" name="Google Shape;10596;g3681a448973_2_556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97" name="Google Shape;10597;g3681a448973_2_556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8" name="Google Shape;10598;g3681a448973_2_556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599" name="Google Shape;10599;g3681a448973_2_556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Quotation">
  <p:cSld name="27_Quotation">
    <p:spTree>
      <p:nvGrpSpPr>
        <p:cNvPr id="1" name="Shape 10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1" name="Google Shape;10601;g3681a448973_2_5564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2" name="Google Shape;10602;g3681a448973_2_556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03" name="Google Shape;10603;g3681a448973_2_556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04" name="Google Shape;10604;g3681a448973_2_55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5" name="Google Shape;10605;g3681a448973_2_55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6" name="Google Shape;10606;g3681a448973_2_55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7" name="Google Shape;10607;g3681a448973_2_556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08" name="Google Shape;10608;g3681a448973_2_55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9" name="Google Shape;10609;g3681a448973_2_556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10" name="Google Shape;10610;g3681a448973_2_55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11" name="Google Shape;10611;g3681a448973_2_55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12" name="Google Shape;10612;g3681a448973_2_556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10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14" name="Google Shape;10614;g3681a448973_2_556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15" name="Google Shape;10615;g3681a448973_2_556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16" name="Google Shape;10616;g3681a448973_2_556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17" name="Google Shape;10617;g3681a448973_2_5565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18" name="Google Shape;10618;g3681a448973_2_556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9" name="Google Shape;10619;g3681a448973_2_556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0" name="Google Shape;10620;g3681a448973_2_55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21" name="Google Shape;10621;g3681a448973_2_556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10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3" name="Google Shape;10623;g3681a448973_2_55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24" name="Google Shape;10624;g3681a448973_2_55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5" name="Google Shape;10625;g3681a448973_2_55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6" name="Google Shape;10626;g3681a448973_2_556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27" name="Google Shape;10627;g3681a448973_2_55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8" name="Google Shape;10628;g3681a448973_2_556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29" name="Google Shape;10629;g3681a448973_2_55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0" name="Google Shape;10630;g3681a448973_2_55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10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32" name="Google Shape;10632;g3681a448973_2_556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33" name="Google Shape;10633;g3681a448973_2_55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4" name="Google Shape;10634;g3681a448973_2_556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35" name="Google Shape;10635;g3681a448973_2_55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6" name="Google Shape;10636;g3681a448973_2_55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7" name="Google Shape;10637;g3681a448973_2_55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8" name="Google Shape;10638;g3681a448973_2_55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9" name="Google Shape;10639;g3681a448973_2_55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0" name="Google Shape;10640;g3681a448973_2_55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10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2" name="Google Shape;10642;g3681a448973_2_556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43" name="Google Shape;10643;g3681a448973_2_5568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44" name="Google Shape;10644;g3681a448973_2_556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45" name="Google Shape;10645;g3681a448973_2_556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46" name="Google Shape;10646;g3681a448973_2_556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47" name="Google Shape;10647;g3681a448973_2_556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648" name="Google Shape;10648;g3681a448973_2_556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10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0" name="Google Shape;10650;g3681a448973_2_5569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1" name="Google Shape;10651;g3681a448973_2_55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2" name="Google Shape;10652;g3681a448973_2_55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3" name="Google Shape;10653;g3681a448973_2_55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4" name="Google Shape;10654;g3681a448973_2_55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5" name="Google Shape;10655;g3681a448973_2_55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56" name="Google Shape;10656;g3681a448973_2_556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57" name="Google Shape;10657;g3681a448973_2_55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58" name="Google Shape;10658;g3681a448973_2_556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59" name="Google Shape;10659;g3681a448973_2_55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60" name="Google Shape;10660;g3681a448973_2_55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61" name="Google Shape;10661;g3681a448973_2_556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10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63" name="Google Shape;10663;g3681a448973_2_557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64" name="Google Shape;10664;g3681a448973_2_55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5" name="Google Shape;10665;g3681a448973_2_557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66" name="Google Shape;10666;g3681a448973_2_55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67" name="Google Shape;10667;g3681a448973_2_55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68" name="Google Shape;10668;g3681a448973_2_557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g3681a448973_2_557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70" name="Google Shape;10670;g3681a448973_2_55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71" name="Google Shape;10671;g3681a448973_2_55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2" name="Google Shape;10672;g3681a448973_2_55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3681a448973_2_1310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g3681a448973_2_1310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g3681a448973_2_131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g3681a448973_2_131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" name="Google Shape;124;g3681a448973_2_13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" name="Google Shape;125;g3681a448973_2_13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6" name="Google Shape;126;g3681a448973_2_131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7" name="Google Shape;127;g3681a448973_2_13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" name="Google Shape;128;g3681a448973_2_131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9" name="Google Shape;129;g3681a448973_2_13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g3681a448973_2_13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1" name="Google Shape;131;g3681a448973_2_131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1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" name="Google Shape;1146;g3681a448973_2_141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7" name="Google Shape;1147;g3681a448973_2_1413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8" name="Google Shape;1148;g3681a448973_2_141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49" name="Google Shape;1149;g3681a448973_2_14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" name="Google Shape;1150;g3681a448973_2_141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1" name="Google Shape;1151;g3681a448973_2_141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2" name="Google Shape;1152;g3681a448973_2_141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3" name="Google Shape;1153;g3681a448973_2_1413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g3681a448973_2_1413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g3681a448973_2_141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g3681a448973_2_141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10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4" name="Google Shape;10674;g3681a448973_2_557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75" name="Google Shape;10675;g3681a448973_2_557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676" name="Google Shape;10676;g3681a448973_2_557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77" name="Google Shape;10677;g3681a448973_2_55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78" name="Google Shape;10678;g3681a448973_2_557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79" name="Google Shape;10679;g3681a448973_2_557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80" name="Google Shape;10680;g3681a448973_2_557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81" name="Google Shape;10681;g3681a448973_2_557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2" name="Google Shape;10682;g3681a448973_2_557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83" name="Google Shape;10683;g3681a448973_2_557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84" name="Google Shape;10684;g3681a448973_2_557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10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6" name="Google Shape;10686;g3681a448973_2_557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87" name="Google Shape;10687;g3681a448973_2_55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88" name="Google Shape;10688;g3681a448973_2_557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89" name="Google Shape;10689;g3681a448973_2_55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90" name="Google Shape;10690;g3681a448973_2_55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91" name="Google Shape;10691;g3681a448973_2_557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2" name="Google Shape;10692;g3681a448973_2_557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3" name="Google Shape;10693;g3681a448973_2_557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4" name="Google Shape;10694;g3681a448973_2_557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5" name="Google Shape;10695;g3681a448973_2_557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6" name="Google Shape;10696;g3681a448973_2_55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7" name="Google Shape;10697;g3681a448973_2_55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8" name="Google Shape;10698;g3681a448973_2_55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10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0" name="Google Shape;10700;g3681a448973_2_5574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01" name="Google Shape;10701;g3681a448973_2_55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2" name="Google Shape;10702;g3681a448973_2_557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03" name="Google Shape;10703;g3681a448973_2_557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04" name="Google Shape;10704;g3681a448973_2_557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05" name="Google Shape;10705;g3681a448973_2_557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06" name="Google Shape;10706;g3681a448973_2_557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07" name="Google Shape;10707;g3681a448973_2_557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08" name="Google Shape;10708;g3681a448973_2_557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10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10" name="Google Shape;10710;g3681a448973_2_557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11" name="Google Shape;10711;g3681a448973_2_557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12" name="Google Shape;10712;g3681a448973_2_557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3" name="Google Shape;10713;g3681a448973_2_5575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14" name="Google Shape;10714;g3681a448973_2_557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5" name="Google Shape;10715;g3681a448973_2_557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16" name="Google Shape;10716;g3681a448973_2_557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17" name="Google Shape;10717;g3681a448973_2_557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10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9" name="Google Shape;10719;g3681a448973_2_55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0" name="Google Shape;10720;g3681a448973_2_55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1" name="Google Shape;10721;g3681a448973_2_55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22" name="Google Shape;10722;g3681a448973_2_5575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23" name="Google Shape;10723;g3681a448973_2_55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4" name="Google Shape;10724;g3681a448973_2_557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25" name="Google Shape;10725;g3681a448973_2_55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6" name="Google Shape;10726;g3681a448973_2_55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Quotation">
  <p:cSld name="32_Quotation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28" name="Google Shape;10728;g3681a448973_2_5576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9" name="Google Shape;10729;g3681a448973_2_557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0" name="Google Shape;10730;g3681a448973_2_557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1" name="Google Shape;10731;g3681a448973_2_557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2" name="Google Shape;10732;g3681a448973_2_557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33" name="Google Shape;10733;g3681a448973_2_557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34" name="Google Shape;10734;g3681a448973_2_557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35" name="Google Shape;10735;g3681a448973_2_557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6" name="Google Shape;10736;g3681a448973_2_557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37" name="Google Shape;10737;g3681a448973_2_557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38" name="Google Shape;10738;g3681a448973_2_557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39" name="Google Shape;10739;g3681a448973_2_557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10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1" name="Google Shape;10741;g3681a448973_2_5578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42" name="Google Shape;10742;g3681a448973_2_557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3" name="Google Shape;10743;g3681a448973_2_557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44" name="Google Shape;10744;g3681a448973_2_557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45" name="Google Shape;10745;g3681a448973_2_557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46" name="Google Shape;10746;g3681a448973_2_557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47" name="Google Shape;10747;g3681a448973_2_557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48" name="Google Shape;10748;g3681a448973_2_55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10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0" name="Google Shape;10750;g3681a448973_2_557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51" name="Google Shape;10751;g3681a448973_2_557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52" name="Google Shape;10752;g3681a448973_2_557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53" name="Google Shape;10753;g3681a448973_2_557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54" name="Google Shape;10754;g3681a448973_2_55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55" name="Google Shape;10755;g3681a448973_2_557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6" name="Google Shape;10756;g3681a448973_2_557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107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8" name="Google Shape;10758;g3681a448973_2_557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59" name="Google Shape;10759;g3681a448973_2_5579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60" name="Google Shape;10760;g3681a448973_2_557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61" name="Google Shape;10761;g3681a448973_2_557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62" name="Google Shape;10762;g3681a448973_2_557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63" name="Google Shape;10763;g3681a448973_2_557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764" name="Google Shape;10764;g3681a448973_2_557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10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6" name="Google Shape;10766;g3681a448973_2_5580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67" name="Google Shape;10767;g3681a448973_2_55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8" name="Google Shape;10768;g3681a448973_2_55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69" name="Google Shape;10769;g3681a448973_2_55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70" name="Google Shape;10770;g3681a448973_2_55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71" name="Google Shape;10771;g3681a448973_2_55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72" name="Google Shape;10772;g3681a448973_2_5580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73" name="Google Shape;10773;g3681a448973_2_55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74" name="Google Shape;10774;g3681a448973_2_558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75" name="Google Shape;10775;g3681a448973_2_55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76" name="Google Shape;10776;g3681a448973_2_55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77" name="Google Shape;10777;g3681a448973_2_558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8" name="Google Shape;1158;g3681a448973_2_141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59" name="Google Shape;1159;g3681a448973_2_141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" name="Google Shape;1160;g3681a448973_2_141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1" name="Google Shape;1161;g3681a448973_2_14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" name="Google Shape;1162;g3681a448973_2_14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3" name="Google Shape;1163;g3681a448973_2_141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" name="Google Shape;1164;g3681a448973_2_1414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5" name="Google Shape;1165;g3681a448973_2_1414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g3681a448973_2_141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7" name="Google Shape;1167;g3681a448973_2_141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" name="Google Shape;1168;g3681a448973_2_141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9" name="Google Shape;1169;g3681a448973_2_14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0" name="Google Shape;1170;g3681a448973_2_14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g3681a448973_2_558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80" name="Google Shape;10780;g3681a448973_2_55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81" name="Google Shape;10781;g3681a448973_2_558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82" name="Google Shape;10782;g3681a448973_2_55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3" name="Google Shape;10783;g3681a448973_2_55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84" name="Google Shape;10784;g3681a448973_2_558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g3681a448973_2_558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86" name="Google Shape;10786;g3681a448973_2_55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7" name="Google Shape;10787;g3681a448973_2_55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88" name="Google Shape;10788;g3681a448973_2_55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10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0" name="Google Shape;10790;g3681a448973_2_558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1" name="Google Shape;10791;g3681a448973_2_558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92" name="Google Shape;10792;g3681a448973_2_558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93" name="Google Shape;10793;g3681a448973_2_55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94" name="Google Shape;10794;g3681a448973_2_558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95" name="Google Shape;10795;g3681a448973_2_558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96" name="Google Shape;10796;g3681a448973_2_558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7" name="Google Shape;10797;g3681a448973_2_558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g3681a448973_2_558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g3681a448973_2_558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g3681a448973_2_558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10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2" name="Google Shape;10802;g3681a448973_2_558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03" name="Google Shape;10803;g3681a448973_2_55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4" name="Google Shape;10804;g3681a448973_2_558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05" name="Google Shape;10805;g3681a448973_2_55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06" name="Google Shape;10806;g3681a448973_2_55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07" name="Google Shape;10807;g3681a448973_2_558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8" name="Google Shape;10808;g3681a448973_2_558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09" name="Google Shape;10809;g3681a448973_2_558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0" name="Google Shape;10810;g3681a448973_2_558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11" name="Google Shape;10811;g3681a448973_2_558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2" name="Google Shape;10812;g3681a448973_2_55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3" name="Google Shape;10813;g3681a448973_2_55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4" name="Google Shape;10814;g3681a448973_2_55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10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16" name="Google Shape;10816;g3681a448973_2_558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17" name="Google Shape;10817;g3681a448973_2_55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8" name="Google Shape;10818;g3681a448973_2_558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19" name="Google Shape;10819;g3681a448973_2_55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20" name="Google Shape;10820;g3681a448973_2_55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21" name="Google Shape;10821;g3681a448973_2_55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2" name="Google Shape;10822;g3681a448973_2_55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3" name="Google Shape;10823;g3681a448973_2_55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4" name="Google Shape;10824;g3681a448973_2_55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10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26" name="Google Shape;10826;g3681a448973_2_5586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27" name="Google Shape;10827;g3681a448973_2_5586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28" name="Google Shape;10828;g3681a448973_2_5586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29" name="Google Shape;10829;g3681a448973_2_55866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30" name="Google Shape;10830;g3681a448973_2_5586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1" name="Google Shape;10831;g3681a448973_2_5586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32" name="Google Shape;10832;g3681a448973_2_558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33" name="Google Shape;10833;g3681a448973_2_558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10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5" name="Google Shape;10835;g3681a448973_2_558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36" name="Google Shape;10836;g3681a448973_2_558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37" name="Google Shape;10837;g3681a448973_2_558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38" name="Google Shape;10838;g3681a448973_2_5587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39" name="Google Shape;10839;g3681a448973_2_55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0" name="Google Shape;10840;g3681a448973_2_558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41" name="Google Shape;10841;g3681a448973_2_558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2" name="Google Shape;10842;g3681a448973_2_558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10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4" name="Google Shape;10844;g3681a448973_2_5588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45" name="Google Shape;10845;g3681a448973_2_5588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46" name="Google Shape;10846;g3681a448973_2_5588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47" name="Google Shape;10847;g3681a448973_2_558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48" name="Google Shape;10848;g3681a448973_2_5588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849" name="Google Shape;10849;g3681a448973_2_55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0" name="Google Shape;10850;g3681a448973_2_5588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51" name="Google Shape;10851;g3681a448973_2_55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10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3" name="Google Shape;10853;g3681a448973_2_5589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854" name="Google Shape;10854;g3681a448973_2_5589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5" name="Google Shape;10855;g3681a448973_2_558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6" name="Google Shape;10856;g3681a448973_2_5589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57" name="Google Shape;10857;g3681a448973_2_55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858" name="Google Shape;10858;g3681a448973_2_5589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9" name="Google Shape;10859;g3681a448973_2_5589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10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1" name="Google Shape;10861;g3681a448973_2_5590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62" name="Google Shape;10862;g3681a448973_2_559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63" name="Google Shape;10863;g3681a448973_2_559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4" name="Google Shape;10864;g3681a448973_2_559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g3681a448973_2_559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g3681a448973_2_559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g3681a448973_2_559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68" name="Google Shape;10868;g3681a448973_2_55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g3681a448973_2_559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70" name="Google Shape;10870;g3681a448973_2_559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71" name="Google Shape;10871;g3681a448973_2_559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72" name="Google Shape;10872;g3681a448973_2_559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10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4" name="Google Shape;10874;g3681a448973_2_5591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875" name="Google Shape;10875;g3681a448973_2_5591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876" name="Google Shape;10876;g3681a448973_2_5591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877" name="Google Shape;10877;g3681a448973_2_5591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78" name="Google Shape;10878;g3681a448973_2_5591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9" name="Google Shape;10879;g3681a448973_2_5591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880" name="Google Shape;10880;g3681a448973_2_55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1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2" name="Google Shape;1172;g3681a448973_2_141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73" name="Google Shape;1173;g3681a448973_2_14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4" name="Google Shape;1174;g3681a448973_2_141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5" name="Google Shape;1175;g3681a448973_2_14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6" name="Google Shape;1176;g3681a448973_2_14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7" name="Google Shape;1177;g3681a448973_2_141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" name="Google Shape;1178;g3681a448973_2_1415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9" name="Google Shape;1179;g3681a448973_2_14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" name="Google Shape;1180;g3681a448973_2_14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Quotation">
  <p:cSld name="40_Quotation">
    <p:spTree>
      <p:nvGrpSpPr>
        <p:cNvPr id="1" name="Shape 10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2" name="Google Shape;10882;g3681a448973_2_5592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3" name="Google Shape;10883;g3681a448973_2_559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4" name="Google Shape;10884;g3681a448973_2_559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5" name="Google Shape;10885;g3681a448973_2_55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86" name="Google Shape;10886;g3681a448973_2_559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87" name="Google Shape;10887;g3681a448973_2_55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88" name="Google Shape;10888;g3681a448973_2_559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89" name="Google Shape;10889;g3681a448973_2_559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0" name="Google Shape;10890;g3681a448973_2_559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91" name="Google Shape;10891;g3681a448973_2_559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92" name="Google Shape;10892;g3681a448973_2_559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93" name="Google Shape;10893;g3681a448973_2_559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10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95" name="Google Shape;10895;g3681a448973_2_559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96" name="Google Shape;10896;g3681a448973_2_55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7" name="Google Shape;10897;g3681a448973_2_559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98" name="Google Shape;10898;g3681a448973_2_55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99" name="Google Shape;10899;g3681a448973_2_55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00" name="Google Shape;10900;g3681a448973_2_55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g3681a448973_2_55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g3681a448973_2_55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g3681a448973_2_55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g3681a448973_2_55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10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6" name="Google Shape;10906;g3681a448973_2_559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7" name="Google Shape;10907;g3681a448973_2_559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08" name="Google Shape;10908;g3681a448973_2_559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09" name="Google Shape;10909;g3681a448973_2_559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10" name="Google Shape;10910;g3681a448973_2_559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11" name="Google Shape;10911;g3681a448973_2_559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12" name="Google Shape;10912;g3681a448973_2_559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13" name="Google Shape;10913;g3681a448973_2_559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14" name="Google Shape;10914;g3681a448973_2_559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15" name="Google Shape;10915;g3681a448973_2_559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16" name="Google Shape;10916;g3681a448973_2_55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10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18" name="Google Shape;10918;g3681a448973_2_559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19" name="Google Shape;10919;g3681a448973_2_559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20" name="Google Shape;10920;g3681a448973_2_559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21" name="Google Shape;10921;g3681a448973_2_559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22" name="Google Shape;10922;g3681a448973_2_559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23" name="Google Shape;10923;g3681a448973_2_559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4" name="Google Shape;10924;g3681a448973_2_559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25" name="Google Shape;10925;g3681a448973_2_559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6" name="Google Shape;10926;g3681a448973_2_559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27" name="Google Shape;10927;g3681a448973_2_559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8" name="Google Shape;10928;g3681a448973_2_55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29" name="Google Shape;10929;g3681a448973_2_559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30" name="Google Shape;10930;g3681a448973_2_55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10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32" name="Google Shape;10932;g3681a448973_2_559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33" name="Google Shape;10933;g3681a448973_2_559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34" name="Google Shape;10934;g3681a448973_2_559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35" name="Google Shape;10935;g3681a448973_2_559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36" name="Google Shape;10936;g3681a448973_2_559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37" name="Google Shape;10937;g3681a448973_2_559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8" name="Google Shape;10938;g3681a448973_2_55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39" name="Google Shape;10939;g3681a448973_2_559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0" name="Google Shape;10940;g3681a448973_2_55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10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42" name="Google Shape;10942;g3681a448973_2_559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943" name="Google Shape;10943;g3681a448973_2_559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44" name="Google Shape;10944;g3681a448973_2_559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45" name="Google Shape;10945;g3681a448973_2_5598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46" name="Google Shape;10946;g3681a448973_2_559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7" name="Google Shape;10947;g3681a448973_2_559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48" name="Google Shape;10948;g3681a448973_2_559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9" name="Google Shape;10949;g3681a448973_2_559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109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1" name="Google Shape;10951;g3681a448973_2_55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2" name="Google Shape;10952;g3681a448973_2_55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3" name="Google Shape;10953;g3681a448973_2_55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4" name="Google Shape;10954;g3681a448973_2_559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55" name="Google Shape;10955;g3681a448973_2_55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6" name="Google Shape;10956;g3681a448973_2_559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57" name="Google Shape;10957;g3681a448973_2_55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58" name="Google Shape;10958;g3681a448973_2_55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10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0" name="Google Shape;10960;g3681a448973_2_5600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1" name="Google Shape;10961;g3681a448973_2_560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2" name="Google Shape;10962;g3681a448973_2_560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63" name="Google Shape;10963;g3681a448973_2_560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64" name="Google Shape;10964;g3681a448973_2_560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65" name="Google Shape;10965;g3681a448973_2_560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66" name="Google Shape;10966;g3681a448973_2_560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67" name="Google Shape;10967;g3681a448973_2_560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10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9" name="Google Shape;10969;g3681a448973_2_5600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0" name="Google Shape;10970;g3681a448973_2_5600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1" name="Google Shape;10971;g3681a448973_2_5600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2" name="Google Shape;10972;g3681a448973_2_5600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73" name="Google Shape;10973;g3681a448973_2_560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10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5" name="Google Shape;10975;g3681a448973_2_5601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76" name="Google Shape;10976;g3681a448973_2_560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77" name="Google Shape;10977;g3681a448973_2_5601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8" name="Google Shape;10978;g3681a448973_2_5601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9" name="Google Shape;10979;g3681a448973_2_5601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1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2" name="Google Shape;1182;g3681a448973_2_141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3" name="Google Shape;1183;g3681a448973_2_141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4" name="Google Shape;1184;g3681a448973_2_141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85" name="Google Shape;1185;g3681a448973_2_1416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" name="Google Shape;1186;g3681a448973_2_1416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7" name="Google Shape;1187;g3681a448973_2_141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8" name="Google Shape;1188;g3681a448973_2_14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89" name="Google Shape;1189;g3681a448973_2_141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10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1" name="Google Shape;10981;g3681a448973_2_5602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2" name="Google Shape;10982;g3681a448973_2_5602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3" name="Google Shape;10983;g3681a448973_2_5602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4" name="Google Shape;10984;g3681a448973_2_5602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5" name="Google Shape;10985;g3681a448973_2_5602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86" name="Google Shape;10986;g3681a448973_2_56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10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8" name="Google Shape;10988;g3681a448973_2_56028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9" name="Google Shape;10989;g3681a448973_2_56028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0" name="Google Shape;10990;g3681a448973_2_56028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1" name="Google Shape;10991;g3681a448973_2_56028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2" name="Google Shape;10992;g3681a448973_2_56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993" name="Google Shape;10993;g3681a448973_2_56028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5" name="Google Shape;10995;g3681a448973_2_56035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6" name="Google Shape;10996;g3681a448973_2_56035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0997" name="Google Shape;10997;g3681a448973_2_5603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98" name="Google Shape;10998;g3681a448973_2_560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9" name="Google Shape;10999;g3681a448973_2_560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1" name="Google Shape;11001;g3681a448973_2_56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2" name="Google Shape;11002;g3681a448973_2_56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003" name="Google Shape;11003;g3681a448973_2_56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004" name="Google Shape;11004;g3681a448973_2_56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005" name="Google Shape;11005;g3681a448973_2_56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g3681a448973_2_56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8" name="Google Shape;11008;g3681a448973_2_56048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9" name="Google Shape;11009;g3681a448973_2_56048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010" name="Google Shape;11010;g3681a448973_2_5604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1" name="Google Shape;11011;g3681a448973_2_56048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012" name="Google Shape;11012;g3681a448973_2_5604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3" name="Google Shape;11013;g3681a448973_2_5604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14" name="Google Shape;11014;g3681a448973_2_56048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15" name="Google Shape;11015;g3681a448973_2_5604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016" name="Google Shape;11016;g3681a448973_2_560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1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8" name="Google Shape;11018;g3681a448973_2_560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19" name="Google Shape;11019;g3681a448973_2_56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0" name="Google Shape;11020;g3681a448973_2_560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21" name="Google Shape;11021;g3681a448973_2_560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22" name="Google Shape;11022;g3681a448973_2_560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23" name="Google Shape;11023;g3681a448973_2_560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24" name="Google Shape;11024;g3681a448973_2_560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25" name="Google Shape;11025;g3681a448973_2_560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6" name="Google Shape;11026;g3681a448973_2_560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7" name="Google Shape;11027;g3681a448973_2_560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1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9" name="Google Shape;11029;g3681a448973_2_560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30" name="Google Shape;11030;g3681a448973_2_5606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31" name="Google Shape;11031;g3681a448973_2_560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32" name="Google Shape;11032;g3681a448973_2_560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33" name="Google Shape;11033;g3681a448973_2_560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34" name="Google Shape;11034;g3681a448973_2_560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35" name="Google Shape;11035;g3681a448973_2_560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 2"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7" name="Google Shape;11037;g3681a448973_2_560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38" name="Google Shape;11038;g3681a448973_2_560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39" name="Google Shape;11039;g3681a448973_2_560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0" name="Google Shape;11040;g3681a448973_2_560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41" name="Google Shape;11041;g3681a448973_2_560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42" name="Google Shape;11042;g3681a448973_2_560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43" name="Google Shape;11043;g3681a448973_2_560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g3681a448973_2_5608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46" name="Google Shape;11046;g3681a448973_2_5608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7" name="Google Shape;11047;g3681a448973_2_5608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48" name="Google Shape;11048;g3681a448973_2_560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49" name="Google Shape;11049;g3681a448973_2_5608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50" name="Google Shape;11050;g3681a448973_2_560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1" name="Google Shape;11051;g3681a448973_2_560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52" name="Google Shape;11052;g3681a448973_2_56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11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4" name="Google Shape;11054;g3681a448973_2_5609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55" name="Google Shape;11055;g3681a448973_2_560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6" name="Google Shape;11056;g3681a448973_2_560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7" name="Google Shape;11057;g3681a448973_2_560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58" name="Google Shape;11058;g3681a448973_2_56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59" name="Google Shape;11059;g3681a448973_2_5609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60" name="Google Shape;11060;g3681a448973_2_5609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1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Google Shape;1191;g3681a448973_2_141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2" name="Google Shape;1192;g3681a448973_2_14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3" name="Google Shape;1193;g3681a448973_2_14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4" name="Google Shape;1194;g3681a448973_2_141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95" name="Google Shape;1195;g3681a448973_2_14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6" name="Google Shape;1196;g3681a448973_2_141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97" name="Google Shape;1197;g3681a448973_2_14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8" name="Google Shape;1198;g3681a448973_2_14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 3">
    <p:spTree>
      <p:nvGrpSpPr>
        <p:cNvPr id="1" name="Shape 1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2" name="Google Shape;11062;g3681a448973_2_561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63" name="Google Shape;11063;g3681a448973_2_5610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64" name="Google Shape;11064;g3681a448973_2_561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5" name="Google Shape;11065;g3681a448973_2_561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6" name="Google Shape;11066;g3681a448973_2_561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67" name="Google Shape;11067;g3681a448973_2_561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68" name="Google Shape;11068;g3681a448973_2_56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Quotation">
  <p:cSld name="43_Quotation">
    <p:spTree>
      <p:nvGrpSpPr>
        <p:cNvPr id="1" name="Shape 1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0" name="Google Shape;11070;g3681a448973_2_5611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71" name="Google Shape;11071;g3681a448973_2_561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g3681a448973_2_561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g3681a448973_2_56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g3681a448973_2_56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g3681a448973_2_56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76" name="Google Shape;11076;g3681a448973_2_561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77" name="Google Shape;11077;g3681a448973_2_56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78" name="Google Shape;11078;g3681a448973_2_561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79" name="Google Shape;11079;g3681a448973_2_56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80" name="Google Shape;11080;g3681a448973_2_56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081" name="Google Shape;11081;g3681a448973_2_561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 2">
    <p:spTree>
      <p:nvGrpSpPr>
        <p:cNvPr id="1" name="Shape 1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3" name="Google Shape;11083;g3681a448973_2_5612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84" name="Google Shape;11084;g3681a448973_2_56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5" name="Google Shape;11085;g3681a448973_2_561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86" name="Google Shape;11086;g3681a448973_2_56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87" name="Google Shape;11087;g3681a448973_2_56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88" name="Google Shape;11088;g3681a448973_2_56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9" name="Google Shape;11089;g3681a448973_2_561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0" name="Google Shape;11090;g3681a448973_2_56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91" name="Google Shape;11091;g3681a448973_2_56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92" name="Google Shape;11092;g3681a448973_2_56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11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4" name="Google Shape;11094;g3681a448973_2_561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g3681a448973_2_561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96" name="Google Shape;11096;g3681a448973_2_5613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97" name="Google Shape;11097;g3681a448973_2_56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8" name="Google Shape;11098;g3681a448973_2_561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99" name="Google Shape;11099;g3681a448973_2_56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00" name="Google Shape;11100;g3681a448973_2_56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01" name="Google Shape;11101;g3681a448973_2_561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02" name="Google Shape;11102;g3681a448973_2_561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3" name="Google Shape;11103;g3681a448973_2_56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4" name="Google Shape;11104;g3681a448973_2_56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1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6" name="Google Shape;11106;g3681a448973_2_561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07" name="Google Shape;11107;g3681a448973_2_56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8" name="Google Shape;11108;g3681a448973_2_561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09" name="Google Shape;11109;g3681a448973_2_56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10" name="Google Shape;11110;g3681a448973_2_56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11" name="Google Shape;11111;g3681a448973_2_56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2" name="Google Shape;11112;g3681a448973_2_56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13" name="Google Shape;11113;g3681a448973_2_56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4" name="Google Shape;11114;g3681a448973_2_56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15" name="Google Shape;11115;g3681a448973_2_56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6" name="Google Shape;11116;g3681a448973_2_56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7" name="Google Shape;11117;g3681a448973_2_56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8" name="Google Shape;11118;g3681a448973_2_56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1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20" name="Google Shape;11120;g3681a448973_2_5616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21" name="Google Shape;11121;g3681a448973_2_56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2" name="Google Shape;11122;g3681a448973_2_561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23" name="Google Shape;11123;g3681a448973_2_561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24" name="Google Shape;11124;g3681a448973_2_561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25" name="Google Shape;11125;g3681a448973_2_561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26" name="Google Shape;11126;g3681a448973_2_56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7" name="Google Shape;11127;g3681a448973_2_561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8" name="Google Shape;11128;g3681a448973_2_56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1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30" name="Google Shape;11130;g3681a448973_2_561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31" name="Google Shape;11131;g3681a448973_2_561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2" name="Google Shape;11132;g3681a448973_2_561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33" name="Google Shape;11133;g3681a448973_2_5617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34" name="Google Shape;11134;g3681a448973_2_561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5" name="Google Shape;11135;g3681a448973_2_561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36" name="Google Shape;11136;g3681a448973_2_561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37" name="Google Shape;11137;g3681a448973_2_561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1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9" name="Google Shape;11139;g3681a448973_2_56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40" name="Google Shape;11140;g3681a448973_2_56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41" name="Google Shape;11141;g3681a448973_2_56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42" name="Google Shape;11142;g3681a448973_2_5617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43" name="Google Shape;11143;g3681a448973_2_56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44" name="Google Shape;11144;g3681a448973_2_561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45" name="Google Shape;11145;g3681a448973_2_56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46" name="Google Shape;11146;g3681a448973_2_56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11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8" name="Google Shape;11148;g3681a448973_2_5618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49" name="Google Shape;11149;g3681a448973_2_561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0" name="Google Shape;11150;g3681a448973_2_561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51" name="Google Shape;11151;g3681a448973_2_561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152" name="Google Shape;11152;g3681a448973_2_561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153" name="Google Shape;11153;g3681a448973_2_561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54" name="Google Shape;11154;g3681a448973_2_561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5" name="Google Shape;11155;g3681a448973_2_56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11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57" name="Google Shape;11157;g3681a448973_2_5619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58" name="Google Shape;11158;g3681a448973_2_5619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59" name="Google Shape;11159;g3681a448973_2_561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60" name="Google Shape;11160;g3681a448973_2_5619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61" name="Google Shape;11161;g3681a448973_2_56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2" name="Google Shape;11162;g3681a448973_2_5619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63" name="Google Shape;11163;g3681a448973_2_5619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1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Google Shape;1200;g3681a448973_2_1418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1" name="Google Shape;1201;g3681a448973_2_1418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2" name="Google Shape;1202;g3681a448973_2_141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3" name="Google Shape;1203;g3681a448973_2_141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4" name="Google Shape;1204;g3681a448973_2_14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5" name="Google Shape;1205;g3681a448973_2_14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6" name="Google Shape;1206;g3681a448973_2_141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07" name="Google Shape;1207;g3681a448973_2_14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8" name="Google Shape;1208;g3681a448973_2_141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9" name="Google Shape;1209;g3681a448973_2_14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0" name="Google Shape;1210;g3681a448973_2_14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1" name="Google Shape;1211;g3681a448973_2_141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1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5" name="Google Shape;11165;g3681a448973_2_56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66" name="Google Shape;11166;g3681a448973_2_5620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67" name="Google Shape;11167;g3681a448973_2_56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8" name="Google Shape;11168;g3681a448973_2_56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69" name="Google Shape;11169;g3681a448973_2_56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70" name="Google Shape;11170;g3681a448973_2_56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171" name="Google Shape;11171;g3681a448973_2_56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11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3" name="Google Shape;11173;g3681a448973_2_5621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74" name="Google Shape;11174;g3681a448973_2_562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5" name="Google Shape;11175;g3681a448973_2_562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6" name="Google Shape;11176;g3681a448973_2_56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7" name="Google Shape;11177;g3681a448973_2_56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8" name="Google Shape;11178;g3681a448973_2_56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9" name="Google Shape;11179;g3681a448973_2_562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80" name="Google Shape;11180;g3681a448973_2_56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81" name="Google Shape;11181;g3681a448973_2_562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82" name="Google Shape;11182;g3681a448973_2_56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83" name="Google Shape;11183;g3681a448973_2_56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184" name="Google Shape;11184;g3681a448973_2_562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1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86" name="Google Shape;11186;g3681a448973_2_562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87" name="Google Shape;11187;g3681a448973_2_56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88" name="Google Shape;11188;g3681a448973_2_562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89" name="Google Shape;11189;g3681a448973_2_56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90" name="Google Shape;11190;g3681a448973_2_56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91" name="Google Shape;11191;g3681a448973_2_56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g3681a448973_2_562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3" name="Google Shape;11193;g3681a448973_2_56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94" name="Google Shape;11194;g3681a448973_2_56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95" name="Google Shape;11195;g3681a448973_2_56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11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7" name="Google Shape;11197;g3681a448973_2_562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8" name="Google Shape;11198;g3681a448973_2_562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199" name="Google Shape;11199;g3681a448973_2_562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00" name="Google Shape;11200;g3681a448973_2_56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01" name="Google Shape;11201;g3681a448973_2_562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02" name="Google Shape;11202;g3681a448973_2_56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03" name="Google Shape;11203;g3681a448973_2_56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04" name="Google Shape;11204;g3681a448973_2_562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05" name="Google Shape;11205;g3681a448973_2_562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06" name="Google Shape;11206;g3681a448973_2_56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07" name="Google Shape;11207;g3681a448973_2_56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11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09" name="Google Shape;11209;g3681a448973_2_562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10" name="Google Shape;11210;g3681a448973_2_562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11" name="Google Shape;11211;g3681a448973_2_562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12" name="Google Shape;11212;g3681a448973_2_562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3" name="Google Shape;11213;g3681a448973_2_562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14" name="Google Shape;11214;g3681a448973_2_562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5" name="Google Shape;11215;g3681a448973_2_562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16" name="Google Shape;11216;g3681a448973_2_562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7" name="Google Shape;11217;g3681a448973_2_562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18" name="Google Shape;11218;g3681a448973_2_562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9" name="Google Shape;11219;g3681a448973_2_56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20" name="Google Shape;11220;g3681a448973_2_562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21" name="Google Shape;11221;g3681a448973_2_56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11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23" name="Google Shape;11223;g3681a448973_2_562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24" name="Google Shape;11224;g3681a448973_2_56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25" name="Google Shape;11225;g3681a448973_2_562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26" name="Google Shape;11226;g3681a448973_2_56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27" name="Google Shape;11227;g3681a448973_2_56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28" name="Google Shape;11228;g3681a448973_2_562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g3681a448973_2_56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30" name="Google Shape;11230;g3681a448973_2_56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31" name="Google Shape;11231;g3681a448973_2_56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1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33" name="Google Shape;11233;g3681a448973_2_562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234" name="Google Shape;11234;g3681a448973_2_562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5" name="Google Shape;11235;g3681a448973_2_562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36" name="Google Shape;11236;g3681a448973_2_5627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37" name="Google Shape;11237;g3681a448973_2_562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8" name="Google Shape;11238;g3681a448973_2_562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39" name="Google Shape;11239;g3681a448973_2_562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240" name="Google Shape;11240;g3681a448973_2_562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11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2" name="Google Shape;11242;g3681a448973_2_56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43" name="Google Shape;11243;g3681a448973_2_56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44" name="Google Shape;11244;g3681a448973_2_56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45" name="Google Shape;11245;g3681a448973_2_5628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46" name="Google Shape;11246;g3681a448973_2_56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47" name="Google Shape;11247;g3681a448973_2_562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48" name="Google Shape;11248;g3681a448973_2_56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49" name="Google Shape;11249;g3681a448973_2_56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1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1" name="Google Shape;11251;g3681a448973_2_5629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52" name="Google Shape;11252;g3681a448973_2_56291"/>
          <p:cNvSpPr/>
          <p:nvPr/>
        </p:nvSpPr>
        <p:spPr>
          <a:xfrm>
            <a:off x="2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53" name="Google Shape;11253;g3681a448973_2_56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54" name="Google Shape;11254;g3681a448973_2_5629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55" name="Google Shape;11255;g3681a448973_2_5629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256" name="Google Shape;11256;g3681a448973_2_5629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57" name="Google Shape;11257;g3681a448973_2_5629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g3681a448973_2_5629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9" name="Google Shape;11259;g3681a448973_2_562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g3681a448973_2_5629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61" name="Google Shape;11261;g3681a448973_2_562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1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3" name="Google Shape;11263;g3681a448973_2_5630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64" name="Google Shape;11264;g3681a448973_2_563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5" name="Google Shape;11265;g3681a448973_2_563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6" name="Google Shape;11266;g3681a448973_2_56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67" name="Google Shape;11267;g3681a448973_2_563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8" name="Google Shape;11268;g3681a448973_2_56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69" name="Google Shape;11269;g3681a448973_2_563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70" name="Google Shape;11270;g3681a448973_2_563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71" name="Google Shape;11271;g3681a448973_2_563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72" name="Google Shape;11272;g3681a448973_2_563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73" name="Google Shape;11273;g3681a448973_2_563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74" name="Google Shape;11274;g3681a448973_2_563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1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3" name="Google Shape;1213;g3681a448973_2_1419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g3681a448973_2_1419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5" name="Google Shape;1215;g3681a448973_2_141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6" name="Google Shape;1216;g3681a448973_2_141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7" name="Google Shape;1217;g3681a448973_2_14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8" name="Google Shape;1218;g3681a448973_2_14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9" name="Google Shape;1219;g3681a448973_2_141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20" name="Google Shape;1220;g3681a448973_2_14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21" name="Google Shape;1221;g3681a448973_2_141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22" name="Google Shape;1222;g3681a448973_2_14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3" name="Google Shape;1223;g3681a448973_2_14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24" name="Google Shape;1224;g3681a448973_2_141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g3681a448973_2_563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7" name="Google Shape;11277;g3681a448973_2_563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278" name="Google Shape;11278;g3681a448973_2_563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79" name="Google Shape;11279;g3681a448973_2_56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80" name="Google Shape;11280;g3681a448973_2_563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81" name="Google Shape;11281;g3681a448973_2_56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2" name="Google Shape;11282;g3681a448973_2_56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83" name="Google Shape;11283;g3681a448973_2_563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4" name="Google Shape;11284;g3681a448973_2_563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85" name="Google Shape;11285;g3681a448973_2_56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86" name="Google Shape;11286;g3681a448973_2_56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11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88" name="Google Shape;11288;g3681a448973_2_563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89" name="Google Shape;11289;g3681a448973_2_56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0" name="Google Shape;11290;g3681a448973_2_563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91" name="Google Shape;11291;g3681a448973_2_56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92" name="Google Shape;11292;g3681a448973_2_56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3" name="Google Shape;11293;g3681a448973_2_563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4" name="Google Shape;11294;g3681a448973_2_563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95" name="Google Shape;11295;g3681a448973_2_563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96" name="Google Shape;11296;g3681a448973_2_563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97" name="Google Shape;11297;g3681a448973_2_563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98" name="Google Shape;11298;g3681a448973_2_563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99" name="Google Shape;11299;g3681a448973_2_56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00" name="Google Shape;11300;g3681a448973_2_56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11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02" name="Google Shape;11302;g3681a448973_2_563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03" name="Google Shape;11303;g3681a448973_2_56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04" name="Google Shape;11304;g3681a448973_2_563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05" name="Google Shape;11305;g3681a448973_2_56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06" name="Google Shape;11306;g3681a448973_2_56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307" name="Google Shape;11307;g3681a448973_2_563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8" name="Google Shape;11308;g3681a448973_2_56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09" name="Google Shape;11309;g3681a448973_2_56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10" name="Google Shape;11310;g3681a448973_2_56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11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12" name="Google Shape;11312;g3681a448973_2_563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313" name="Google Shape;11313;g3681a448973_2_563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14" name="Google Shape;11314;g3681a448973_2_563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315" name="Google Shape;11315;g3681a448973_2_5635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16" name="Google Shape;11316;g3681a448973_2_563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7" name="Google Shape;11317;g3681a448973_2_563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18" name="Google Shape;11318;g3681a448973_2_563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319" name="Google Shape;11319;g3681a448973_2_563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g3681a448973_2_563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2" name="Google Shape;11322;g3681a448973_2_563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3" name="Google Shape;11323;g3681a448973_2_563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24" name="Google Shape;11324;g3681a448973_2_5636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25" name="Google Shape;11325;g3681a448973_2_563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26" name="Google Shape;11326;g3681a448973_2_563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27" name="Google Shape;11327;g3681a448973_2_563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28" name="Google Shape;11328;g3681a448973_2_563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1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0" name="Google Shape;11330;g3681a448973_2_5637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31" name="Google Shape;11331;g3681a448973_2_5637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2" name="Google Shape;11332;g3681a448973_2_5637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333" name="Google Shape;11333;g3681a448973_2_56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334" name="Google Shape;11334;g3681a448973_2_5637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335" name="Google Shape;11335;g3681a448973_2_563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36" name="Google Shape;11336;g3681a448973_2_5637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37" name="Google Shape;11337;g3681a448973_2_56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11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39" name="Google Shape;11339;g3681a448973_2_563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340" name="Google Shape;11340;g3681a448973_2_563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41" name="Google Shape;11341;g3681a448973_2_563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42" name="Google Shape;11342;g3681a448973_2_563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43" name="Google Shape;11343;g3681a448973_2_56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344" name="Google Shape;11344;g3681a448973_2_563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g3681a448973_2_563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11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7" name="Google Shape;11347;g3681a448973_2_5638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48" name="Google Shape;11348;g3681a448973_2_56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9" name="Google Shape;11349;g3681a448973_2_56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0" name="Google Shape;11350;g3681a448973_2_56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51" name="Google Shape;11351;g3681a448973_2_56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52" name="Google Shape;11352;g3681a448973_2_56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53" name="Google Shape;11353;g3681a448973_2_5638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54" name="Google Shape;11354;g3681a448973_2_56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5" name="Google Shape;11355;g3681a448973_2_563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56" name="Google Shape;11356;g3681a448973_2_56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57" name="Google Shape;11357;g3681a448973_2_56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58" name="Google Shape;11358;g3681a448973_2_563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1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0" name="Google Shape;11360;g3681a448973_2_564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61" name="Google Shape;11361;g3681a448973_2_56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2" name="Google Shape;11362;g3681a448973_2_56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3" name="Google Shape;11363;g3681a448973_2_56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64" name="Google Shape;11364;g3681a448973_2_56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65" name="Google Shape;11365;g3681a448973_2_56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66" name="Google Shape;11366;g3681a448973_2_564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67" name="Google Shape;11367;g3681a448973_2_56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68" name="Google Shape;11368;g3681a448973_2_564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69" name="Google Shape;11369;g3681a448973_2_56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0" name="Google Shape;11370;g3681a448973_2_56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71" name="Google Shape;11371;g3681a448973_2_564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1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3" name="Google Shape;11373;g3681a448973_2_5641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4" name="Google Shape;11374;g3681a448973_2_564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5" name="Google Shape;11375;g3681a448973_2_564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6" name="Google Shape;11376;g3681a448973_2_564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77" name="Google Shape;11377;g3681a448973_2_56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78" name="Google Shape;11378;g3681a448973_2_56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79" name="Google Shape;11379;g3681a448973_2_564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80" name="Google Shape;11380;g3681a448973_2_56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81" name="Google Shape;11381;g3681a448973_2_564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82" name="Google Shape;11382;g3681a448973_2_56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83" name="Google Shape;11383;g3681a448973_2_56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4" name="Google Shape;11384;g3681a448973_2_564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1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" name="Google Shape;1226;g3681a448973_2_1421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7" name="Google Shape;1227;g3681a448973_2_1421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8" name="Google Shape;1228;g3681a448973_2_142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9" name="Google Shape;1229;g3681a448973_2_142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0" name="Google Shape;1230;g3681a448973_2_142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1" name="Google Shape;1231;g3681a448973_2_142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2" name="Google Shape;1232;g3681a448973_2_142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3" name="Google Shape;1233;g3681a448973_2_14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4" name="Google Shape;1234;g3681a448973_2_142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5" name="Google Shape;1235;g3681a448973_2_142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6" name="Google Shape;1236;g3681a448973_2_142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7" name="Google Shape;1237;g3681a448973_2_142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1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6" name="Google Shape;11386;g3681a448973_2_5642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7" name="Google Shape;11387;g3681a448973_2_564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8" name="Google Shape;11388;g3681a448973_2_564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389" name="Google Shape;11389;g3681a448973_2_564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390" name="Google Shape;11390;g3681a448973_2_564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391" name="Google Shape;11391;g3681a448973_2_564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2" name="Google Shape;11392;g3681a448973_2_564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93" name="Google Shape;11393;g3681a448973_2_564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1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95" name="Google Shape;11395;g3681a448973_2_5643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396" name="Google Shape;11396;g3681a448973_2_5643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7" name="Google Shape;11397;g3681a448973_2_564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8" name="Google Shape;11398;g3681a448973_2_5643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99" name="Google Shape;11399;g3681a448973_2_564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00" name="Google Shape;11400;g3681a448973_2_5643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1" name="Google Shape;11401;g3681a448973_2_5643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1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3" name="Google Shape;11403;g3681a448973_2_564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04" name="Google Shape;11404;g3681a448973_2_5644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05" name="Google Shape;11405;g3681a448973_2_564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06" name="Google Shape;11406;g3681a448973_2_564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07" name="Google Shape;11407;g3681a448973_2_564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08" name="Google Shape;11408;g3681a448973_2_564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409" name="Google Shape;11409;g3681a448973_2_56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11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1" name="Google Shape;11411;g3681a448973_2_5645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2" name="Google Shape;11412;g3681a448973_2_564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3" name="Google Shape;11413;g3681a448973_2_564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14" name="Google Shape;11414;g3681a448973_2_564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15" name="Google Shape;11415;g3681a448973_2_564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16" name="Google Shape;11416;g3681a448973_2_564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17" name="Google Shape;11417;g3681a448973_2_5645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18" name="Google Shape;11418;g3681a448973_2_564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19" name="Google Shape;11419;g3681a448973_2_5645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20" name="Google Shape;11420;g3681a448973_2_564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21" name="Google Shape;11421;g3681a448973_2_564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22" name="Google Shape;11422;g3681a448973_2_564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1_Quotation">
  <p:cSld name="51_Quotation">
    <p:spTree>
      <p:nvGrpSpPr>
        <p:cNvPr id="1" name="Shape 11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4" name="Google Shape;11424;g3681a448973_2_5646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25" name="Google Shape;11425;g3681a448973_2_564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6" name="Google Shape;11426;g3681a448973_2_564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7" name="Google Shape;11427;g3681a448973_2_564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28" name="Google Shape;11428;g3681a448973_2_564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29" name="Google Shape;11429;g3681a448973_2_564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0" name="Google Shape;11430;g3681a448973_2_564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31" name="Google Shape;11431;g3681a448973_2_564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2" name="Google Shape;11432;g3681a448973_2_564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33" name="Google Shape;11433;g3681a448973_2_564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34" name="Google Shape;11434;g3681a448973_2_564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35" name="Google Shape;11435;g3681a448973_2_564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11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7" name="Google Shape;11437;g3681a448973_2_5647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38" name="Google Shape;11438;g3681a448973_2_56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9" name="Google Shape;11439;g3681a448973_2_564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40" name="Google Shape;11440;g3681a448973_2_564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1" name="Google Shape;11441;g3681a448973_2_564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42" name="Google Shape;11442;g3681a448973_2_564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3" name="Google Shape;11443;g3681a448973_2_564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4" name="Google Shape;11444;g3681a448973_2_564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5" name="Google Shape;11445;g3681a448973_2_564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6" name="Google Shape;11446;g3681a448973_2_564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11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8" name="Google Shape;11448;g3681a448973_2_564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9" name="Google Shape;11449;g3681a448973_2_564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0" name="Google Shape;11450;g3681a448973_2_564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51" name="Google Shape;11451;g3681a448973_2_564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2" name="Google Shape;11452;g3681a448973_2_564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53" name="Google Shape;11453;g3681a448973_2_564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54" name="Google Shape;11454;g3681a448973_2_564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5" name="Google Shape;11455;g3681a448973_2_564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6" name="Google Shape;11456;g3681a448973_2_564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7" name="Google Shape;11457;g3681a448973_2_564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8" name="Google Shape;11458;g3681a448973_2_564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11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0" name="Google Shape;11460;g3681a448973_2_565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61" name="Google Shape;11461;g3681a448973_2_56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2" name="Google Shape;11462;g3681a448973_2_565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63" name="Google Shape;11463;g3681a448973_2_56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64" name="Google Shape;11464;g3681a448973_2_56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65" name="Google Shape;11465;g3681a448973_2_56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6" name="Google Shape;11466;g3681a448973_2_565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7" name="Google Shape;11467;g3681a448973_2_565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68" name="Google Shape;11468;g3681a448973_2_565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g3681a448973_2_565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g3681a448973_2_56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1" name="Google Shape;11471;g3681a448973_2_56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2" name="Google Shape;11472;g3681a448973_2_56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1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4" name="Google Shape;11474;g3681a448973_2_565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75" name="Google Shape;11475;g3681a448973_2_56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6" name="Google Shape;11476;g3681a448973_2_565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77" name="Google Shape;11477;g3681a448973_2_56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78" name="Google Shape;11478;g3681a448973_2_56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79" name="Google Shape;11479;g3681a448973_2_56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0" name="Google Shape;11480;g3681a448973_2_56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1" name="Google Shape;11481;g3681a448973_2_56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2" name="Google Shape;11482;g3681a448973_2_56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1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4" name="Google Shape;11484;g3681a448973_2_565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5" name="Google Shape;11485;g3681a448973_2_565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86" name="Google Shape;11486;g3681a448973_2_565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87" name="Google Shape;11487;g3681a448973_2_5652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8" name="Google Shape;11488;g3681a448973_2_565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89" name="Google Shape;11489;g3681a448973_2_565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0" name="Google Shape;11490;g3681a448973_2_565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1" name="Google Shape;11491;g3681a448973_2_565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1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" name="Google Shape;1239;g3681a448973_2_1422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0" name="Google Shape;1240;g3681a448973_2_1422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1" name="Google Shape;1241;g3681a448973_2_1422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42" name="Google Shape;1242;g3681a448973_2_142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43" name="Google Shape;1243;g3681a448973_2_1422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44" name="Google Shape;1244;g3681a448973_2_142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5" name="Google Shape;1245;g3681a448973_2_142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46" name="Google Shape;1246;g3681a448973_2_14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1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3" name="Google Shape;11493;g3681a448973_2_565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4" name="Google Shape;11494;g3681a448973_2_565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5" name="Google Shape;11495;g3681a448973_2_565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6" name="Google Shape;11496;g3681a448973_2_565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97" name="Google Shape;11497;g3681a448973_2_565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8" name="Google Shape;11498;g3681a448973_2_565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99" name="Google Shape;11499;g3681a448973_2_565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00" name="Google Shape;11500;g3681a448973_2_565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11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2" name="Google Shape;11502;g3681a448973_2_5654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03" name="Google Shape;11503;g3681a448973_2_565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4" name="Google Shape;11504;g3681a448973_2_565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05" name="Google Shape;11505;g3681a448973_2_565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06" name="Google Shape;11506;g3681a448973_2_565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07" name="Google Shape;11507;g3681a448973_2_565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08" name="Google Shape;11508;g3681a448973_2_565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09" name="Google Shape;11509;g3681a448973_2_56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10" name="Google Shape;11510;g3681a448973_2_565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11" name="Google Shape;11511;g3681a448973_2_565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2" name="Google Shape;11512;g3681a448973_2_565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13" name="Google Shape;11513;g3681a448973_2_565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1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5" name="Google Shape;11515;g3681a448973_2_5655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16" name="Google Shape;11516;g3681a448973_2_56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7" name="Google Shape;11517;g3681a448973_2_56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18" name="Google Shape;11518;g3681a448973_2_56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19" name="Google Shape;11519;g3681a448973_2_56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20" name="Google Shape;11520;g3681a448973_2_56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21" name="Google Shape;11521;g3681a448973_2_565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22" name="Google Shape;11522;g3681a448973_2_56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23" name="Google Shape;11523;g3681a448973_2_565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24" name="Google Shape;11524;g3681a448973_2_56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25" name="Google Shape;11525;g3681a448973_2_56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26" name="Google Shape;11526;g3681a448973_2_565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4_Quotation">
  <p:cSld name="54_Quotation">
    <p:spTree>
      <p:nvGrpSpPr>
        <p:cNvPr id="1" name="Shape 1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8" name="Google Shape;11528;g3681a448973_2_5656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9" name="Google Shape;11529;g3681a448973_2_565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0" name="Google Shape;11530;g3681a448973_2_565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1" name="Google Shape;11531;g3681a448973_2_56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2" name="Google Shape;11532;g3681a448973_2_56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3" name="Google Shape;11533;g3681a448973_2_56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4" name="Google Shape;11534;g3681a448973_2_565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35" name="Google Shape;11535;g3681a448973_2_56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6" name="Google Shape;11536;g3681a448973_2_565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37" name="Google Shape;11537;g3681a448973_2_56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38" name="Google Shape;11538;g3681a448973_2_56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39" name="Google Shape;11539;g3681a448973_2_565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11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1" name="Google Shape;11541;g3681a448973_2_5658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42" name="Google Shape;11542;g3681a448973_2_565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3" name="Google Shape;11543;g3681a448973_2_565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4" name="Google Shape;11544;g3681a448973_2_565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45" name="Google Shape;11545;g3681a448973_2_565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46" name="Google Shape;11546;g3681a448973_2_565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47" name="Google Shape;11547;g3681a448973_2_565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48" name="Google Shape;11548;g3681a448973_2_565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9" name="Google Shape;11549;g3681a448973_2_565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50" name="Google Shape;11550;g3681a448973_2_565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51" name="Google Shape;11551;g3681a448973_2_565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52" name="Google Shape;11552;g3681a448973_2_5658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11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4" name="Google Shape;11554;g3681a448973_2_5659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55" name="Google Shape;11555;g3681a448973_2_565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6" name="Google Shape;11556;g3681a448973_2_565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57" name="Google Shape;11557;g3681a448973_2_565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58" name="Google Shape;11558;g3681a448973_2_565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59" name="Google Shape;11559;g3681a448973_2_565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0" name="Google Shape;11560;g3681a448973_2_565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61" name="Google Shape;11561;g3681a448973_2_565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1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3" name="Google Shape;11563;g3681a448973_2_5660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64" name="Google Shape;11564;g3681a448973_2_5660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5" name="Google Shape;11565;g3681a448973_2_566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6" name="Google Shape;11566;g3681a448973_2_5660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67" name="Google Shape;11567;g3681a448973_2_56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68" name="Google Shape;11568;g3681a448973_2_5660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69" name="Google Shape;11569;g3681a448973_2_5660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11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" name="Google Shape;11571;g3681a448973_2_56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72" name="Google Shape;11572;g3681a448973_2_5661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73" name="Google Shape;11573;g3681a448973_2_56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74" name="Google Shape;11574;g3681a448973_2_56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5" name="Google Shape;11575;g3681a448973_2_56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76" name="Google Shape;11576;g3681a448973_2_56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577" name="Google Shape;11577;g3681a448973_2_56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6_Quotation">
  <p:cSld name="56_Quotation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9" name="Google Shape;11579;g3681a448973_2_5661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80" name="Google Shape;11580;g3681a448973_2_566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1" name="Google Shape;11581;g3681a448973_2_566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82" name="Google Shape;11582;g3681a448973_2_566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3" name="Google Shape;11583;g3681a448973_2_566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4" name="Google Shape;11584;g3681a448973_2_566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85" name="Google Shape;11585;g3681a448973_2_566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86" name="Google Shape;11586;g3681a448973_2_566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7" name="Google Shape;11587;g3681a448973_2_566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88" name="Google Shape;11588;g3681a448973_2_566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89" name="Google Shape;11589;g3681a448973_2_566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90" name="Google Shape;11590;g3681a448973_2_566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11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92" name="Google Shape;11592;g3681a448973_2_5663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93" name="Google Shape;11593;g3681a448973_2_56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94" name="Google Shape;11594;g3681a448973_2_566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95" name="Google Shape;11595;g3681a448973_2_56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96" name="Google Shape;11596;g3681a448973_2_56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97" name="Google Shape;11597;g3681a448973_2_566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8" name="Google Shape;11598;g3681a448973_2_566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9" name="Google Shape;11599;g3681a448973_2_56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0" name="Google Shape;11600;g3681a448973_2_56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1" name="Google Shape;11601;g3681a448973_2_56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1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8" name="Google Shape;1248;g3681a448973_2_1423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49" name="Google Shape;1249;g3681a448973_2_1423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0" name="Google Shape;1250;g3681a448973_2_1423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1" name="Google Shape;1251;g3681a448973_2_1423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52" name="Google Shape;1252;g3681a448973_2_142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53" name="Google Shape;1253;g3681a448973_2_1423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4" name="Google Shape;1254;g3681a448973_2_1423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11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3" name="Google Shape;11603;g3681a448973_2_566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04" name="Google Shape;11604;g3681a448973_2_566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5" name="Google Shape;11605;g3681a448973_2_5664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06" name="Google Shape;11606;g3681a448973_2_566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7" name="Google Shape;11607;g3681a448973_2_566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08" name="Google Shape;11608;g3681a448973_2_566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09" name="Google Shape;11609;g3681a448973_2_566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10" name="Google Shape;11610;g3681a448973_2_5664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1" name="Google Shape;11611;g3681a448973_2_5664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12" name="Google Shape;11612;g3681a448973_2_566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3" name="Google Shape;11613;g3681a448973_2_566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1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5" name="Google Shape;11615;g3681a448973_2_566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16" name="Google Shape;11616;g3681a448973_2_56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17" name="Google Shape;11617;g3681a448973_2_566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18" name="Google Shape;11618;g3681a448973_2_56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19" name="Google Shape;11619;g3681a448973_2_56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0" name="Google Shape;11620;g3681a448973_2_566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21" name="Google Shape;11621;g3681a448973_2_5665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22" name="Google Shape;11622;g3681a448973_2_5665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3" name="Google Shape;11623;g3681a448973_2_5665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24" name="Google Shape;11624;g3681a448973_2_5665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5" name="Google Shape;11625;g3681a448973_2_56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26" name="Google Shape;11626;g3681a448973_2_56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27" name="Google Shape;11627;g3681a448973_2_56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11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9" name="Google Shape;11629;g3681a448973_2_5666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30" name="Google Shape;11630;g3681a448973_2_56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1" name="Google Shape;11631;g3681a448973_2_566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32" name="Google Shape;11632;g3681a448973_2_56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33" name="Google Shape;11633;g3681a448973_2_56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34" name="Google Shape;11634;g3681a448973_2_56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5" name="Google Shape;11635;g3681a448973_2_56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6" name="Google Shape;11636;g3681a448973_2_56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7" name="Google Shape;11637;g3681a448973_2_56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11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9" name="Google Shape;11639;g3681a448973_2_5667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640" name="Google Shape;11640;g3681a448973_2_5667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41" name="Google Shape;11641;g3681a448973_2_5667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2" name="Google Shape;11642;g3681a448973_2_5667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43" name="Google Shape;11643;g3681a448973_2_5667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44" name="Google Shape;11644;g3681a448973_2_5667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45" name="Google Shape;11645;g3681a448973_2_566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646" name="Google Shape;11646;g3681a448973_2_566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11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8" name="Google Shape;11648;g3681a448973_2_566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49" name="Google Shape;11649;g3681a448973_2_566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0" name="Google Shape;11650;g3681a448973_2_566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51" name="Google Shape;11651;g3681a448973_2_566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52" name="Google Shape;11652;g3681a448973_2_56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3" name="Google Shape;11653;g3681a448973_2_566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54" name="Google Shape;11654;g3681a448973_2_566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5" name="Google Shape;11655;g3681a448973_2_566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1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7" name="Google Shape;11657;g3681a448973_2_5669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58" name="Google Shape;11658;g3681a448973_2_566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59" name="Google Shape;11659;g3681a448973_2_566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660" name="Google Shape;11660;g3681a448973_2_566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661" name="Google Shape;11661;g3681a448973_2_566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662" name="Google Shape;11662;g3681a448973_2_566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3" name="Google Shape;11663;g3681a448973_2_566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664" name="Google Shape;11664;g3681a448973_2_56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1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66" name="Google Shape;11666;g3681a448973_2_5670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667" name="Google Shape;11667;g3681a448973_2_5670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8" name="Google Shape;11668;g3681a448973_2_567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9" name="Google Shape;11669;g3681a448973_2_5670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670" name="Google Shape;11670;g3681a448973_2_56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71" name="Google Shape;11671;g3681a448973_2_5670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2" name="Google Shape;11672;g3681a448973_2_5670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1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4" name="Google Shape;11674;g3681a448973_2_5671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75" name="Google Shape;11675;g3681a448973_2_5671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76" name="Google Shape;11676;g3681a448973_2_5671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77" name="Google Shape;11677;g3681a448973_2_5671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78" name="Google Shape;11678;g3681a448973_2_5671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79" name="Google Shape;11679;g3681a448973_2_5671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680" name="Google Shape;11680;g3681a448973_2_567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7_Quotation">
  <p:cSld name="57_Quotation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2" name="Google Shape;11682;g3681a448973_2_5672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83" name="Google Shape;11683;g3681a448973_2_567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g3681a448973_2_567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5" name="Google Shape;11685;g3681a448973_2_567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6" name="Google Shape;11686;g3681a448973_2_567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7" name="Google Shape;11687;g3681a448973_2_567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88" name="Google Shape;11688;g3681a448973_2_567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89" name="Google Shape;11689;g3681a448973_2_56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0" name="Google Shape;11690;g3681a448973_2_567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91" name="Google Shape;11691;g3681a448973_2_567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92" name="Google Shape;11692;g3681a448973_2_567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693" name="Google Shape;11693;g3681a448973_2_567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95" name="Google Shape;11695;g3681a448973_2_567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96" name="Google Shape;11696;g3681a448973_2_56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7" name="Google Shape;11697;g3681a448973_2_567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98" name="Google Shape;11698;g3681a448973_2_56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99" name="Google Shape;11699;g3681a448973_2_56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00" name="Google Shape;11700;g3681a448973_2_56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1" name="Google Shape;11701;g3681a448973_2_567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02" name="Google Shape;11702;g3681a448973_2_56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03" name="Google Shape;11703;g3681a448973_2_56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04" name="Google Shape;11704;g3681a448973_2_56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3681a448973_2_13119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g3681a448973_2_13119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35" name="Google Shape;135;g3681a448973_2_13119"/>
          <p:cNvGrpSpPr/>
          <p:nvPr/>
        </p:nvGrpSpPr>
        <p:grpSpPr>
          <a:xfrm flipH="1">
            <a:off x="225" y="2"/>
            <a:ext cx="6418638" cy="1509802"/>
            <a:chOff x="7522541" y="1"/>
            <a:chExt cx="4669459" cy="1098357"/>
          </a:xfrm>
        </p:grpSpPr>
        <p:sp>
          <p:nvSpPr>
            <p:cNvPr id="136" name="Google Shape;136;g3681a448973_2_1311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g3681a448973_2_1311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38" name="Google Shape;138;g3681a448973_2_13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" name="Google Shape;1256;g3681a448973_2_1424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57" name="Google Shape;1257;g3681a448973_2_1424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58" name="Google Shape;1258;g3681a448973_2_1424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59" name="Google Shape;1259;g3681a448973_2_142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0" name="Google Shape;1260;g3681a448973_2_142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61" name="Google Shape;1261;g3681a448973_2_142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62" name="Google Shape;1262;g3681a448973_2_14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1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6" name="Google Shape;11706;g3681a448973_2_56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7" name="Google Shape;11707;g3681a448973_2_567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708" name="Google Shape;11708;g3681a448973_2_567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09" name="Google Shape;11709;g3681a448973_2_56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10" name="Google Shape;11710;g3681a448973_2_567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11" name="Google Shape;11711;g3681a448973_2_56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12" name="Google Shape;11712;g3681a448973_2_56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13" name="Google Shape;11713;g3681a448973_2_567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4" name="Google Shape;11714;g3681a448973_2_567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15" name="Google Shape;11715;g3681a448973_2_56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16" name="Google Shape;11716;g3681a448973_2_56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11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8" name="Google Shape;11718;g3681a448973_2_567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19" name="Google Shape;11719;g3681a448973_2_567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0" name="Google Shape;11720;g3681a448973_2_567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21" name="Google Shape;11721;g3681a448973_2_567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22" name="Google Shape;11722;g3681a448973_2_567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23" name="Google Shape;11723;g3681a448973_2_567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4" name="Google Shape;11724;g3681a448973_2_567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5" name="Google Shape;11725;g3681a448973_2_567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6" name="Google Shape;11726;g3681a448973_2_567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7" name="Google Shape;11727;g3681a448973_2_567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g3681a448973_2_567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29" name="Google Shape;11729;g3681a448973_2_567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30" name="Google Shape;11730;g3681a448973_2_567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11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32" name="Google Shape;11732;g3681a448973_2_567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33" name="Google Shape;11733;g3681a448973_2_56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34" name="Google Shape;11734;g3681a448973_2_567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35" name="Google Shape;11735;g3681a448973_2_56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36" name="Google Shape;11736;g3681a448973_2_56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37" name="Google Shape;11737;g3681a448973_2_567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g3681a448973_2_56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39" name="Google Shape;11739;g3681a448973_2_56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40" name="Google Shape;11740;g3681a448973_2_56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11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42" name="Google Shape;11742;g3681a448973_2_567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43" name="Google Shape;11743;g3681a448973_2_567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44" name="Google Shape;11744;g3681a448973_2_567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5" name="Google Shape;11745;g3681a448973_2_5678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46" name="Google Shape;11746;g3681a448973_2_567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g3681a448973_2_567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48" name="Google Shape;11748;g3681a448973_2_567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49" name="Google Shape;11749;g3681a448973_2_567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11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51" name="Google Shape;11751;g3681a448973_2_56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52" name="Google Shape;11752;g3681a448973_2_56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3" name="Google Shape;11753;g3681a448973_2_56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54" name="Google Shape;11754;g3681a448973_2_567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55" name="Google Shape;11755;g3681a448973_2_56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g3681a448973_2_567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57" name="Google Shape;11757;g3681a448973_2_56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g3681a448973_2_56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8_Quotation">
  <p:cSld name="58_Quotation">
    <p:spTree>
      <p:nvGrpSpPr>
        <p:cNvPr id="1" name="Shape 1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0" name="Google Shape;11760;g3681a448973_2_568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61" name="Google Shape;11761;g3681a448973_2_568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2" name="Google Shape;11762;g3681a448973_2_568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3" name="Google Shape;11763;g3681a448973_2_568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4" name="Google Shape;11764;g3681a448973_2_568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5" name="Google Shape;11765;g3681a448973_2_568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66" name="Google Shape;11766;g3681a448973_2_568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67" name="Google Shape;11767;g3681a448973_2_56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68" name="Google Shape;11768;g3681a448973_2_568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69" name="Google Shape;11769;g3681a448973_2_568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70" name="Google Shape;11770;g3681a448973_2_568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771" name="Google Shape;11771;g3681a448973_2_568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3" name="Google Shape;11773;g3681a448973_2_568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74" name="Google Shape;11774;g3681a448973_2_56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75" name="Google Shape;11775;g3681a448973_2_568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76" name="Google Shape;11776;g3681a448973_2_56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77" name="Google Shape;11777;g3681a448973_2_56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78" name="Google Shape;11778;g3681a448973_2_568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9" name="Google Shape;11779;g3681a448973_2_568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0" name="Google Shape;11780;g3681a448973_2_56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81" name="Google Shape;11781;g3681a448973_2_56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82" name="Google Shape;11782;g3681a448973_2_56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4" name="Google Shape;11784;g3681a448973_2_5682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5" name="Google Shape;11785;g3681a448973_2_5682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786" name="Google Shape;11786;g3681a448973_2_568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787" name="Google Shape;11787;g3681a448973_2_56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8" name="Google Shape;11788;g3681a448973_2_568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1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0" name="Google Shape;11790;g3681a448973_2_568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1" name="Google Shape;11791;g3681a448973_2_568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2" name="Google Shape;11792;g3681a448973_2_568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793" name="Google Shape;11793;g3681a448973_2_568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4" name="Google Shape;11794;g3681a448973_2_568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95" name="Google Shape;11795;g3681a448973_2_5683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96" name="Google Shape;11796;g3681a448973_2_5683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97" name="Google Shape;11797;g3681a448973_2_568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98" name="Google Shape;11798;g3681a448973_2_568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11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0" name="Google Shape;11800;g3681a448973_2_568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1" name="Google Shape;11801;g3681a448973_2_568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2" name="Google Shape;11802;g3681a448973_2_568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03" name="Google Shape;11803;g3681a448973_2_56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4" name="Google Shape;11804;g3681a448973_2_56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05" name="Google Shape;11805;g3681a448973_2_5684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6" name="Google Shape;11806;g3681a448973_2_5684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7" name="Google Shape;11807;g3681a448973_2_568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08" name="Google Shape;11808;g3681a448973_2_568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1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4" name="Google Shape;1264;g3681a448973_2_142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65" name="Google Shape;1265;g3681a448973_2_142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6" name="Google Shape;1266;g3681a448973_2_142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7" name="Google Shape;1267;g3681a448973_2_142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8" name="Google Shape;1268;g3681a448973_2_142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9" name="Google Shape;1269;g3681a448973_2_142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" name="Google Shape;1270;g3681a448973_2_142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g3681a448973_2_142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2" name="Google Shape;1272;g3681a448973_2_142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3" name="Google Shape;1273;g3681a448973_2_142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11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0" name="Google Shape;11810;g3681a448973_2_5685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11" name="Google Shape;11811;g3681a448973_2_5685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2" name="Google Shape;11812;g3681a448973_2_5685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3" name="Google Shape;11813;g3681a448973_2_5685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14" name="Google Shape;11814;g3681a448973_2_568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 2">
    <p:spTree>
      <p:nvGrpSpPr>
        <p:cNvPr id="1" name="Shape 11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6" name="Google Shape;11816;g3681a448973_2_5685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17" name="Google Shape;11817;g3681a448973_2_568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18" name="Google Shape;11818;g3681a448973_2_5685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9" name="Google Shape;11819;g3681a448973_2_568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0" name="Google Shape;11820;g3681a448973_2_568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11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2" name="Google Shape;11822;g3681a448973_2_5686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23" name="Google Shape;11823;g3681a448973_2_5686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24" name="Google Shape;11824;g3681a448973_2_568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5" name="Google Shape;11825;g3681a448973_2_568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6" name="Google Shape;11826;g3681a448973_2_568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27" name="Google Shape;11827;g3681a448973_2_568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11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9" name="Google Shape;11829;g3681a448973_2_568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0" name="Google Shape;11830;g3681a448973_2_568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1" name="Google Shape;11831;g3681a448973_2_568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32" name="Google Shape;11832;g3681a448973_2_56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3" name="Google Shape;11833;g3681a448973_2_56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34" name="Google Shape;11834;g3681a448973_2_56869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35" name="Google Shape;11835;g3681a448973_2_56869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36" name="Google Shape;11836;g3681a448973_2_568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37" name="Google Shape;11837;g3681a448973_2_568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1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9" name="Google Shape;11839;g3681a448973_2_568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0" name="Google Shape;11840;g3681a448973_2_5687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1" name="Google Shape;11841;g3681a448973_2_5687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2" name="Google Shape;11842;g3681a448973_2_568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43" name="Google Shape;11843;g3681a448973_2_56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g3681a448973_2_5688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46" name="Google Shape;11846;g3681a448973_2_56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47" name="Google Shape;11847;g3681a448973_2_5688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8" name="Google Shape;11848;g3681a448973_2_568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9" name="Google Shape;11849;g3681a448973_2_568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11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1" name="Google Shape;11851;g3681a448973_2_5689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52" name="Google Shape;11852;g3681a448973_2_5689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53" name="Google Shape;11853;g3681a448973_2_568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4" name="Google Shape;11854;g3681a448973_2_568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5" name="Google Shape;11855;g3681a448973_2_568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56" name="Google Shape;11856;g3681a448973_2_56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g3681a448973_2_568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9" name="Google Shape;11859;g3681a448973_2_568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g3681a448973_2_568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61" name="Google Shape;11861;g3681a448973_2_568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2" name="Google Shape;11862;g3681a448973_2_568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63" name="Google Shape;11863;g3681a448973_2_5689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4" name="Google Shape;11864;g3681a448973_2_5689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5" name="Google Shape;11865;g3681a448973_2_568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66" name="Google Shape;11866;g3681a448973_2_56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11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8" name="Google Shape;11868;g3681a448973_2_5690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9" name="Google Shape;11869;g3681a448973_2_5690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70" name="Google Shape;11870;g3681a448973_2_5690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71" name="Google Shape;11871;g3681a448973_2_569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72" name="Google Shape;11872;g3681a448973_2_569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73" name="Google Shape;11873;g3681a448973_2_5690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74" name="Google Shape;11874;g3681a448973_2_5690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75" name="Google Shape;11875;g3681a448973_2_5690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76" name="Google Shape;11876;g3681a448973_2_569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1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" name="Google Shape;11878;g3681a448973_2_5691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79" name="Google Shape;11879;g3681a448973_2_5691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0" name="Google Shape;11880;g3681a448973_2_5691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81" name="Google Shape;11881;g3681a448973_2_56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2" name="Google Shape;11882;g3681a448973_2_56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83" name="Google Shape;11883;g3681a448973_2_5691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84" name="Google Shape;11884;g3681a448973_2_5691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85" name="Google Shape;11885;g3681a448973_2_5691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86" name="Google Shape;11886;g3681a448973_2_569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1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5" name="Google Shape;1275;g3681a448973_2_142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6" name="Google Shape;1276;g3681a448973_2_1426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77" name="Google Shape;1277;g3681a448973_2_1426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78" name="Google Shape;1278;g3681a448973_2_14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79" name="Google Shape;1279;g3681a448973_2_142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80" name="Google Shape;1280;g3681a448973_2_142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1" name="Google Shape;1281;g3681a448973_2_142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2" name="Google Shape;1282;g3681a448973_2_1426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3" name="Google Shape;1283;g3681a448973_2_1426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4" name="Google Shape;1284;g3681a448973_2_142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5" name="Google Shape;1285;g3681a448973_2_142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11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8" name="Google Shape;11888;g3681a448973_2_5692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9" name="Google Shape;11889;g3681a448973_2_5692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0" name="Google Shape;11890;g3681a448973_2_5692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1" name="Google Shape;11891;g3681a448973_2_5692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92" name="Google Shape;11892;g3681a448973_2_56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1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4" name="Google Shape;11894;g3681a448973_2_5693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95" name="Google Shape;11895;g3681a448973_2_56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96" name="Google Shape;11896;g3681a448973_2_5693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7" name="Google Shape;11897;g3681a448973_2_569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98" name="Google Shape;11898;g3681a448973_2_569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1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0" name="Google Shape;11900;g3681a448973_2_5694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1" name="Google Shape;11901;g3681a448973_2_5694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2" name="Google Shape;11902;g3681a448973_2_569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3" name="Google Shape;11903;g3681a448973_2_569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4" name="Google Shape;11904;g3681a448973_2_569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05" name="Google Shape;11905;g3681a448973_2_569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11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7" name="Google Shape;11907;g3681a448973_2_56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8" name="Google Shape;11908;g3681a448973_2_56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9" name="Google Shape;11909;g3681a448973_2_56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10" name="Google Shape;11910;g3681a448973_2_56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1" name="Google Shape;11911;g3681a448973_2_56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12" name="Google Shape;11912;g3681a448973_2_56947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3" name="Google Shape;11913;g3681a448973_2_56947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4" name="Google Shape;11914;g3681a448973_2_56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15" name="Google Shape;11915;g3681a448973_2_56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11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7" name="Google Shape;11917;g3681a448973_2_569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8" name="Google Shape;11918;g3681a448973_2_5695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9" name="Google Shape;11919;g3681a448973_2_5695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20" name="Google Shape;11920;g3681a448973_2_569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21" name="Google Shape;11921;g3681a448973_2_56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1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3" name="Google Shape;11923;g3681a448973_2_5696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24" name="Google Shape;11924;g3681a448973_2_56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25" name="Google Shape;11925;g3681a448973_2_5696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26" name="Google Shape;11926;g3681a448973_2_5696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27" name="Google Shape;11927;g3681a448973_2_5696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11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9" name="Google Shape;11929;g3681a448973_2_5696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30" name="Google Shape;11930;g3681a448973_2_5696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31" name="Google Shape;11931;g3681a448973_2_5696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2" name="Google Shape;11932;g3681a448973_2_5696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3" name="Google Shape;11933;g3681a448973_2_5696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4" name="Google Shape;11934;g3681a448973_2_56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11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6" name="Google Shape;11936;g3681a448973_2_5697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7" name="Google Shape;11937;g3681a448973_2_5697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38" name="Google Shape;11938;g3681a448973_2_5697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39" name="Google Shape;11939;g3681a448973_2_569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40" name="Google Shape;11940;g3681a448973_2_569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41" name="Google Shape;11941;g3681a448973_2_56976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2" name="Google Shape;11942;g3681a448973_2_56976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3" name="Google Shape;11943;g3681a448973_2_5697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44" name="Google Shape;11944;g3681a448973_2_569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11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6" name="Google Shape;11946;g3681a448973_2_569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47" name="Google Shape;11947;g3681a448973_2_5698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8" name="Google Shape;11948;g3681a448973_2_5698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9" name="Google Shape;11949;g3681a448973_2_569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50" name="Google Shape;11950;g3681a448973_2_569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11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2" name="Google Shape;11952;g3681a448973_2_5699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53" name="Google Shape;11953;g3681a448973_2_569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54" name="Google Shape;11954;g3681a448973_2_5699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5" name="Google Shape;11955;g3681a448973_2_5699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56" name="Google Shape;11956;g3681a448973_2_5699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1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7" name="Google Shape;1287;g3681a448973_2_142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88" name="Google Shape;1288;g3681a448973_2_14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9" name="Google Shape;1289;g3681a448973_2_142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90" name="Google Shape;1290;g3681a448973_2_14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1" name="Google Shape;1291;g3681a448973_2_14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92" name="Google Shape;1292;g3681a448973_2_1427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3" name="Google Shape;1293;g3681a448973_2_1427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94" name="Google Shape;1294;g3681a448973_2_1427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g3681a448973_2_142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96" name="Google Shape;1296;g3681a448973_2_142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7" name="Google Shape;1297;g3681a448973_2_142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8" name="Google Shape;1298;g3681a448973_2_14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9" name="Google Shape;1299;g3681a448973_2_14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11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8" name="Google Shape;11958;g3681a448973_2_5699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9" name="Google Shape;11959;g3681a448973_2_5699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60" name="Google Shape;11960;g3681a448973_2_569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1" name="Google Shape;11961;g3681a448973_2_569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2" name="Google Shape;11962;g3681a448973_2_569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63" name="Google Shape;11963;g3681a448973_2_569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11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5" name="Google Shape;11965;g3681a448973_2_5700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6" name="Google Shape;11966;g3681a448973_2_5700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7" name="Google Shape;11967;g3681a448973_2_5700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68" name="Google Shape;11968;g3681a448973_2_57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9" name="Google Shape;11969;g3681a448973_2_57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70" name="Google Shape;11970;g3681a448973_2_57005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1" name="Google Shape;11971;g3681a448973_2_57005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2" name="Google Shape;11972;g3681a448973_2_5700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73" name="Google Shape;11973;g3681a448973_2_570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11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5" name="Google Shape;11975;g3681a448973_2_5701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76" name="Google Shape;11976;g3681a448973_2_5701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7" name="Google Shape;11977;g3681a448973_2_5701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8" name="Google Shape;11978;g3681a448973_2_5701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79" name="Google Shape;11979;g3681a448973_2_570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11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" name="Google Shape;11981;g3681a448973_2_5702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82" name="Google Shape;11982;g3681a448973_2_57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83" name="Google Shape;11983;g3681a448973_2_5702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4" name="Google Shape;11984;g3681a448973_2_5702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85" name="Google Shape;11985;g3681a448973_2_5702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11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7" name="Google Shape;11987;g3681a448973_2_5702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8" name="Google Shape;11988;g3681a448973_2_5702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9" name="Google Shape;11989;g3681a448973_2_5702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90" name="Google Shape;11990;g3681a448973_2_5702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91" name="Google Shape;11991;g3681a448973_2_5702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92" name="Google Shape;11992;g3681a448973_2_570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11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94" name="Google Shape;11994;g3681a448973_2_570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95" name="Google Shape;11995;g3681a448973_2_5703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96" name="Google Shape;11996;g3681a448973_2_5703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97" name="Google Shape;11997;g3681a448973_2_570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98" name="Google Shape;11998;g3681a448973_2_57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11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0" name="Google Shape;12000;g3681a448973_2_5704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001" name="Google Shape;12001;g3681a448973_2_570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002" name="Google Shape;12002;g3681a448973_2_5704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3" name="Google Shape;12003;g3681a448973_2_5704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04" name="Google Shape;12004;g3681a448973_2_5704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12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6" name="Google Shape;12006;g3681a448973_2_5704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7" name="Google Shape;12007;g3681a448973_2_5704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8" name="Google Shape;12008;g3681a448973_2_5704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09" name="Google Shape;12009;g3681a448973_2_5704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10" name="Google Shape;12010;g3681a448973_2_5704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011" name="Google Shape;12011;g3681a448973_2_57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12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3" name="Google Shape;12013;g3681a448973_2_5705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14" name="Google Shape;12014;g3681a448973_2_5705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15" name="Google Shape;12015;g3681a448973_2_5705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16" name="Google Shape;12016;g3681a448973_2_5705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017" name="Google Shape;12017;g3681a448973_2_5705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2018" name="Google Shape;12018;g3681a448973_2_57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19" name="Google Shape;12019;g3681a448973_2_5705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020" name="Google Shape;12020;g3681a448973_2_57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12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22" name="Google Shape;12022;g3681a448973_2_5706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2023" name="Google Shape;12023;g3681a448973_2_5706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24" name="Google Shape;12024;g3681a448973_2_570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25" name="Google Shape;12025;g3681a448973_2_5706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026" name="Google Shape;12026;g3681a448973_2_57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027" name="Google Shape;12027;g3681a448973_2_5706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28" name="Google Shape;12028;g3681a448973_2_5706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1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1" name="Google Shape;1301;g3681a448973_2_142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02" name="Google Shape;1302;g3681a448973_2_142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3" name="Google Shape;1303;g3681a448973_2_142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04" name="Google Shape;1304;g3681a448973_2_142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5" name="Google Shape;1305;g3681a448973_2_142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06" name="Google Shape;1306;g3681a448973_2_14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g3681a448973_2_142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8" name="Google Shape;1308;g3681a448973_2_142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9" name="Google Shape;1309;g3681a448973_2_142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1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0" name="Google Shape;12030;g3681a448973_2_570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031" name="Google Shape;12031;g3681a448973_2_5707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032" name="Google Shape;12032;g3681a448973_2_570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033" name="Google Shape;12033;g3681a448973_2_570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34" name="Google Shape;12034;g3681a448973_2_570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35" name="Google Shape;12035;g3681a448973_2_570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036" name="Google Shape;12036;g3681a448973_2_570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12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8" name="Google Shape;12038;g3681a448973_2_5707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39" name="Google Shape;12039;g3681a448973_2_570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40" name="Google Shape;12040;g3681a448973_2_570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41" name="Google Shape;12041;g3681a448973_2_570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42" name="Google Shape;12042;g3681a448973_2_57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43" name="Google Shape;12043;g3681a448973_2_57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44" name="Google Shape;12044;g3681a448973_2_570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45" name="Google Shape;12045;g3681a448973_2_57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46" name="Google Shape;12046;g3681a448973_2_570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47" name="Google Shape;12047;g3681a448973_2_57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48" name="Google Shape;12048;g3681a448973_2_57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49" name="Google Shape;12049;g3681a448973_2_570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12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51" name="Google Shape;12051;g3681a448973_2_570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52" name="Google Shape;12052;g3681a448973_2_57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53" name="Google Shape;12053;g3681a448973_2_570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54" name="Google Shape;12054;g3681a448973_2_570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55" name="Google Shape;12055;g3681a448973_2_570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56" name="Google Shape;12056;g3681a448973_2_570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7" name="Google Shape;12057;g3681a448973_2_570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58" name="Google Shape;12058;g3681a448973_2_570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59" name="Google Shape;12059;g3681a448973_2_570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60" name="Google Shape;12060;g3681a448973_2_570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12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62" name="Google Shape;12062;g3681a448973_2_57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3" name="Google Shape;12063;g3681a448973_2_57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064" name="Google Shape;12064;g3681a448973_2_5710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65" name="Google Shape;12065;g3681a448973_2_57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66" name="Google Shape;12066;g3681a448973_2_571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67" name="Google Shape;12067;g3681a448973_2_57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68" name="Google Shape;12068;g3681a448973_2_57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69" name="Google Shape;12069;g3681a448973_2_57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70" name="Google Shape;12070;g3681a448973_2_57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1" name="Google Shape;12071;g3681a448973_2_57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72" name="Google Shape;12072;g3681a448973_2_57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12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74" name="Google Shape;12074;g3681a448973_2_571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75" name="Google Shape;12075;g3681a448973_2_57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76" name="Google Shape;12076;g3681a448973_2_571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77" name="Google Shape;12077;g3681a448973_2_57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78" name="Google Shape;12078;g3681a448973_2_57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79" name="Google Shape;12079;g3681a448973_2_57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80" name="Google Shape;12080;g3681a448973_2_57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081" name="Google Shape;12081;g3681a448973_2_57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2" name="Google Shape;12082;g3681a448973_2_57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083" name="Google Shape;12083;g3681a448973_2_57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4" name="Google Shape;12084;g3681a448973_2_57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85" name="Google Shape;12085;g3681a448973_2_57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6" name="Google Shape;12086;g3681a448973_2_57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12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88" name="Google Shape;12088;g3681a448973_2_571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89" name="Google Shape;12089;g3681a448973_2_57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90" name="Google Shape;12090;g3681a448973_2_571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91" name="Google Shape;12091;g3681a448973_2_57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92" name="Google Shape;12092;g3681a448973_2_57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93" name="Google Shape;12093;g3681a448973_2_57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94" name="Google Shape;12094;g3681a448973_2_57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5" name="Google Shape;12095;g3681a448973_2_57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96" name="Google Shape;12096;g3681a448973_2_57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12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98" name="Google Shape;12098;g3681a448973_2_571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099" name="Google Shape;12099;g3681a448973_2_571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00" name="Google Shape;12100;g3681a448973_2_571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01" name="Google Shape;12101;g3681a448973_2_5713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02" name="Google Shape;12102;g3681a448973_2_571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03" name="Google Shape;12103;g3681a448973_2_571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104" name="Google Shape;12104;g3681a448973_2_571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105" name="Google Shape;12105;g3681a448973_2_571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12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07" name="Google Shape;12107;g3681a448973_2_57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08" name="Google Shape;12108;g3681a448973_2_57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9" name="Google Shape;12109;g3681a448973_2_57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0" name="Google Shape;12110;g3681a448973_2_571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111" name="Google Shape;12111;g3681a448973_2_57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2" name="Google Shape;12112;g3681a448973_2_571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113" name="Google Shape;12113;g3681a448973_2_57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14" name="Google Shape;12114;g3681a448973_2_57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1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6" name="Google Shape;12116;g3681a448973_2_57156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117" name="Google Shape;12117;g3681a448973_2_57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118" name="Google Shape;12118;g3681a448973_2_57156"/>
          <p:cNvGrpSpPr/>
          <p:nvPr/>
        </p:nvGrpSpPr>
        <p:grpSpPr>
          <a:xfrm>
            <a:off x="0" y="0"/>
            <a:ext cx="1862644" cy="6629629"/>
            <a:chOff x="-15876" y="0"/>
            <a:chExt cx="1927803" cy="6858001"/>
          </a:xfrm>
        </p:grpSpPr>
        <p:sp>
          <p:nvSpPr>
            <p:cNvPr id="12119" name="Google Shape;12119;g3681a448973_2_57156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120" name="Google Shape;12120;g3681a448973_2_57156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2121" name="Google Shape;12121;g3681a448973_2_57156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2" name="Google Shape;12122;g3681a448973_2_57156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3" name="Google Shape;12123;g3681a448973_2_57156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4" name="Google Shape;12124;g3681a448973_2_57156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12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26" name="Google Shape;12126;g3681a448973_2_57166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27" name="Google Shape;12127;g3681a448973_2_5716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8" name="Google Shape;12128;g3681a448973_2_5716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9" name="Google Shape;12129;g3681a448973_2_5716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30" name="Google Shape;12130;g3681a448973_2_571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131" name="Google Shape;12131;g3681a448973_2_5716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1" name="Google Shape;1311;g3681a448973_2_142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12" name="Google Shape;1312;g3681a448973_2_142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3" name="Google Shape;1313;g3681a448973_2_142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14" name="Google Shape;1314;g3681a448973_2_1429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5" name="Google Shape;1315;g3681a448973_2_1429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g3681a448973_2_142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17" name="Google Shape;1317;g3681a448973_2_14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18" name="Google Shape;1318;g3681a448973_2_142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12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33" name="Google Shape;12133;g3681a448973_2_5717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134" name="Google Shape;12134;g3681a448973_2_57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5" name="Google Shape;12135;g3681a448973_2_571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136" name="Google Shape;12136;g3681a448973_2_57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7" name="Google Shape;12137;g3681a448973_2_57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138" name="Google Shape;12138;g3681a448973_2_571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9" name="Google Shape;12139;g3681a448973_2_571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40" name="Google Shape;12140;g3681a448973_2_57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41" name="Google Shape;12141;g3681a448973_2_57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42" name="Google Shape;12142;g3681a448973_2_57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2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44" name="Google Shape;12144;g3681a448973_2_571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145" name="Google Shape;12145;g3681a448973_2_5718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146" name="Google Shape;12146;g3681a448973_2_571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147" name="Google Shape;12147;g3681a448973_2_571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48" name="Google Shape;12148;g3681a448973_2_571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49" name="Google Shape;12149;g3681a448973_2_571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150" name="Google Shape;12150;g3681a448973_2_571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1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52" name="Google Shape;12152;g3681a448973_2_571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53" name="Google Shape;12153;g3681a448973_2_57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154" name="Google Shape;12154;g3681a448973_2_5719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55" name="Google Shape;12155;g3681a448973_2_5719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 2">
    <p:spTree>
      <p:nvGrpSpPr>
        <p:cNvPr id="1" name="Shape 12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57" name="Google Shape;12157;g3681a448973_2_57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1" cy="6856475"/>
          </a:xfrm>
          <a:prstGeom prst="rect">
            <a:avLst/>
          </a:prstGeom>
          <a:noFill/>
          <a:ln>
            <a:noFill/>
          </a:ln>
        </p:spPr>
      </p:pic>
      <p:sp>
        <p:nvSpPr>
          <p:cNvPr id="12158" name="Google Shape;12158;g3681a448973_2_57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59" name="Google Shape;12159;g3681a448973_2_57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60" name="Google Shape;12160;g3681a448973_2_57197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12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62" name="Google Shape;12162;g3681a448973_2_572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3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2163" name="Google Shape;12163;g3681a448973_2_572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64" name="Google Shape;12164;g3681a448973_2_57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65" name="Google Shape;12165;g3681a448973_2_57202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2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67" name="Google Shape;12167;g3681a448973_2_57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12168" name="Google Shape;12168;g3681a448973_2_57207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69" name="Google Shape;12169;g3681a448973_2_57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70" name="Google Shape;12170;g3681a448973_2_57207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2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72" name="Google Shape;12172;g3681a448973_2_57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73" name="Google Shape;12173;g3681a448973_2_572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74" name="Google Shape;12174;g3681a448973_2_57212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75" name="Google Shape;12175;g3681a448973_2_5721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12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77" name="Google Shape;12177;g3681a448973_2_572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78" name="Google Shape;12178;g3681a448973_2_572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79" name="Google Shape;12179;g3681a448973_2_57217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80" name="Google Shape;12180;g3681a448973_2_57217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12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2" name="Google Shape;12182;g3681a448973_2_57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83" name="Google Shape;12183;g3681a448973_2_572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84" name="Google Shape;12184;g3681a448973_2_57222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85" name="Google Shape;12185;g3681a448973_2_5722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1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7" name="Google Shape;12187;g3681a448973_2_572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7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2188" name="Google Shape;12188;g3681a448973_2_57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89" name="Google Shape;12189;g3681a448973_2_57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90" name="Google Shape;12190;g3681a448973_2_5722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g3681a448973_2_143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1" name="Google Shape;1321;g3681a448973_2_14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2" name="Google Shape;1322;g3681a448973_2_14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3" name="Google Shape;1323;g3681a448973_2_143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24" name="Google Shape;1324;g3681a448973_2_14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5" name="Google Shape;1325;g3681a448973_2_143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26" name="Google Shape;1326;g3681a448973_2_14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7" name="Google Shape;1327;g3681a448973_2_14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2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92" name="Google Shape;12192;g3681a448973_2_57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193" name="Google Shape;12193;g3681a448973_2_572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4" name="Google Shape;12194;g3681a448973_2_572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5" name="Google Shape;12195;g3681a448973_2_572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2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97" name="Google Shape;12197;g3681a448973_2_57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98" name="Google Shape;12198;g3681a448973_2_572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2">
    <p:spTree>
      <p:nvGrpSpPr>
        <p:cNvPr id="1" name="Shape 12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0" name="Google Shape;12200;g3681a448973_2_5724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01" name="Google Shape;12201;g3681a448973_2_5724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02" name="Google Shape;12202;g3681a448973_2_5724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03" name="Google Shape;12203;g3681a448973_2_572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04" name="Google Shape;12204;g3681a448973_2_572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05" name="Google Shape;12205;g3681a448973_2_572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06" name="Google Shape;12206;g3681a448973_2_57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1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8" name="Google Shape;12208;g3681a448973_2_57248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9" name="Google Shape;12209;g3681a448973_2_5724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0" name="Google Shape;12210;g3681a448973_2_5724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1" name="Google Shape;12211;g3681a448973_2_57248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12" name="Google Shape;12212;g3681a448973_2_57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12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4" name="Google Shape;12214;g3681a448973_2_5725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215" name="Google Shape;12215;g3681a448973_2_57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216" name="Google Shape;12216;g3681a448973_2_5725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7" name="Google Shape;12217;g3681a448973_2_57254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18" name="Google Shape;12218;g3681a448973_2_57254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12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20" name="Google Shape;12220;g3681a448973_2_5726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1" name="Google Shape;12221;g3681a448973_2_5726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2" name="Google Shape;12222;g3681a448973_2_57260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23" name="Google Shape;12223;g3681a448973_2_57260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24" name="Google Shape;12224;g3681a448973_2_57260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5" name="Google Shape;12225;g3681a448973_2_572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12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27" name="Google Shape;12227;g3681a448973_2_57267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8" name="Google Shape;12228;g3681a448973_2_57267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9" name="Google Shape;12229;g3681a448973_2_57267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30" name="Google Shape;12230;g3681a448973_2_57267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31" name="Google Shape;12231;g3681a448973_2_572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32" name="Google Shape;12232;g3681a448973_2_5726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12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34" name="Google Shape;12234;g3681a448973_2_57274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35" name="Google Shape;12235;g3681a448973_2_57274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2236" name="Google Shape;12236;g3681a448973_2_572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37" name="Google Shape;12237;g3681a448973_2_57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38" name="Google Shape;12238;g3681a448973_2_57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12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0" name="Google Shape;12240;g3681a448973_2_57280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41" name="Google Shape;12241;g3681a448973_2_57280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2242" name="Google Shape;12242;g3681a448973_2_57280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2243" name="Google Shape;12243;g3681a448973_2_5728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44" name="Google Shape;12244;g3681a448973_2_572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45" name="Google Shape;12245;g3681a448973_2_57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12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" name="Google Shape;12247;g3681a448973_2_5728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8" name="Google Shape;12248;g3681a448973_2_5728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49" name="Google Shape;12249;g3681a448973_2_5728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50" name="Google Shape;12250;g3681a448973_2_5728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51" name="Google Shape;12251;g3681a448973_2_5728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52" name="Google Shape;12252;g3681a448973_2_5728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53" name="Google Shape;12253;g3681a448973_2_57287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54" name="Google Shape;12254;g3681a448973_2_57287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55" name="Google Shape;12255;g3681a448973_2_57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1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" name="Google Shape;1329;g3681a448973_2_1431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0" name="Google Shape;1330;g3681a448973_2_1431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1" name="Google Shape;1331;g3681a448973_2_1431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32" name="Google Shape;1332;g3681a448973_2_14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33" name="Google Shape;1333;g3681a448973_2_1431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34" name="Google Shape;1334;g3681a448973_2_14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5" name="Google Shape;1335;g3681a448973_2_14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36" name="Google Shape;1336;g3681a448973_2_14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12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57" name="Google Shape;12257;g3681a448973_2_572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258" name="Google Shape;12258;g3681a448973_2_572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259" name="Google Shape;12259;g3681a448973_2_572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260" name="Google Shape;12260;g3681a448973_2_572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61" name="Google Shape;12261;g3681a448973_2_572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62" name="Google Shape;12262;g3681a448973_2_5729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3" name="Google Shape;12263;g3681a448973_2_5729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64" name="Google Shape;12264;g3681a448973_2_572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5" name="Google Shape;12265;g3681a448973_2_572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66" name="Google Shape;12266;g3681a448973_2_5729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3">
    <p:spTree>
      <p:nvGrpSpPr>
        <p:cNvPr id="1" name="Shape 1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8" name="Google Shape;12268;g3681a448973_2_5730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69" name="Google Shape;12269;g3681a448973_2_5730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70" name="Google Shape;12270;g3681a448973_2_5730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71" name="Google Shape;12271;g3681a448973_2_573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72" name="Google Shape;12272;g3681a448973_2_573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73" name="Google Shape;12273;g3681a448973_2_573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74" name="Google Shape;12274;g3681a448973_2_573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4">
    <p:spTree>
      <p:nvGrpSpPr>
        <p:cNvPr id="1" name="Shape 12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76" name="Google Shape;12276;g3681a448973_2_5731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77" name="Google Shape;12277;g3681a448973_2_5731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78" name="Google Shape;12278;g3681a448973_2_5731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79" name="Google Shape;12279;g3681a448973_2_573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80" name="Google Shape;12280;g3681a448973_2_573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81" name="Google Shape;12281;g3681a448973_2_573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82" name="Google Shape;12282;g3681a448973_2_573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12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4" name="Google Shape;12284;g3681a448973_2_57324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85" name="Google Shape;12285;g3681a448973_2_57324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86" name="Google Shape;12286;g3681a448973_2_5732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87" name="Google Shape;12287;g3681a448973_2_57324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88" name="Google Shape;12288;g3681a448973_2_5732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89" name="Google Shape;12289;g3681a448973_2_5732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90" name="Google Shape;12290;g3681a448973_2_57324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91" name="Google Shape;12291;g3681a448973_2_57324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92" name="Google Shape;12292;g3681a448973_2_573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12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4" name="Google Shape;12294;g3681a448973_2_57334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95" name="Google Shape;12295;g3681a448973_2_57334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96" name="Google Shape;12296;g3681a448973_2_5733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97" name="Google Shape;12297;g3681a448973_2_57334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98" name="Google Shape;12298;g3681a448973_2_5733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9" name="Google Shape;12299;g3681a448973_2_5733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300" name="Google Shape;12300;g3681a448973_2_57334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01" name="Google Shape;12301;g3681a448973_2_57334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302" name="Google Shape;12302;g3681a448973_2_57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0_Quotation">
  <p:cSld name="60_Quotation">
    <p:spTree>
      <p:nvGrpSpPr>
        <p:cNvPr id="1" name="Shape 12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4" name="Google Shape;12304;g3681a448973_2_5734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5" name="Google Shape;12305;g3681a448973_2_5734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06" name="Google Shape;12306;g3681a448973_2_573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07" name="Google Shape;12307;g3681a448973_2_573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08" name="Google Shape;12308;g3681a448973_2_57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09" name="Google Shape;12309;g3681a448973_2_57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10" name="Google Shape;12310;g3681a448973_2_573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11" name="Google Shape;12311;g3681a448973_2_57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12" name="Google Shape;12312;g3681a448973_2_573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13" name="Google Shape;12313;g3681a448973_2_57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14" name="Google Shape;12314;g3681a448973_2_57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15" name="Google Shape;12315;g3681a448973_2_573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12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7" name="Google Shape;12317;g3681a448973_2_573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8" name="Google Shape;12318;g3681a448973_2_573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19" name="Google Shape;12319;g3681a448973_2_573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0" name="Google Shape;12320;g3681a448973_2_573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21" name="Google Shape;12321;g3681a448973_2_57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22" name="Google Shape;12322;g3681a448973_2_57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23" name="Google Shape;12323;g3681a448973_2_573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24" name="Google Shape;12324;g3681a448973_2_57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25" name="Google Shape;12325;g3681a448973_2_573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26" name="Google Shape;12326;g3681a448973_2_57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7" name="Google Shape;12327;g3681a448973_2_57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28" name="Google Shape;12328;g3681a448973_2_573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12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30" name="Google Shape;12330;g3681a448973_2_5737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31" name="Google Shape;12331;g3681a448973_2_5737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2" name="Google Shape;12332;g3681a448973_2_5737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333" name="Google Shape;12333;g3681a448973_2_57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334" name="Google Shape;12334;g3681a448973_2_5737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335" name="Google Shape;12335;g3681a448973_2_573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36" name="Google Shape;12336;g3681a448973_2_5737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337" name="Google Shape;12337;g3681a448973_2_57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1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39" name="Google Shape;12339;g3681a448973_2_5737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340" name="Google Shape;12340;g3681a448973_2_573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41" name="Google Shape;12341;g3681a448973_2_573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42" name="Google Shape;12342;g3681a448973_2_573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343" name="Google Shape;12343;g3681a448973_2_57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344" name="Google Shape;12344;g3681a448973_2_5737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45" name="Google Shape;12345;g3681a448973_2_5737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 5">
    <p:spTree>
      <p:nvGrpSpPr>
        <p:cNvPr id="1" name="Shape 12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7" name="Google Shape;12347;g3681a448973_2_5738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348" name="Google Shape;12348;g3681a448973_2_5738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349" name="Google Shape;12349;g3681a448973_2_5738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350" name="Google Shape;12350;g3681a448973_2_5738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51" name="Google Shape;12351;g3681a448973_2_5738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352" name="Google Shape;12352;g3681a448973_2_5738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353" name="Google Shape;12353;g3681a448973_2_573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1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8" name="Google Shape;1338;g3681a448973_2_1432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39" name="Google Shape;1339;g3681a448973_2_143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0" name="Google Shape;1340;g3681a448973_2_143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1" name="Google Shape;1341;g3681a448973_2_143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2" name="Google Shape;1342;g3681a448973_2_14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43" name="Google Shape;1343;g3681a448973_2_1432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4" name="Google Shape;1344;g3681a448973_2_1432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12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5" name="Google Shape;12355;g3681a448973_2_5739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6" name="Google Shape;12356;g3681a448973_2_573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7" name="Google Shape;12357;g3681a448973_2_573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58" name="Google Shape;12358;g3681a448973_2_573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59" name="Google Shape;12359;g3681a448973_2_57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60" name="Google Shape;12360;g3681a448973_2_57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61" name="Google Shape;12361;g3681a448973_2_573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62" name="Google Shape;12362;g3681a448973_2_57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63" name="Google Shape;12363;g3681a448973_2_573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64" name="Google Shape;12364;g3681a448973_2_57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65" name="Google Shape;12365;g3681a448973_2_57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66" name="Google Shape;12366;g3681a448973_2_5739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3_Quotation">
  <p:cSld name="63_Quotation">
    <p:spTree>
      <p:nvGrpSpPr>
        <p:cNvPr id="1" name="Shape 12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8" name="Google Shape;12368;g3681a448973_2_574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69" name="Google Shape;12369;g3681a448973_2_574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70" name="Google Shape;12370;g3681a448973_2_57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1" name="Google Shape;12371;g3681a448973_2_574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72" name="Google Shape;12372;g3681a448973_2_57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73" name="Google Shape;12373;g3681a448973_2_57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74" name="Google Shape;12374;g3681a448973_2_574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75" name="Google Shape;12375;g3681a448973_2_57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76" name="Google Shape;12376;g3681a448973_2_574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77" name="Google Shape;12377;g3681a448973_2_57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78" name="Google Shape;12378;g3681a448973_2_57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79" name="Google Shape;12379;g3681a448973_2_574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 2">
    <p:spTree>
      <p:nvGrpSpPr>
        <p:cNvPr id="1" name="Shape 1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81" name="Google Shape;12381;g3681a448973_2_574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82" name="Google Shape;12382;g3681a448973_2_57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83" name="Google Shape;12383;g3681a448973_2_574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84" name="Google Shape;12384;g3681a448973_2_57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85" name="Google Shape;12385;g3681a448973_2_57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386" name="Google Shape;12386;g3681a448973_2_57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7" name="Google Shape;12387;g3681a448973_2_574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88" name="Google Shape;12388;g3681a448973_2_574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9" name="Google Shape;12389;g3681a448973_2_57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0" name="Google Shape;12390;g3681a448973_2_57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12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2" name="Google Shape;12392;g3681a448973_2_574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93" name="Google Shape;12393;g3681a448973_2_5743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394" name="Google Shape;12394;g3681a448973_2_574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95" name="Google Shape;12395;g3681a448973_2_574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96" name="Google Shape;12396;g3681a448973_2_574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97" name="Google Shape;12397;g3681a448973_2_574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98" name="Google Shape;12398;g3681a448973_2_574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399" name="Google Shape;12399;g3681a448973_2_5743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00" name="Google Shape;12400;g3681a448973_2_5743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01" name="Google Shape;12401;g3681a448973_2_574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02" name="Google Shape;12402;g3681a448973_2_574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12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04" name="Google Shape;12404;g3681a448973_2_574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05" name="Google Shape;12405;g3681a448973_2_57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06" name="Google Shape;12406;g3681a448973_2_574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07" name="Google Shape;12407;g3681a448973_2_57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08" name="Google Shape;12408;g3681a448973_2_57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409" name="Google Shape;12409;g3681a448973_2_574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10" name="Google Shape;12410;g3681a448973_2_5744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411" name="Google Shape;12411;g3681a448973_2_5744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12" name="Google Shape;12412;g3681a448973_2_574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413" name="Google Shape;12413;g3681a448973_2_574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14" name="Google Shape;12414;g3681a448973_2_574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15" name="Google Shape;12415;g3681a448973_2_57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16" name="Google Shape;12416;g3681a448973_2_57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1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18" name="Google Shape;12418;g3681a448973_2_574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19" name="Google Shape;12419;g3681a448973_2_574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0" name="Google Shape;12420;g3681a448973_2_574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21" name="Google Shape;12421;g3681a448973_2_574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22" name="Google Shape;12422;g3681a448973_2_574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423" name="Google Shape;12423;g3681a448973_2_574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24" name="Google Shape;12424;g3681a448973_2_5745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25" name="Google Shape;12425;g3681a448973_2_574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26" name="Google Shape;12426;g3681a448973_2_574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12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28" name="Google Shape;12428;g3681a448973_2_574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429" name="Google Shape;12429;g3681a448973_2_574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30" name="Google Shape;12430;g3681a448973_2_574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431" name="Google Shape;12431;g3681a448973_2_5746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32" name="Google Shape;12432;g3681a448973_2_5746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3" name="Google Shape;12433;g3681a448973_2_574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34" name="Google Shape;12434;g3681a448973_2_574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435" name="Google Shape;12435;g3681a448973_2_574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12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7" name="Google Shape;12437;g3681a448973_2_574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38" name="Google Shape;12438;g3681a448973_2_574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39" name="Google Shape;12439;g3681a448973_2_574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40" name="Google Shape;12440;g3681a448973_2_574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41" name="Google Shape;12441;g3681a448973_2_57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42" name="Google Shape;12442;g3681a448973_2_574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43" name="Google Shape;12443;g3681a448973_2_574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4" name="Google Shape;12444;g3681a448973_2_574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2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46" name="Google Shape;12446;g3681a448973_2_574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47" name="Google Shape;12447;g3681a448973_2_574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448" name="Google Shape;12448;g3681a448973_2_57486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9" name="Google Shape;12449;g3681a448973_2_574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12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51" name="Google Shape;12451;g3681a448973_2_574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12452" name="Google Shape;12452;g3681a448973_2_57491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3" name="Google Shape;12453;g3681a448973_2_57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54" name="Google Shape;12454;g3681a448973_2_57491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6" name="Google Shape;1346;g3681a448973_2_1433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47" name="Google Shape;1347;g3681a448973_2_1433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48" name="Google Shape;1348;g3681a448973_2_1433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49" name="Google Shape;1349;g3681a448973_2_143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0" name="Google Shape;1350;g3681a448973_2_143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1" name="Google Shape;1351;g3681a448973_2_143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352" name="Google Shape;1352;g3681a448973_2_143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12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56" name="Google Shape;12456;g3681a448973_2_574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57" name="Google Shape;12457;g3681a448973_2_5749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458" name="Google Shape;12458;g3681a448973_2_5749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59" name="Google Shape;12459;g3681a448973_2_5749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1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61" name="Google Shape;12461;g3681a448973_2_57501"/>
          <p:cNvPicPr preferRelativeResize="0"/>
          <p:nvPr/>
        </p:nvPicPr>
        <p:blipFill rotWithShape="1">
          <a:blip r:embed="rId2">
            <a:alphaModFix/>
          </a:blip>
          <a:srcRect t="12180" r="12171"/>
          <a:stretch/>
        </p:blipFill>
        <p:spPr>
          <a:xfrm>
            <a:off x="1524" y="0"/>
            <a:ext cx="1219047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62" name="Google Shape;12462;g3681a448973_2_57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63" name="Google Shape;12463;g3681a448973_2_575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4" name="Google Shape;12464;g3681a448973_2_5750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12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66" name="Google Shape;12466;g3681a448973_2_575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67" name="Google Shape;12467;g3681a448973_2_5750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68" name="Google Shape;12468;g3681a448973_2_5750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69" name="Google Shape;12469;g3681a448973_2_5750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1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71" name="Google Shape;12471;g3681a448973_2_575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72" name="Google Shape;12472;g3681a448973_2_575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2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74" name="Google Shape;12474;g3681a448973_2_575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75" name="Google Shape;12475;g3681a448973_2_575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476" name="Google Shape;12476;g3681a448973_2_57514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77" name="Google Shape;12477;g3681a448973_2_5751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12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9" name="Google Shape;12479;g3681a448973_2_57519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0" name="Google Shape;12480;g3681a448973_2_57519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81" name="Google Shape;12481;g3681a448973_2_5751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2" name="Google Shape;12482;g3681a448973_2_57519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83" name="Google Shape;12483;g3681a448973_2_5751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84" name="Google Shape;12484;g3681a448973_2_5751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485" name="Google Shape;12485;g3681a448973_2_57519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86" name="Google Shape;12486;g3681a448973_2_5751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487" name="Google Shape;12487;g3681a448973_2_575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12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9" name="Google Shape;12489;g3681a448973_2_57529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90" name="Google Shape;12490;g3681a448973_2_57529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91" name="Google Shape;12491;g3681a448973_2_5752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92" name="Google Shape;12492;g3681a448973_2_57529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93" name="Google Shape;12493;g3681a448973_2_5752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4" name="Google Shape;12494;g3681a448973_2_5752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495" name="Google Shape;12495;g3681a448973_2_57529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96" name="Google Shape;12496;g3681a448973_2_5752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497" name="Google Shape;12497;g3681a448973_2_575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4_Quotation">
  <p:cSld name="64_Quotation">
    <p:spTree>
      <p:nvGrpSpPr>
        <p:cNvPr id="1" name="Shape 12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9" name="Google Shape;12499;g3681a448973_2_5753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00" name="Google Shape;12500;g3681a448973_2_575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01" name="Google Shape;12501;g3681a448973_2_575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2" name="Google Shape;12502;g3681a448973_2_575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03" name="Google Shape;12503;g3681a448973_2_575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04" name="Google Shape;12504;g3681a448973_2_575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05" name="Google Shape;12505;g3681a448973_2_575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06" name="Google Shape;12506;g3681a448973_2_575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07" name="Google Shape;12507;g3681a448973_2_575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08" name="Google Shape;12508;g3681a448973_2_575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09" name="Google Shape;12509;g3681a448973_2_575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10" name="Google Shape;12510;g3681a448973_2_575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12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2" name="Google Shape;12512;g3681a448973_2_5755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13" name="Google Shape;12513;g3681a448973_2_575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4" name="Google Shape;12514;g3681a448973_2_575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15" name="Google Shape;12515;g3681a448973_2_575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6" name="Google Shape;12516;g3681a448973_2_575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17" name="Google Shape;12517;g3681a448973_2_575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18" name="Google Shape;12518;g3681a448973_2_5755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19" name="Google Shape;12519;g3681a448973_2_57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20" name="Google Shape;12520;g3681a448973_2_575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21" name="Google Shape;12521;g3681a448973_2_575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22" name="Google Shape;12522;g3681a448973_2_575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23" name="Google Shape;12523;g3681a448973_2_5755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12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5" name="Google Shape;12525;g3681a448973_2_5756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26" name="Google Shape;12526;g3681a448973_2_575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7" name="Google Shape;12527;g3681a448973_2_575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528" name="Google Shape;12528;g3681a448973_2_575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529" name="Google Shape;12529;g3681a448973_2_575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2530" name="Google Shape;12530;g3681a448973_2_575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1" name="Google Shape;12531;g3681a448973_2_575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532" name="Google Shape;12532;g3681a448973_2_575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3681a448973_2_1312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" name="Google Shape;141;g3681a448973_2_1312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g3681a448973_2_1312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3" name="Google Shape;143;g3681a448973_2_131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" name="Google Shape;144;g3681a448973_2_1312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45" name="Google Shape;145;g3681a448973_2_13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g3681a448973_2_131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g3681a448973_2_13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4" name="Google Shape;1354;g3681a448973_2_143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55" name="Google Shape;1355;g3681a448973_2_143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6" name="Google Shape;1356;g3681a448973_2_143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57" name="Google Shape;1357;g3681a448973_2_143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8" name="Google Shape;1358;g3681a448973_2_143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9" name="Google Shape;1359;g3681a448973_2_143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0" name="Google Shape;1360;g3681a448973_2_143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1" name="Google Shape;1361;g3681a448973_2_143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2" name="Google Shape;1362;g3681a448973_2_143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3" name="Google Shape;1363;g3681a448973_2_14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12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34" name="Google Shape;12534;g3681a448973_2_5757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2535" name="Google Shape;12535;g3681a448973_2_5757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6" name="Google Shape;12536;g3681a448973_2_575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7" name="Google Shape;12537;g3681a448973_2_5757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538" name="Google Shape;12538;g3681a448973_2_575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539" name="Google Shape;12539;g3681a448973_2_5757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40" name="Google Shape;12540;g3681a448973_2_5757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12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2" name="Google Shape;12542;g3681a448973_2_575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543" name="Google Shape;12543;g3681a448973_2_5758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544" name="Google Shape;12544;g3681a448973_2_575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545" name="Google Shape;12545;g3681a448973_2_575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46" name="Google Shape;12546;g3681a448973_2_575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547" name="Google Shape;12547;g3681a448973_2_575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548" name="Google Shape;12548;g3681a448973_2_57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12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50" name="Google Shape;12550;g3681a448973_2_5759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51" name="Google Shape;12551;g3681a448973_2_575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52" name="Google Shape;12552;g3681a448973_2_575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53" name="Google Shape;12553;g3681a448973_2_575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54" name="Google Shape;12554;g3681a448973_2_575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55" name="Google Shape;12555;g3681a448973_2_575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56" name="Google Shape;12556;g3681a448973_2_575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57" name="Google Shape;12557;g3681a448973_2_575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8" name="Google Shape;12558;g3681a448973_2_575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59" name="Google Shape;12559;g3681a448973_2_575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60" name="Google Shape;12560;g3681a448973_2_575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61" name="Google Shape;12561;g3681a448973_2_575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Quotation">
  <p:cSld name="67_Quotation">
    <p:spTree>
      <p:nvGrpSpPr>
        <p:cNvPr id="1" name="Shape 12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3" name="Google Shape;12563;g3681a448973_2_5760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64" name="Google Shape;12564;g3681a448973_2_576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65" name="Google Shape;12565;g3681a448973_2_576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66" name="Google Shape;12566;g3681a448973_2_57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67" name="Google Shape;12567;g3681a448973_2_57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68" name="Google Shape;12568;g3681a448973_2_57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69" name="Google Shape;12569;g3681a448973_2_576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70" name="Google Shape;12570;g3681a448973_2_57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71" name="Google Shape;12571;g3681a448973_2_576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72" name="Google Shape;12572;g3681a448973_2_57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3" name="Google Shape;12573;g3681a448973_2_57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74" name="Google Shape;12574;g3681a448973_2_576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12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76" name="Google Shape;12576;g3681a448973_2_576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77" name="Google Shape;12577;g3681a448973_2_57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78" name="Google Shape;12578;g3681a448973_2_576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79" name="Google Shape;12579;g3681a448973_2_57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80" name="Google Shape;12580;g3681a448973_2_57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581" name="Google Shape;12581;g3681a448973_2_57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2" name="Google Shape;12582;g3681a448973_2_576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83" name="Google Shape;12583;g3681a448973_2_57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84" name="Google Shape;12584;g3681a448973_2_57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85" name="Google Shape;12585;g3681a448973_2_57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12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87" name="Google Shape;12587;g3681a448973_2_576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8" name="Google Shape;12588;g3681a448973_2_576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589" name="Google Shape;12589;g3681a448973_2_5762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90" name="Google Shape;12590;g3681a448973_2_57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91" name="Google Shape;12591;g3681a448973_2_576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92" name="Google Shape;12592;g3681a448973_2_576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93" name="Google Shape;12593;g3681a448973_2_576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594" name="Google Shape;12594;g3681a448973_2_576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95" name="Google Shape;12595;g3681a448973_2_576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96" name="Google Shape;12596;g3681a448973_2_576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97" name="Google Shape;12597;g3681a448973_2_576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12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99" name="Google Shape;12599;g3681a448973_2_576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00" name="Google Shape;12600;g3681a448973_2_57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01" name="Google Shape;12601;g3681a448973_2_576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02" name="Google Shape;12602;g3681a448973_2_57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03" name="Google Shape;12603;g3681a448973_2_57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04" name="Google Shape;12604;g3681a448973_2_57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05" name="Google Shape;12605;g3681a448973_2_5763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606" name="Google Shape;12606;g3681a448973_2_5763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07" name="Google Shape;12607;g3681a448973_2_5763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608" name="Google Shape;12608;g3681a448973_2_5763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09" name="Google Shape;12609;g3681a448973_2_576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10" name="Google Shape;12610;g3681a448973_2_57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11" name="Google Shape;12611;g3681a448973_2_57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12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13" name="Google Shape;12613;g3681a448973_2_5765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14" name="Google Shape;12614;g3681a448973_2_57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15" name="Google Shape;12615;g3681a448973_2_576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16" name="Google Shape;12616;g3681a448973_2_576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17" name="Google Shape;12617;g3681a448973_2_576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18" name="Google Shape;12618;g3681a448973_2_576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9" name="Google Shape;12619;g3681a448973_2_576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20" name="Google Shape;12620;g3681a448973_2_576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21" name="Google Shape;12621;g3681a448973_2_576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12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23" name="Google Shape;12623;g3681a448973_2_5766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624" name="Google Shape;12624;g3681a448973_2_5766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25" name="Google Shape;12625;g3681a448973_2_5766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626" name="Google Shape;12626;g3681a448973_2_5766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27" name="Google Shape;12627;g3681a448973_2_5766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28" name="Google Shape;12628;g3681a448973_2_5766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29" name="Google Shape;12629;g3681a448973_2_576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0" name="Google Shape;12630;g3681a448973_2_576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12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2" name="Google Shape;12632;g3681a448973_2_57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33" name="Google Shape;12633;g3681a448973_2_57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34" name="Google Shape;12634;g3681a448973_2_57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635" name="Google Shape;12635;g3681a448973_2_576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36" name="Google Shape;12636;g3681a448973_2_57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37" name="Google Shape;12637;g3681a448973_2_576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38" name="Google Shape;12638;g3681a448973_2_57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39" name="Google Shape;12639;g3681a448973_2_57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1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5" name="Google Shape;1365;g3681a448973_2_143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6" name="Google Shape;1366;g3681a448973_2_1435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67" name="Google Shape;1367;g3681a448973_2_1435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68" name="Google Shape;1368;g3681a448973_2_14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9" name="Google Shape;1369;g3681a448973_2_1435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70" name="Google Shape;1370;g3681a448973_2_14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1" name="Google Shape;1371;g3681a448973_2_14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2" name="Google Shape;1372;g3681a448973_2_1435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3" name="Google Shape;1373;g3681a448973_2_1435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4" name="Google Shape;1374;g3681a448973_2_14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5" name="Google Shape;1375;g3681a448973_2_14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12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41" name="Google Shape;12641;g3681a448973_2_57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42" name="Google Shape;12642;g3681a448973_2_57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643" name="Google Shape;12643;g3681a448973_2_576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44" name="Google Shape;12644;g3681a448973_2_57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45" name="Google Shape;12645;g3681a448973_2_576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46" name="Google Shape;12646;g3681a448973_2_57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47" name="Google Shape;12647;g3681a448973_2_57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48" name="Google Shape;12648;g3681a448973_2_57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49" name="Google Shape;12649;g3681a448973_2_57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50" name="Google Shape;12650;g3681a448973_2_57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51" name="Google Shape;12651;g3681a448973_2_57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12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653" name="Google Shape;12653;g3681a448973_2_57693"/>
          <p:cNvCxnSpPr/>
          <p:nvPr/>
        </p:nvCxnSpPr>
        <p:spPr>
          <a:xfrm>
            <a:off x="2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2654" name="Google Shape;12654;g3681a448973_2_57693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55" name="Google Shape;12655;g3681a448973_2_57693"/>
          <p:cNvSpPr/>
          <p:nvPr/>
        </p:nvSpPr>
        <p:spPr>
          <a:xfrm>
            <a:off x="9815334" y="5955178"/>
            <a:ext cx="2376600" cy="90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6" name="Google Shape;12656;g3681a448973_2_57693"/>
          <p:cNvSpPr/>
          <p:nvPr/>
        </p:nvSpPr>
        <p:spPr>
          <a:xfrm>
            <a:off x="9815334" y="77979"/>
            <a:ext cx="2376600" cy="9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57" name="Google Shape;12657;g3681a448973_2_57693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12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659" name="Google Shape;12659;g3681a448973_2_57699"/>
          <p:cNvCxnSpPr/>
          <p:nvPr/>
        </p:nvCxnSpPr>
        <p:spPr>
          <a:xfrm>
            <a:off x="1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2660" name="Google Shape;12660;g3681a448973_2_57699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1" name="Google Shape;12661;g3681a448973_2_57699"/>
          <p:cNvSpPr/>
          <p:nvPr/>
        </p:nvSpPr>
        <p:spPr>
          <a:xfrm>
            <a:off x="9815333" y="5694745"/>
            <a:ext cx="2376600" cy="1163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2" name="Google Shape;12662;g3681a448973_2_57699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00" cy="49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2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52" name="Google Shape;12752;p4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753" name="Google Shape;12753;p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54" name="Google Shape;12754;p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55" name="Google Shape;12755;p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756" name="Google Shape;1275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757" name="Google Shape;12757;p4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58" name="Google Shape;12758;p4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2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0" name="Google Shape;12760;p83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1" name="Google Shape;12761;p83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62" name="Google Shape;12762;p83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763" name="Google Shape;12763;p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764" name="Google Shape;12764;p83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765" name="Google Shape;12765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66" name="Google Shape;12766;p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767" name="Google Shape;12767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 type="obj">
  <p:cSld name="OBJECT">
    <p:spTree>
      <p:nvGrpSpPr>
        <p:cNvPr id="1" name="Shape 12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9" name="Google Shape;12769;p84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70" name="Google Shape;12770;p8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71" name="Google Shape;12771;p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2" name="Google Shape;12772;p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73" name="Google Shape;12773;p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4" name="Google Shape;12774;p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75" name="Google Shape;12775;p8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776" name="Google Shape;12776;p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777" name="Google Shape;12777;p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778" name="Google Shape;12778;p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79" name="Google Shape;12779;p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780" name="Google Shape;12780;p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2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82" name="Google Shape;12782;p85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83" name="Google Shape;12783;p8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4" name="Google Shape;12784;p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85" name="Google Shape;12785;p8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86" name="Google Shape;12786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87" name="Google Shape;12787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8" name="Google Shape;12788;p8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789" name="Google Shape;12789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790" name="Google Shape;12790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791" name="Google Shape;12791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92" name="Google Shape;12792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793" name="Google Shape;12793;p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12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95" name="Google Shape;12795;p8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796" name="Google Shape;12796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797" name="Google Shape;12797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798" name="Google Shape;12798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99" name="Google Shape;12799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00" name="Google Shape;12800;p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1" name="Google Shape;12801;p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02" name="Google Shape;12802;p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03" name="Google Shape;12803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04" name="Google Shape;12804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2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6" name="Google Shape;12806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7" name="Google Shape;12807;p8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808" name="Google Shape;12808;p8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809" name="Google Shape;12809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10" name="Google Shape;12810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1" name="Google Shape;12811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12" name="Google Shape;12812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13" name="Google Shape;12813;p8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14" name="Google Shape;12814;p8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15" name="Google Shape;12815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16" name="Google Shape;12816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2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18" name="Google Shape;12818;p8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819" name="Google Shape;12819;p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820" name="Google Shape;12820;p8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821" name="Google Shape;12821;p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22" name="Google Shape;12822;p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823" name="Google Shape;12823;p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2824" name="Google Shape;12824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1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7" name="Google Shape;1377;g3681a448973_2_1436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78" name="Google Shape;1378;g3681a448973_2_14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9" name="Google Shape;1379;g3681a448973_2_143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80" name="Google Shape;1380;g3681a448973_2_14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1" name="Google Shape;1381;g3681a448973_2_14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2" name="Google Shape;1382;g3681a448973_2_1436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g3681a448973_2_1436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84" name="Google Shape;1384;g3681a448973_2_1436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5" name="Google Shape;1385;g3681a448973_2_1436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86" name="Google Shape;1386;g3681a448973_2_1436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7" name="Google Shape;1387;g3681a448973_2_143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8" name="Google Shape;1388;g3681a448973_2_14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9" name="Google Shape;1389;g3681a448973_2_14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2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26" name="Google Shape;12826;p8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827" name="Google Shape;12827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28" name="Google Shape;12828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29" name="Google Shape;12829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30" name="Google Shape;12830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31" name="Google Shape;12831;p8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32" name="Google Shape;12832;p8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833" name="Google Shape;12833;p8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34" name="Google Shape;12834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835" name="Google Shape;12835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36" name="Google Shape;12836;p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37" name="Google Shape;12837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38" name="Google Shape;12838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12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0" name="Google Shape;12840;p90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41" name="Google Shape;12841;p9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42" name="Google Shape;12842;p9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843" name="Google Shape;12843;p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844" name="Google Shape;12844;p9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845" name="Google Shape;12845;p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46" name="Google Shape;12846;p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847" name="Google Shape;12847;p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12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49" name="Google Shape;12849;p9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850" name="Google Shape;12850;p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51" name="Google Shape;12851;p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52" name="Google Shape;12852;p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853" name="Google Shape;12853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854" name="Google Shape;12854;p9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55" name="Google Shape;12855;p9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12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7" name="Google Shape;12857;p9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858" name="Google Shape;12858;p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859" name="Google Shape;12859;p9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860" name="Google Shape;12860;p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61" name="Google Shape;12861;p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862" name="Google Shape;12862;p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2863" name="Google Shape;12863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5" name="Google Shape;12865;p9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6" name="Google Shape;12866;p9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67" name="Google Shape;12867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68" name="Google Shape;12868;p9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69" name="Google Shape;12869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70" name="Google Shape;12870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871" name="Google Shape;12871;p9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872" name="Google Shape;12872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73" name="Google Shape;12873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74" name="Google Shape;12874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75" name="Google Shape;12875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76" name="Google Shape;12876;p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78" name="Google Shape;12878;p9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879" name="Google Shape;12879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80" name="Google Shape;12880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81" name="Google Shape;12881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82" name="Google Shape;12882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83" name="Google Shape;12883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84" name="Google Shape;12884;p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5" name="Google Shape;12885;p9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86" name="Google Shape;12886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87" name="Google Shape;12887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2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89" name="Google Shape;12889;p95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0" name="Google Shape;12890;p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91" name="Google Shape;12891;p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92" name="Google Shape;12892;p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3" name="Google Shape;12893;p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94" name="Google Shape;12894;p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895" name="Google Shape;12895;p9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896" name="Google Shape;12896;p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97" name="Google Shape;12897;p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98" name="Google Shape;12898;p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99" name="Google Shape;12899;p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00" name="Google Shape;12900;p9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2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" name="Google Shape;12902;p96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3" name="Google Shape;12903;p96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2904" name="Google Shape;12904;p96"/>
          <p:cNvGrpSpPr/>
          <p:nvPr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12905" name="Google Shape;12905;p96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06" name="Google Shape;12906;p96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2907" name="Google Shape;12907;p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12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9" name="Google Shape;12909;p97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10" name="Google Shape;12910;p9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11" name="Google Shape;12911;p9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912" name="Google Shape;1291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913" name="Google Shape;12913;p9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914" name="Google Shape;1291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15" name="Google Shape;1291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916" name="Google Shape;1291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12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18" name="Google Shape;12918;p9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919" name="Google Shape;1291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20" name="Google Shape;1292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21" name="Google Shape;1292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922" name="Google Shape;1292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923" name="Google Shape;12923;p9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24" name="Google Shape;12924;p9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1" name="Google Shape;1391;g3681a448973_2_143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92" name="Google Shape;1392;g3681a448973_2_14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3" name="Google Shape;1393;g3681a448973_2_143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94" name="Google Shape;1394;g3681a448973_2_14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5" name="Google Shape;1395;g3681a448973_2_14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6" name="Google Shape;1396;g3681a448973_2_143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7" name="Google Shape;1397;g3681a448973_2_143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8" name="Google Shape;1398;g3681a448973_2_14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9" name="Google Shape;1399;g3681a448973_2_14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12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6" name="Google Shape;12926;p9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927" name="Google Shape;12927;p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928" name="Google Shape;12928;p9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929" name="Google Shape;12929;p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30" name="Google Shape;12930;p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931" name="Google Shape;12931;p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2932" name="Google Shape;12932;p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34" name="Google Shape;12934;p100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35" name="Google Shape;12935;p10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36" name="Google Shape;12936;p1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37" name="Google Shape;12937;p10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38" name="Google Shape;12938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39" name="Google Shape;12939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40" name="Google Shape;12940;p10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41" name="Google Shape;12941;p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42" name="Google Shape;12942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3" name="Google Shape;12943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44" name="Google Shape;12944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45" name="Google Shape;12945;p1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12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47" name="Google Shape;12947;p101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48" name="Google Shape;12948;p10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49" name="Google Shape;1294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0" name="Google Shape;12950;p10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51" name="Google Shape;1295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52" name="Google Shape;1295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53" name="Google Shape;12953;p10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54" name="Google Shape;1295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55" name="Google Shape;1295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56" name="Google Shape;1295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7" name="Google Shape;1295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58" name="Google Shape;12958;p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12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60" name="Google Shape;12960;p10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61" name="Google Shape;12961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62" name="Google Shape;12962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63" name="Google Shape;12963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64" name="Google Shape;12964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965" name="Google Shape;12965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6" name="Google Shape;12966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7" name="Google Shape;12967;p1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68" name="Google Shape;12968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69" name="Google Shape;12969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12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71" name="Google Shape;12971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72" name="Google Shape;12972;p10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973" name="Google Shape;12973;p10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74" name="Google Shape;12974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75" name="Google Shape;12975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76" name="Google Shape;12976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77" name="Google Shape;12977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978" name="Google Shape;12978;p10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79" name="Google Shape;12979;p10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80" name="Google Shape;12980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81" name="Google Shape;12981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12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83" name="Google Shape;12983;p10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84" name="Google Shape;12984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85" name="Google Shape;12985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86" name="Google Shape;12986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87" name="Google Shape;12987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988" name="Google Shape;12988;p10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89" name="Google Shape;12989;p10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990" name="Google Shape;12990;p10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91" name="Google Shape;12991;p10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992" name="Google Shape;12992;p10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93" name="Google Shape;12993;p1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94" name="Google Shape;12994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95" name="Google Shape;12995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2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97" name="Google Shape;12997;p10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2998" name="Google Shape;12998;p1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99" name="Google Shape;12999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00" name="Google Shape;13000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01" name="Google Shape;13001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002" name="Google Shape;13002;p1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3" name="Google Shape;13003;p1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04" name="Google Shape;13004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05" name="Google Shape;13005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130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07" name="Google Shape;13007;p10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008" name="Google Shape;13008;p10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09" name="Google Shape;13009;p10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010" name="Google Shape;13010;p106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11" name="Google Shape;13011;p10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2" name="Google Shape;13012;p10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13" name="Google Shape;13013;p1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014" name="Google Shape;13014;p1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16" name="Google Shape;13016;p1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17" name="Google Shape;13017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18" name="Google Shape;13018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19" name="Google Shape;13019;p10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020" name="Google Shape;13020;p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21" name="Google Shape;13021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22" name="Google Shape;13022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23" name="Google Shape;13023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13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25" name="Google Shape;13025;p108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26" name="Google Shape;13026;p10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27" name="Google Shape;13027;p10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028" name="Google Shape;13028;p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029" name="Google Shape;13029;p10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030" name="Google Shape;13030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31" name="Google Shape;13031;p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032" name="Google Shape;13032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g3681a448973_2_143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02" name="Google Shape;1402;g3681a448973_2_143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g3681a448973_2_143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4" name="Google Shape;1404;g3681a448973_2_1438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5" name="Google Shape;1405;g3681a448973_2_1438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g3681a448973_2_143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07" name="Google Shape;1407;g3681a448973_2_143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08" name="Google Shape;1408;g3681a448973_2_143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13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34" name="Google Shape;13034;p10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035" name="Google Shape;13035;p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36" name="Google Shape;13036;p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37" name="Google Shape;13037;p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038" name="Google Shape;13038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039" name="Google Shape;13039;p10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40" name="Google Shape;13040;p10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13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2" name="Google Shape;13042;p11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043" name="Google Shape;13043;p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044" name="Google Shape;13044;p11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045" name="Google Shape;13045;p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46" name="Google Shape;13046;p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047" name="Google Shape;13047;p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048" name="Google Shape;13048;p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13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0" name="Google Shape;13050;p111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51" name="Google Shape;13051;p11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52" name="Google Shape;13052;p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53" name="Google Shape;13053;p11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54" name="Google Shape;1305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55" name="Google Shape;1305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56" name="Google Shape;13056;p11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057" name="Google Shape;1305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58" name="Google Shape;1305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59" name="Google Shape;1305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60" name="Google Shape;1306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61" name="Google Shape;13061;p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13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63" name="Google Shape;13063;p11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064" name="Google Shape;13064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5" name="Google Shape;13065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66" name="Google Shape;13066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67" name="Google Shape;13067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068" name="Google Shape;13068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69" name="Google Shape;13069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70" name="Google Shape;13070;p1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71" name="Google Shape;13071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72" name="Google Shape;13072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13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74" name="Google Shape;13074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5" name="Google Shape;13075;p11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076" name="Google Shape;13076;p11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077" name="Google Shape;13077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78" name="Google Shape;13078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9" name="Google Shape;13079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0" name="Google Shape;13080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081" name="Google Shape;13081;p11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82" name="Google Shape;13082;p11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83" name="Google Shape;13083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84" name="Google Shape;13084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13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86" name="Google Shape;13086;p11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087" name="Google Shape;13087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88" name="Google Shape;13088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89" name="Google Shape;13089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90" name="Google Shape;13090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091" name="Google Shape;13091;p11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2" name="Google Shape;13092;p11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093" name="Google Shape;13093;p11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94" name="Google Shape;13094;p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095" name="Google Shape;13095;p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96" name="Google Shape;13096;p11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97" name="Google Shape;13097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98" name="Google Shape;13098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13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00" name="Google Shape;13100;p11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01" name="Google Shape;13101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02" name="Google Shape;13102;p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03" name="Google Shape;13103;p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04" name="Google Shape;13104;p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105" name="Google Shape;13105;p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6" name="Google Shape;13106;p1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07" name="Google Shape;13107;p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08" name="Google Shape;13108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13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10" name="Google Shape;13110;p1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111" name="Google Shape;13111;p1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12" name="Google Shape;13112;p1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113" name="Google Shape;13113;p116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4" name="Google Shape;13114;p11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15" name="Google Shape;13115;p1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116" name="Google Shape;13116;p1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117" name="Google Shape;13117;p1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13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9" name="Google Shape;13119;p1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20" name="Google Shape;13120;p1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21" name="Google Shape;131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22" name="Google Shape;13122;p11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23" name="Google Shape;13123;p1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24" name="Google Shape;13124;p1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25" name="Google Shape;13125;p1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26" name="Google Shape;13126;p1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13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28" name="Google Shape;13128;p118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9" name="Google Shape;13129;p11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0" name="Google Shape;13130;p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31" name="Google Shape;13131;p11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32" name="Google Shape;13132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33" name="Google Shape;13133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34" name="Google Shape;13134;p11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35" name="Google Shape;13135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36" name="Google Shape;13136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37" name="Google Shape;13137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38" name="Google Shape;13138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139" name="Google Shape;13139;p1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Google Shape;1410;g3681a448973_2_143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1" name="Google Shape;1411;g3681a448973_2_14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2" name="Google Shape;1412;g3681a448973_2_14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13" name="Google Shape;1413;g3681a448973_2_143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14" name="Google Shape;1414;g3681a448973_2_14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5" name="Google Shape;1415;g3681a448973_2_143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16" name="Google Shape;1416;g3681a448973_2_14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7" name="Google Shape;1417;g3681a448973_2_14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3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1" name="Google Shape;13141;p1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42" name="Google Shape;13142;p119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43" name="Google Shape;13143;p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44" name="Google Shape;13144;p1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45" name="Google Shape;13145;p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3146" name="Google Shape;13146;p11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47" name="Google Shape;13147;p11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48" name="Google Shape;13148;p11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9" name="Google Shape;13149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50" name="Google Shape;13150;p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51" name="Google Shape;13151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120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54" name="Google Shape;13154;p12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55" name="Google Shape;13155;p1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56" name="Google Shape;13156;p12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7" name="Google Shape;13157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58" name="Google Shape;13158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59" name="Google Shape;13159;p12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60" name="Google Shape;13160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61" name="Google Shape;13161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62" name="Google Shape;13162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63" name="Google Shape;13163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164" name="Google Shape;13164;p1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13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66" name="Google Shape;13166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67" name="Google Shape;13167;p12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168" name="Google Shape;13168;p12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69" name="Google Shape;13169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70" name="Google Shape;13170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71" name="Google Shape;13171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72" name="Google Shape;13172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173" name="Google Shape;13173;p12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74" name="Google Shape;13174;p12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75" name="Google Shape;13175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76" name="Google Shape;13176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13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78" name="Google Shape;13178;p12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79" name="Google Shape;13179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80" name="Google Shape;13180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81" name="Google Shape;13181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82" name="Google Shape;13182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183" name="Google Shape;13183;p12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84" name="Google Shape;13184;p12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185" name="Google Shape;13185;p12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86" name="Google Shape;13186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187" name="Google Shape;13187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88" name="Google Shape;13188;p1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89" name="Google Shape;13189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90" name="Google Shape;13190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13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92" name="Google Shape;13192;p12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193" name="Google Shape;13193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4" name="Google Shape;13194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95" name="Google Shape;13195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96" name="Google Shape;13196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197" name="Google Shape;13197;p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8" name="Google Shape;13198;p12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99" name="Google Shape;13199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00" name="Google Shape;13200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13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02" name="Google Shape;13202;p1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203" name="Google Shape;13203;p1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04" name="Google Shape;13204;p1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205" name="Google Shape;13205;p124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06" name="Google Shape;13206;p12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07" name="Google Shape;13207;p1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08" name="Google Shape;13208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209" name="Google Shape;13209;p1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3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" name="Google Shape;13211;p1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12" name="Google Shape;13212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13" name="Google Shape;13213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14" name="Google Shape;13214;p12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15" name="Google Shape;13215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16" name="Google Shape;13216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17" name="Google Shape;13217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8" name="Google Shape;13218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13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20" name="Google Shape;13220;p126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1" name="Google Shape;13221;p12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22" name="Google Shape;13222;p12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223" name="Google Shape;13223;p1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224" name="Google Shape;13224;p12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225" name="Google Shape;13225;p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26" name="Google Shape;13226;p1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227" name="Google Shape;13227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13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29" name="Google Shape;13229;p12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230" name="Google Shape;13230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31" name="Google Shape;13231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32" name="Google Shape;13232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233" name="Google Shape;13233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34" name="Google Shape;13234;p12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35" name="Google Shape;13235;p12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13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7" name="Google Shape;13237;p128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38" name="Google Shape;13238;p12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39" name="Google Shape;13239;p12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240" name="Google Shape;13240;p1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241" name="Google Shape;13241;p12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242" name="Google Shape;13242;p1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43" name="Google Shape;13243;p1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244" name="Google Shape;13244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TITLE">
    <p:spTree>
      <p:nvGrpSpPr>
        <p:cNvPr id="1" name="Shape 1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9" name="Google Shape;1419;g3681a448973_2_1440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0" name="Google Shape;1420;g3681a448973_2_1440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21" name="Google Shape;1421;g3681a448973_2_1440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22" name="Google Shape;1422;g3681a448973_2_144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3" name="Google Shape;1423;g3681a448973_2_144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13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46" name="Google Shape;13246;p12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47" name="Google Shape;13247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48" name="Google Shape;13248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49" name="Google Shape;13249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50" name="Google Shape;13250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251" name="Google Shape;13251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52" name="Google Shape;13252;p1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53" name="Google Shape;13253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54" name="Google Shape;13254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13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56" name="Google Shape;13256;p13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257" name="Google Shape;13257;p13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58" name="Google Shape;13258;p13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259" name="Google Shape;13259;p130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60" name="Google Shape;13260;p13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61" name="Google Shape;13261;p13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62" name="Google Shape;13262;p1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263" name="Google Shape;13263;p1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13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65" name="Google Shape;13265;p13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266" name="Google Shape;13266;p13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67" name="Google Shape;13267;p1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68" name="Google Shape;13268;p13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269" name="Google Shape;13269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70" name="Google Shape;13270;p13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71" name="Google Shape;13271;p13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1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73" name="Google Shape;13273;p13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274" name="Google Shape;13274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275" name="Google Shape;13275;p13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276" name="Google Shape;13276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77" name="Google Shape;13277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278" name="Google Shape;13278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279" name="Google Shape;13279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13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1" name="Google Shape;13281;p13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2" name="Google Shape;13282;p13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83" name="Google Shape;13283;p1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84" name="Google Shape;13284;p13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5" name="Google Shape;13285;p1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86" name="Google Shape;13286;p1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87" name="Google Shape;13287;p13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288" name="Google Shape;13288;p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89" name="Google Shape;13289;p1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90" name="Google Shape;13290;p1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91" name="Google Shape;13291;p1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92" name="Google Shape;13292;p1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13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4" name="Google Shape;13294;p134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95" name="Google Shape;13295;p13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96" name="Google Shape;13296;p1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97" name="Google Shape;13297;p13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98" name="Google Shape;13298;p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9" name="Google Shape;13299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0" name="Google Shape;13300;p13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01" name="Google Shape;13301;p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02" name="Google Shape;13302;p1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03" name="Google Shape;13303;p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04" name="Google Shape;13304;p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05" name="Google Shape;13305;p1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13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07" name="Google Shape;13307;p13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08" name="Google Shape;13308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09" name="Google Shape;13309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10" name="Google Shape;13310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11" name="Google Shape;13311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12" name="Google Shape;13312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13" name="Google Shape;13313;p1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14" name="Google Shape;13314;p13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15" name="Google Shape;13315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16" name="Google Shape;13316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13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8" name="Google Shape;13318;p1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19" name="Google Shape;13319;p13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320" name="Google Shape;13320;p13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21" name="Google Shape;13321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2" name="Google Shape;13322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23" name="Google Shape;13323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24" name="Google Shape;13324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25" name="Google Shape;13325;p13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26" name="Google Shape;13326;p13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27" name="Google Shape;13327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28" name="Google Shape;13328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13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30" name="Google Shape;13330;p13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31" name="Google Shape;13331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32" name="Google Shape;13332;p1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3" name="Google Shape;13333;p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34" name="Google Shape;13334;p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35" name="Google Shape;13335;p13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36" name="Google Shape;13336;p137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337" name="Google Shape;13337;p137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38" name="Google Shape;13338;p1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339" name="Google Shape;13339;p1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40" name="Google Shape;13340;p13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41" name="Google Shape;13341;p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42" name="Google Shape;13342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13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44" name="Google Shape;13344;p13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45" name="Google Shape;13345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46" name="Google Shape;13346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47" name="Google Shape;13347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8" name="Google Shape;13348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49" name="Google Shape;13349;p1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0" name="Google Shape;13350;p1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51" name="Google Shape;13351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52" name="Google Shape;13352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5" name="Google Shape;1425;g3681a448973_2_1441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6" name="Google Shape;1426;g3681a448973_2_1441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7" name="Google Shape;1427;g3681a448973_2_144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28" name="Google Shape;1428;g3681a448973_2_144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9" name="Google Shape;1429;g3681a448973_2_144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0" name="Google Shape;1430;g3681a448973_2_14411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1" name="Google Shape;1431;g3681a448973_2_14411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g3681a448973_2_1441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3" name="Google Shape;1433;g3681a448973_2_14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13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54" name="Google Shape;13354;p1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355" name="Google Shape;13355;p1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56" name="Google Shape;13356;p1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357" name="Google Shape;13357;p139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58" name="Google Shape;13358;p13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59" name="Google Shape;13359;p1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360" name="Google Shape;13360;p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361" name="Google Shape;13361;p1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13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63" name="Google Shape;13363;p1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64" name="Google Shape;13364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65" name="Google Shape;13365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66" name="Google Shape;13366;p14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67" name="Google Shape;13367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68" name="Google Shape;13368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69" name="Google Shape;13369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70" name="Google Shape;13370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13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2" name="Google Shape;13372;p141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73" name="Google Shape;13373;p14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74" name="Google Shape;13374;p14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375" name="Google Shape;1337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376" name="Google Shape;13376;p14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377" name="Google Shape;1337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78" name="Google Shape;1337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379" name="Google Shape;13379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13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81" name="Google Shape;13381;p14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382" name="Google Shape;1338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83" name="Google Shape;1338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84" name="Google Shape;1338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385" name="Google Shape;13385;p1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386" name="Google Shape;13386;p14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87" name="Google Shape;13387;p14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13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9" name="Google Shape;13389;p14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0" name="Google Shape;13390;p14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1" name="Google Shape;13391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2" name="Google Shape;13392;p14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93" name="Google Shape;13393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94" name="Google Shape;13394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95" name="Google Shape;13395;p14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396" name="Google Shape;13396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97" name="Google Shape;13397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98" name="Google Shape;13398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99" name="Google Shape;13399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00" name="Google Shape;13400;p1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13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02" name="Google Shape;13402;p1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03" name="Google Shape;13403;p1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04" name="Google Shape;13404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05" name="Google Shape;13405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06" name="Google Shape;13406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07" name="Google Shape;13407;p1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08" name="Google Shape;13408;p1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9" name="Google Shape;13409;p1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10" name="Google Shape;13410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11" name="Google Shape;13411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13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3" name="Google Shape;13413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14" name="Google Shape;13414;p14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415" name="Google Shape;13415;p14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16" name="Google Shape;13416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17" name="Google Shape;13417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18" name="Google Shape;13418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19" name="Google Shape;13419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20" name="Google Shape;13420;p14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21" name="Google Shape;13421;p14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22" name="Google Shape;13422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23" name="Google Shape;13423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13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25" name="Google Shape;13425;p14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26" name="Google Shape;13426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27" name="Google Shape;13427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28" name="Google Shape;13428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9" name="Google Shape;13429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30" name="Google Shape;13430;p14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31" name="Google Shape;13431;p14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32" name="Google Shape;13432;p14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33" name="Google Shape;13433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34" name="Google Shape;13434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35" name="Google Shape;13435;p14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36" name="Google Shape;13436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37" name="Google Shape;13437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13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39" name="Google Shape;13439;p14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440" name="Google Shape;13440;p14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441" name="Google Shape;13441;p14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442" name="Google Shape;13442;p14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43" name="Google Shape;13443;p14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444" name="Google Shape;13444;p14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445" name="Google Shape;13445;p1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13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47" name="Google Shape;13447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448" name="Google Shape;13448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49" name="Google Shape;13449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450" name="Google Shape;13450;p148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51" name="Google Shape;13451;p14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2" name="Google Shape;13452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53" name="Google Shape;13453;p1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454" name="Google Shape;13454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" name="Google Shape;1435;g3681a448973_2_1442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6" name="Google Shape;1436;g3681a448973_2_1442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7" name="Google Shape;1437;g3681a448973_2_144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8" name="Google Shape;1438;g3681a448973_2_14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9" name="Google Shape;1439;g3681a448973_2_14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0" name="Google Shape;1440;g3681a448973_2_14421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g3681a448973_2_14421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" name="Google Shape;1442;g3681a448973_2_1442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3" name="Google Shape;1443;g3681a448973_2_144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13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6" name="Google Shape;13456;p14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57" name="Google Shape;13457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58" name="Google Shape;13458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459" name="Google Shape;13459;p14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60" name="Google Shape;13460;p1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61" name="Google Shape;13461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62" name="Google Shape;13462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63" name="Google Shape;13463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13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5" name="Google Shape;13465;p15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66" name="Google Shape;13466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67" name="Google Shape;13467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68" name="Google Shape;13468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69" name="Google Shape;13469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70" name="Google Shape;13470;p1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71" name="Google Shape;13471;p1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72" name="Google Shape;13472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73" name="Google Shape;13473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13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75" name="Google Shape;13475;p151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76" name="Google Shape;13476;p15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77" name="Google Shape;13477;p15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78" name="Google Shape;13478;p1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79" name="Google Shape;13479;p15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480" name="Google Shape;13480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1" name="Google Shape;13481;p1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82" name="Google Shape;13482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13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84" name="Google Shape;13484;p15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485" name="Google Shape;13485;p1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6" name="Google Shape;13486;p1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7" name="Google Shape;13487;p1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88" name="Google Shape;13488;p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489" name="Google Shape;13489;p15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0" name="Google Shape;13490;p15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13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92" name="Google Shape;13492;p15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93" name="Google Shape;13493;p15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4" name="Google Shape;13494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95" name="Google Shape;13495;p1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96" name="Google Shape;13496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97" name="Google Shape;13497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498" name="Google Shape;13498;p15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499" name="Google Shape;13499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00" name="Google Shape;13500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01" name="Google Shape;13501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02" name="Google Shape;13502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503" name="Google Shape;13503;p1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13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05" name="Google Shape;13505;p15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06" name="Google Shape;13506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07" name="Google Shape;13507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08" name="Google Shape;13508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09" name="Google Shape;13509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10" name="Google Shape;13510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11" name="Google Shape;13511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12" name="Google Shape;13512;p15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13" name="Google Shape;1351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14" name="Google Shape;1351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13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" name="Google Shape;13516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17" name="Google Shape;13517;p15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518" name="Google Shape;13518;p15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19" name="Google Shape;13519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20" name="Google Shape;13520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21" name="Google Shape;13521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22" name="Google Shape;13522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23" name="Google Shape;13523;p15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24" name="Google Shape;13524;p15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25" name="Google Shape;13525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26" name="Google Shape;13526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13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28" name="Google Shape;13528;p15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29" name="Google Shape;13529;p1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30" name="Google Shape;13530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31" name="Google Shape;13531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32" name="Google Shape;13532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33" name="Google Shape;13533;p15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34" name="Google Shape;13534;p15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535" name="Google Shape;13535;p15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36" name="Google Shape;13536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537" name="Google Shape;13537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38" name="Google Shape;13538;p1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39" name="Google Shape;13539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40" name="Google Shape;13540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13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2" name="Google Shape;13542;p15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43" name="Google Shape;13543;p15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44" name="Google Shape;13544;p15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545" name="Google Shape;13545;p15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46" name="Google Shape;13546;p15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47" name="Google Shape;13547;p15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548" name="Google Shape;13548;p1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13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0" name="Google Shape;13550;p158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51" name="Google Shape;13551;p15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2" name="Google Shape;13552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53" name="Google Shape;13553;p15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54" name="Google Shape;13554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55" name="Google Shape;13555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556" name="Google Shape;13556;p15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57" name="Google Shape;13557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58" name="Google Shape;13558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59" name="Google Shape;13559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60" name="Google Shape;13560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561" name="Google Shape;13561;p1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5" name="Google Shape;1445;g3681a448973_2_14431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g3681a448973_2_1443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" name="Google Shape;1447;g3681a448973_2_1443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" name="Google Shape;1448;g3681a448973_2_14431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9" name="Google Shape;1449;g3681a448973_2_14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13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63" name="Google Shape;13563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564" name="Google Shape;13564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65" name="Google Shape;13565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66" name="Google Shape;13566;p159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7" name="Google Shape;13567;p15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68" name="Google Shape;13568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569" name="Google Shape;13569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570" name="Google Shape;13570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13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2" name="Google Shape;13572;p1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73" name="Google Shape;13573;p1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74" name="Google Shape;13574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575" name="Google Shape;13575;p16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76" name="Google Shape;13576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77" name="Google Shape;13577;p1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78" name="Google Shape;13578;p1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79" name="Google Shape;13579;p1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13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81" name="Google Shape;13581;p16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582" name="Google Shape;13582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83" name="Google Shape;13583;p1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84" name="Google Shape;13584;p1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85" name="Google Shape;13585;p1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86" name="Google Shape;13586;p1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7" name="Google Shape;13587;p16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88" name="Google Shape;13588;p1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89" name="Google Shape;13589;p1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13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1" name="Google Shape;13591;p16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92" name="Google Shape;13592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93" name="Google Shape;13593;p16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594" name="Google Shape;13594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95" name="Google Shape;13595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6" name="Google Shape;13596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597" name="Google Shape;13597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1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9" name="Google Shape;13599;p16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00" name="Google Shape;13600;p16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01" name="Google Shape;13601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02" name="Google Shape;13602;p1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03" name="Google Shape;13603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04" name="Google Shape;13604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05" name="Google Shape;13605;p16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06" name="Google Shape;13606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07" name="Google Shape;13607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08" name="Google Shape;13608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09" name="Google Shape;13609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610" name="Google Shape;13610;p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13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12" name="Google Shape;13612;p16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13" name="Google Shape;13613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14" name="Google Shape;13614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15" name="Google Shape;13615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16" name="Google Shape;13616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617" name="Google Shape;13617;p1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18" name="Google Shape;13618;p1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19" name="Google Shape;13619;p1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20" name="Google Shape;13620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21" name="Google Shape;13621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13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3" name="Google Shape;13623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24" name="Google Shape;13624;p16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625" name="Google Shape;13625;p16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26" name="Google Shape;13626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27" name="Google Shape;13627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28" name="Google Shape;13628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29" name="Google Shape;13629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630" name="Google Shape;13630;p16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31" name="Google Shape;13631;p16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32" name="Google Shape;13632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33" name="Google Shape;13633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13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35" name="Google Shape;13635;p16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36" name="Google Shape;13636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37" name="Google Shape;13637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38" name="Google Shape;13638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39" name="Google Shape;13639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640" name="Google Shape;13640;p16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1" name="Google Shape;13641;p16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642" name="Google Shape;13642;p16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3" name="Google Shape;13643;p1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644" name="Google Shape;13644;p1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5" name="Google Shape;13645;p1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46" name="Google Shape;13646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47" name="Google Shape;13647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136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49" name="Google Shape;13649;p16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50" name="Google Shape;13650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51" name="Google Shape;13651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52" name="Google Shape;13652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53" name="Google Shape;13653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654" name="Google Shape;13654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55" name="Google Shape;13655;p1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56" name="Google Shape;13656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57" name="Google Shape;13657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1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59" name="Google Shape;13659;p1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660" name="Google Shape;13660;p1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61" name="Google Shape;13661;p1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662" name="Google Shape;13662;p168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63" name="Google Shape;13663;p16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64" name="Google Shape;13664;p1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65" name="Google Shape;13665;p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666" name="Google Shape;13666;p1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" name="Google Shape;149;g3681a448973_2_1313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50" name="Google Shape;150;g3681a448973_2_1313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151;g3681a448973_2_131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g3681a448973_2_1313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3" name="Google Shape;153;g3681a448973_2_13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4" name="Google Shape;154;g3681a448973_2_1313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g3681a448973_2_1313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1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1" name="Google Shape;1451;g3681a448973_2_1443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2" name="Google Shape;1452;g3681a448973_2_144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53" name="Google Shape;1453;g3681a448973_2_1443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g3681a448973_2_14437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g3681a448973_2_14437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13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8" name="Google Shape;13668;p16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9" name="Google Shape;13669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0" name="Google Shape;13670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71" name="Google Shape;13671;p16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72" name="Google Shape;13672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73" name="Google Shape;13673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74" name="Google Shape;13674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75" name="Google Shape;13675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13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77" name="Google Shape;13677;p170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8" name="Google Shape;13678;p17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79" name="Google Shape;13679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80" name="Google Shape;13680;p1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81" name="Google Shape;13681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82" name="Google Shape;13682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3" name="Google Shape;13683;p17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684" name="Google Shape;13684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685" name="Google Shape;13685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86" name="Google Shape;13686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87" name="Google Shape;13687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688" name="Google Shape;13688;p1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13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0" name="Google Shape;13690;p171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91" name="Google Shape;13691;p17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92" name="Google Shape;13692;p17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693" name="Google Shape;1369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694" name="Google Shape;13694;p17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695" name="Google Shape;13695;p1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96" name="Google Shape;13696;p17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697" name="Google Shape;13697;p1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13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99" name="Google Shape;13699;p17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700" name="Google Shape;13700;p17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01" name="Google Shape;13701;p1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02" name="Google Shape;13702;p17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703" name="Google Shape;13703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704" name="Google Shape;13704;p17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05" name="Google Shape;13705;p17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13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07" name="Google Shape;13707;p17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708" name="Google Shape;13708;p17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709" name="Google Shape;13709;p17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710" name="Google Shape;13710;p17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11" name="Google Shape;13711;p17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712" name="Google Shape;13712;p17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713" name="Google Shape;13713;p1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13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15" name="Google Shape;13715;p17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716" name="Google Shape;13716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17" name="Google Shape;13717;p1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8" name="Google Shape;13718;p1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19" name="Google Shape;13719;p1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20" name="Google Shape;13720;p1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21" name="Google Shape;13721;p1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22" name="Google Shape;13722;p17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23" name="Google Shape;13723;p1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24" name="Google Shape;13724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13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6" name="Google Shape;13726;p1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27" name="Google Shape;13727;p17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728" name="Google Shape;13728;p17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729" name="Google Shape;13729;p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30" name="Google Shape;13730;p1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31" name="Google Shape;13731;p1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32" name="Google Shape;13732;p1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33" name="Google Shape;13733;p17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34" name="Google Shape;13734;p17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35" name="Google Shape;13735;p1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36" name="Google Shape;13736;p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13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38" name="Google Shape;13738;p17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739" name="Google Shape;13739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40" name="Google Shape;13740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41" name="Google Shape;13741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42" name="Google Shape;13742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43" name="Google Shape;13743;p17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4" name="Google Shape;13744;p17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745" name="Google Shape;13745;p17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46" name="Google Shape;13746;p1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747" name="Google Shape;13747;p1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48" name="Google Shape;13748;p17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49" name="Google Shape;13749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50" name="Google Shape;13750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13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2" name="Google Shape;13752;p17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753" name="Google Shape;13753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54" name="Google Shape;13754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55" name="Google Shape;13755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56" name="Google Shape;13756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57" name="Google Shape;13757;p1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58" name="Google Shape;13758;p1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59" name="Google Shape;13759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60" name="Google Shape;13760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13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62" name="Google Shape;13762;p17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763" name="Google Shape;13763;p17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64" name="Google Shape;13764;p17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765" name="Google Shape;13765;p178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6" name="Google Shape;13766;p17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67" name="Google Shape;13767;p17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68" name="Google Shape;13768;p1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769" name="Google Shape;13769;p1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g3681a448973_2_1444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8" name="Google Shape;1458;g3681a448973_2_1444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9" name="Google Shape;1459;g3681a448973_2_14443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0" name="Google Shape;1460;g3681a448973_2_14443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1" name="Google Shape;1461;g3681a448973_2_14443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2" name="Google Shape;1462;g3681a448973_2_14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13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71" name="Google Shape;13771;p1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72" name="Google Shape;1377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73" name="Google Shape;1377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774" name="Google Shape;13774;p17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775" name="Google Shape;13775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6" name="Google Shape;13776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77" name="Google Shape;13777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78" name="Google Shape;13778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13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80" name="Google Shape;13780;p180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81" name="Google Shape;13781;p18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82" name="Google Shape;13782;p18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83" name="Google Shape;13783;p1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784" name="Google Shape;13784;p18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785" name="Google Shape;13785;p18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86" name="Google Shape;13786;p18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787" name="Google Shape;13787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13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89" name="Google Shape;13789;p18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790" name="Google Shape;13790;p18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91" name="Google Shape;13791;p1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92" name="Google Shape;13792;p18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793" name="Google Shape;13793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794" name="Google Shape;13794;p18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95" name="Google Shape;13795;p18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13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7" name="Google Shape;13797;p182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98" name="Google Shape;13798;p18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99" name="Google Shape;13799;p1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00" name="Google Shape;13800;p1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01" name="Google Shape;13801;p1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02" name="Google Shape;13802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803" name="Google Shape;13803;p18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04" name="Google Shape;13804;p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05" name="Google Shape;13805;p1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06" name="Google Shape;13806;p1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07" name="Google Shape;13807;p1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808" name="Google Shape;13808;p18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13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10" name="Google Shape;13810;p18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11" name="Google Shape;13811;p1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812" name="Google Shape;13812;p18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813" name="Google Shape;13813;p1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14" name="Google Shape;13814;p1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815" name="Google Shape;13815;p1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816" name="Google Shape;13816;p1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13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18" name="Google Shape;13818;p184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9" name="Google Shape;13819;p18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20" name="Google Shape;13820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1" name="Google Shape;13821;p1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22" name="Google Shape;13822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23" name="Google Shape;13823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824" name="Google Shape;13824;p18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25" name="Google Shape;13825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26" name="Google Shape;13826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27" name="Google Shape;13827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28" name="Google Shape;13828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829" name="Google Shape;13829;p1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13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31" name="Google Shape;13831;p18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32" name="Google Shape;13832;p1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33" name="Google Shape;13833;p1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34" name="Google Shape;13834;p1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35" name="Google Shape;13835;p1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36" name="Google Shape;13836;p1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7" name="Google Shape;13837;p18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38" name="Google Shape;13838;p18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9" name="Google Shape;13839;p1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0" name="Google Shape;13840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13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2" name="Google Shape;13842;p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43" name="Google Shape;13843;p18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44" name="Google Shape;13844;p18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45" name="Google Shape;13845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46" name="Google Shape;13846;p1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47" name="Google Shape;13847;p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48" name="Google Shape;13848;p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49" name="Google Shape;13849;p18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50" name="Google Shape;13850;p18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51" name="Google Shape;13851;p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52" name="Google Shape;13852;p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13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54" name="Google Shape;13854;p18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55" name="Google Shape;13855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56" name="Google Shape;13856;p1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57" name="Google Shape;13857;p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58" name="Google Shape;13858;p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59" name="Google Shape;13859;p18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60" name="Google Shape;13860;p187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861" name="Google Shape;13861;p187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62" name="Google Shape;13862;p18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863" name="Google Shape;13863;p18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64" name="Google Shape;13864;p1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65" name="Google Shape;13865;p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66" name="Google Shape;13866;p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13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68" name="Google Shape;13868;p18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69" name="Google Shape;13869;p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70" name="Google Shape;13870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71" name="Google Shape;13871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72" name="Google Shape;13872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73" name="Google Shape;13873;p1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4" name="Google Shape;13874;p18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75" name="Google Shape;13875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76" name="Google Shape;13876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1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" name="Google Shape;1464;g3681a448973_2_1445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5" name="Google Shape;1465;g3681a448973_2_1445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6" name="Google Shape;1466;g3681a448973_2_1445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67" name="Google Shape;1467;g3681a448973_2_144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8" name="Google Shape;1468;g3681a448973_2_144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9" name="Google Shape;1469;g3681a448973_2_14450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g3681a448973_2_14450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1" name="Google Shape;1471;g3681a448973_2_1445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2" name="Google Shape;1472;g3681a448973_2_144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13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78" name="Google Shape;13878;p18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879" name="Google Shape;13879;p18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80" name="Google Shape;13880;p18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881" name="Google Shape;13881;p189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82" name="Google Shape;13882;p18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3" name="Google Shape;13883;p18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884" name="Google Shape;13884;p1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885" name="Google Shape;13885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13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87" name="Google Shape;13887;p19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88" name="Google Shape;13888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89" name="Google Shape;13889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890" name="Google Shape;13890;p19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891" name="Google Shape;13891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892" name="Google Shape;13892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893" name="Google Shape;13893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94" name="Google Shape;13894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13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96" name="Google Shape;13896;p1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97" name="Google Shape;13897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98" name="Google Shape;13898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899" name="Google Shape;13899;p19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00" name="Google Shape;13900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1" name="Google Shape;13901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02" name="Google Shape;13902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03" name="Google Shape;13903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1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5" name="Google Shape;13905;p192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06" name="Google Shape;13906;p19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07" name="Google Shape;13907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08" name="Google Shape;13908;p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09" name="Google Shape;13909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10" name="Google Shape;13910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11" name="Google Shape;13911;p19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12" name="Google Shape;1391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13" name="Google Shape;1391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4" name="Google Shape;1391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15" name="Google Shape;1391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916" name="Google Shape;13916;p1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13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8" name="Google Shape;13918;p19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19" name="Google Shape;13919;p19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20" name="Google Shape;13920;p1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21" name="Google Shape;13921;p19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22" name="Google Shape;1392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23" name="Google Shape;1392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24" name="Google Shape;13924;p19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25" name="Google Shape;13925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26" name="Google Shape;13926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27" name="Google Shape;13927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8" name="Google Shape;13928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929" name="Google Shape;13929;p1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13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31" name="Google Shape;13931;p194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2" name="Google Shape;13932;p19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33" name="Google Shape;13933;p19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34" name="Google Shape;13934;p1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35" name="Google Shape;13935;p19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936" name="Google Shape;13936;p1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37" name="Google Shape;13937;p1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38" name="Google Shape;13938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13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40" name="Google Shape;13940;p19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941" name="Google Shape;13941;p1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42" name="Google Shape;13942;p1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43" name="Google Shape;13943;p1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44" name="Google Shape;13944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45" name="Google Shape;13945;p19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6" name="Google Shape;13946;p19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13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48" name="Google Shape;13948;p19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949" name="Google Shape;13949;p1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950" name="Google Shape;13950;p19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951" name="Google Shape;13951;p1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52" name="Google Shape;13952;p1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953" name="Google Shape;13953;p1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954" name="Google Shape;13954;p1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13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56" name="Google Shape;13956;p197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57" name="Google Shape;13957;p19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58" name="Google Shape;13958;p1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59" name="Google Shape;13959;p1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60" name="Google Shape;13960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1" name="Google Shape;1396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62" name="Google Shape;13962;p19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63" name="Google Shape;13963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64" name="Google Shape;13964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65" name="Google Shape;13965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66" name="Google Shape;13966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967" name="Google Shape;13967;p1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Quotation">
  <p:cSld name="31_Quotation">
    <p:spTree>
      <p:nvGrpSpPr>
        <p:cNvPr id="1" name="Shape 13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9" name="Google Shape;13969;p198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70" name="Google Shape;13970;p19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71" name="Google Shape;13971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72" name="Google Shape;13972;p19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73" name="Google Shape;13973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74" name="Google Shape;13974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75" name="Google Shape;13975;p19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76" name="Google Shape;1397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77" name="Google Shape;1397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78" name="Google Shape;1397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79" name="Google Shape;1397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980" name="Google Shape;13980;p1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" name="Google Shape;1474;g3681a448973_2_14460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5" name="Google Shape;1475;g3681a448973_2_1446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6" name="Google Shape;1476;g3681a448973_2_1446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7" name="Google Shape;1477;g3681a448973_2_14460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8" name="Google Shape;1478;g3681a448973_2_144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139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2" name="Google Shape;13982;p19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83" name="Google Shape;13983;p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84" name="Google Shape;13984;p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85" name="Google Shape;13985;p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86" name="Google Shape;13986;p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87" name="Google Shape;13987;p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88" name="Google Shape;13988;p1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89" name="Google Shape;13989;p1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90" name="Google Shape;13990;p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91" name="Google Shape;13991;p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13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3" name="Google Shape;13993;p2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94" name="Google Shape;13994;p20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995" name="Google Shape;13995;p20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3996" name="Google Shape;13996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97" name="Google Shape;13997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98" name="Google Shape;13998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99" name="Google Shape;13999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00" name="Google Shape;14000;p20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01" name="Google Shape;14001;p20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02" name="Google Shape;14002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03" name="Google Shape;14003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14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05" name="Google Shape;14005;p20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06" name="Google Shape;14006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7" name="Google Shape;14007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08" name="Google Shape;14008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9" name="Google Shape;14009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10" name="Google Shape;14010;p201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11" name="Google Shape;14011;p201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12" name="Google Shape;14012;p201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13" name="Google Shape;14013;p20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14" name="Google Shape;14014;p20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15" name="Google Shape;14015;p20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16" name="Google Shape;14016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17" name="Google Shape;14017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14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9" name="Google Shape;14019;p20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20" name="Google Shape;14020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21" name="Google Shape;14021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22" name="Google Shape;14022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3" name="Google Shape;14023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24" name="Google Shape;14024;p2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25" name="Google Shape;14025;p2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26" name="Google Shape;14026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27" name="Google Shape;14027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14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29" name="Google Shape;14029;p20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030" name="Google Shape;14030;p20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1" name="Google Shape;14031;p20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32" name="Google Shape;14032;p203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33" name="Google Shape;14033;p20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34" name="Google Shape;14034;p20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035" name="Google Shape;14035;p2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036" name="Google Shape;14036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14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38" name="Google Shape;14038;p2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39" name="Google Shape;14039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40" name="Google Shape;14040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041" name="Google Shape;14041;p20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42" name="Google Shape;14042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43" name="Google Shape;14043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44" name="Google Shape;14044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45" name="Google Shape;14045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14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7" name="Google Shape;14047;p205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8" name="Google Shape;14048;p20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9" name="Google Shape;14049;p2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50" name="Google Shape;14050;p2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51" name="Google Shape;14051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52" name="Google Shape;14052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053" name="Google Shape;14053;p20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54" name="Google Shape;14054;p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55" name="Google Shape;14055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56" name="Google Shape;14056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57" name="Google Shape;14057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58" name="Google Shape;14058;p2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14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60" name="Google Shape;14060;p206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61" name="Google Shape;14061;p20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62" name="Google Shape;14062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3" name="Google Shape;14063;p2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64" name="Google Shape;14064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65" name="Google Shape;14065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066" name="Google Shape;14066;p20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67" name="Google Shape;14067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68" name="Google Shape;14068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69" name="Google Shape;14069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70" name="Google Shape;14070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71" name="Google Shape;14071;p2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Quotation">
  <p:cSld name="36_Quotation">
    <p:spTree>
      <p:nvGrpSpPr>
        <p:cNvPr id="1" name="Shape 14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3" name="Google Shape;14073;p207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74" name="Google Shape;14074;p20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5" name="Google Shape;14075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76" name="Google Shape;14076;p2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77" name="Google Shape;14077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78" name="Google Shape;14078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079" name="Google Shape;14079;p20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80" name="Google Shape;14080;p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81" name="Google Shape;14081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82" name="Google Shape;14082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83" name="Google Shape;14083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84" name="Google Shape;14084;p2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14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86" name="Google Shape;14086;p208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7" name="Google Shape;14087;p2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88" name="Google Shape;14088;p2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9" name="Google Shape;14089;p2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0" name="Google Shape;14090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091" name="Google Shape;14091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092" name="Google Shape;14092;p20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093" name="Google Shape;14093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94" name="Google Shape;14094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95" name="Google Shape;14095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96" name="Google Shape;14096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97" name="Google Shape;14097;p2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1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0" name="Google Shape;1480;g3681a448973_2_1446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1" name="Google Shape;1481;g3681a448973_2_1446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2" name="Google Shape;1482;g3681a448973_2_1446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3" name="Google Shape;1483;g3681a448973_2_1446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4" name="Google Shape;1484;g3681a448973_2_1446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5" name="Google Shape;1485;g3681a448973_2_144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140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9" name="Google Shape;14099;p209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0" name="Google Shape;14100;p20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01" name="Google Shape;14101;p20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102" name="Google Shape;14102;p2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103" name="Google Shape;14103;p20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4104" name="Google Shape;14104;p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05" name="Google Shape;14105;p2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06" name="Google Shape;14106;p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14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08" name="Google Shape;14108;p21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4109" name="Google Shape;14109;p2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10" name="Google Shape;14110;p2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11" name="Google Shape;14111;p2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12" name="Google Shape;14112;p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113" name="Google Shape;14113;p21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14" name="Google Shape;14114;p21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14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6" name="Google Shape;14116;p2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17" name="Google Shape;14117;p2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8" name="Google Shape;14118;p2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4119" name="Google Shape;14119;p2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20" name="Google Shape;14120;p2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21" name="Google Shape;14121;p2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22" name="Google Shape;14122;p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Quotation">
  <p:cSld name="38_Quotation">
    <p:spTree>
      <p:nvGrpSpPr>
        <p:cNvPr id="1" name="Shape 14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24" name="Google Shape;14124;p212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25" name="Google Shape;14125;p21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26" name="Google Shape;14126;p2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27" name="Google Shape;14127;p2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28" name="Google Shape;14128;p2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29" name="Google Shape;14129;p2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130" name="Google Shape;14130;p21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31" name="Google Shape;14131;p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32" name="Google Shape;14132;p2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33" name="Google Shape;14133;p2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34" name="Google Shape;14134;p2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135" name="Google Shape;14135;p2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14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37" name="Google Shape;14137;p21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38" name="Google Shape;14138;p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39" name="Google Shape;14139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40" name="Google Shape;14140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41" name="Google Shape;14141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42" name="Google Shape;14142;p2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43" name="Google Shape;14143;p2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44" name="Google Shape;14144;p2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45" name="Google Shape;14145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46" name="Google Shape;14146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14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48" name="Google Shape;14148;p2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49" name="Google Shape;14149;p21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50" name="Google Shape;14150;p21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51" name="Google Shape;14151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52" name="Google Shape;14152;p2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3" name="Google Shape;14153;p2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54" name="Google Shape;14154;p2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55" name="Google Shape;14155;p21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56" name="Google Shape;14156;p21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57" name="Google Shape;14157;p2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58" name="Google Shape;14158;p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14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60" name="Google Shape;14160;p21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61" name="Google Shape;14161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62" name="Google Shape;14162;p2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63" name="Google Shape;14163;p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4" name="Google Shape;14164;p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65" name="Google Shape;14165;p21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66" name="Google Shape;14166;p21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167" name="Google Shape;14167;p21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68" name="Google Shape;14168;p2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169" name="Google Shape;14169;p2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70" name="Google Shape;14170;p2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71" name="Google Shape;14171;p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72" name="Google Shape;14172;p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14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74" name="Google Shape;14174;p21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75" name="Google Shape;14175;p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76" name="Google Shape;14176;p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77" name="Google Shape;14177;p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78" name="Google Shape;14178;p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9" name="Google Shape;14179;p2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0" name="Google Shape;14180;p2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81" name="Google Shape;14181;p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82" name="Google Shape;14182;p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14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84" name="Google Shape;14184;p2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185" name="Google Shape;14185;p2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86" name="Google Shape;14186;p2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87" name="Google Shape;14187;p217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8" name="Google Shape;14188;p21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89" name="Google Shape;14189;p2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190" name="Google Shape;14190;p2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191" name="Google Shape;14191;p2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14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93" name="Google Shape;14193;p21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4" name="Google Shape;14194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95" name="Google Shape;14195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196" name="Google Shape;14196;p21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197" name="Google Shape;14197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98" name="Google Shape;14198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99" name="Google Shape;14199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00" name="Google Shape;14200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1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7" name="Google Shape;1487;g3681a448973_2_1447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8" name="Google Shape;1488;g3681a448973_2_1447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9" name="Google Shape;1489;g3681a448973_2_144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90" name="Google Shape;1490;g3681a448973_2_144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1" name="Google Shape;1491;g3681a448973_2_144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92" name="Google Shape;1492;g3681a448973_2_1447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3" name="Google Shape;1493;g3681a448973_2_1447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4" name="Google Shape;1494;g3681a448973_2_1447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95" name="Google Shape;1495;g3681a448973_2_144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14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02" name="Google Shape;14202;p219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3" name="Google Shape;14203;p21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04" name="Google Shape;14204;p21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205" name="Google Shape;14205;p2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206" name="Google Shape;14206;p21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4207" name="Google Shape;14207;p2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08" name="Google Shape;14208;p21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209" name="Google Shape;14209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14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11" name="Google Shape;14211;p22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4212" name="Google Shape;14212;p2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13" name="Google Shape;14213;p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14" name="Google Shape;14214;p2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215" name="Google Shape;14215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216" name="Google Shape;14216;p22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17" name="Google Shape;14217;p22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14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19" name="Google Shape;14219;p22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220" name="Google Shape;14220;p2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221" name="Google Shape;14221;p22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4222" name="Google Shape;14222;p2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23" name="Google Shape;14223;p2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24" name="Google Shape;14224;p2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225" name="Google Shape;14225;p2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Quotation">
  <p:cSld name="41_Quotation">
    <p:spTree>
      <p:nvGrpSpPr>
        <p:cNvPr id="1" name="Shape 14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27" name="Google Shape;14227;p222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28" name="Google Shape;14228;p22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29" name="Google Shape;14229;p2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30" name="Google Shape;14230;p2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31" name="Google Shape;14231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32" name="Google Shape;14232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3" name="Google Shape;14233;p222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234" name="Google Shape;14234;p2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35" name="Google Shape;14235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36" name="Google Shape;14236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37" name="Google Shape;14237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38" name="Google Shape;14238;p2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14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40" name="Google Shape;14240;p22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241" name="Google Shape;14241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42" name="Google Shape;14242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43" name="Google Shape;14243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44" name="Google Shape;14244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45" name="Google Shape;14245;p2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46" name="Google Shape;14246;p2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47" name="Google Shape;14247;p22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48" name="Google Shape;14248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49" name="Google Shape;14249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14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51" name="Google Shape;14251;p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52" name="Google Shape;14252;p22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253" name="Google Shape;14253;p22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254" name="Google Shape;14254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5" name="Google Shape;14255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56" name="Google Shape;14256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57" name="Google Shape;14257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58" name="Google Shape;14258;p22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59" name="Google Shape;14259;p22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60" name="Google Shape;14260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61" name="Google Shape;14261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14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63" name="Google Shape;14263;p22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264" name="Google Shape;14264;p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65" name="Google Shape;14265;p2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6" name="Google Shape;14266;p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67" name="Google Shape;14267;p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68" name="Google Shape;14268;p22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69" name="Google Shape;14269;p22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270" name="Google Shape;14270;p22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1" name="Google Shape;14271;p2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272" name="Google Shape;14272;p2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3" name="Google Shape;14273;p2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74" name="Google Shape;14274;p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75" name="Google Shape;14275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14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77" name="Google Shape;14277;p22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278" name="Google Shape;14278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79" name="Google Shape;14279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80" name="Google Shape;14280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81" name="Google Shape;14281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82" name="Google Shape;14282;p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83" name="Google Shape;14283;p22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84" name="Google Shape;14284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85" name="Google Shape;14285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14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87" name="Google Shape;14287;p2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88" name="Google Shape;14288;p2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89" name="Google Shape;14289;p2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90" name="Google Shape;14290;p227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91" name="Google Shape;14291;p22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92" name="Google Shape;14292;p2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93" name="Google Shape;14293;p2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4" name="Google Shape;14294;p2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14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6" name="Google Shape;14296;p2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97" name="Google Shape;14297;p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98" name="Google Shape;14298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99" name="Google Shape;14299;p22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300" name="Google Shape;14300;p2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01" name="Google Shape;14301;p2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02" name="Google Shape;14302;p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03" name="Google Shape;14303;p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1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7" name="Google Shape;1497;g3681a448973_2_1448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8" name="Google Shape;1498;g3681a448973_2_1448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g3681a448973_2_144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00" name="Google Shape;1500;g3681a448973_2_144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1" name="Google Shape;1501;g3681a448973_2_144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02" name="Google Shape;1502;g3681a448973_2_1448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3" name="Google Shape;1503;g3681a448973_2_1448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4" name="Google Shape;1504;g3681a448973_2_1448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05" name="Google Shape;1505;g3681a448973_2_14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Quotation">
  <p:cSld name="42_Quotation">
    <p:spTree>
      <p:nvGrpSpPr>
        <p:cNvPr id="1" name="Shape 14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5" name="Google Shape;14305;p229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06" name="Google Shape;14306;p22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07" name="Google Shape;14307;p2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08" name="Google Shape;14308;p2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09" name="Google Shape;14309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10" name="Google Shape;14310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11" name="Google Shape;14311;p22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312" name="Google Shape;14312;p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13" name="Google Shape;14313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14" name="Google Shape;14314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15" name="Google Shape;14315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316" name="Google Shape;14316;p2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TITLE">
    <p:spTree>
      <p:nvGrpSpPr>
        <p:cNvPr id="1" name="Shape 14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8" name="Google Shape;14318;p230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9" name="Google Shape;14319;p230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320" name="Google Shape;14320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21" name="Google Shape;14321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22" name="Google Shape;14322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4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24" name="Google Shape;14324;p23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25" name="Google Shape;14325;p23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26" name="Google Shape;14326;p23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27" name="Google Shape;14327;p2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28" name="Google Shape;14328;p2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29" name="Google Shape;14329;p231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0" name="Google Shape;14330;p231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1" name="Google Shape;14331;p23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32" name="Google Shape;14332;p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14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4" name="Google Shape;14334;p232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35" name="Google Shape;14335;p232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6" name="Google Shape;14336;p2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37" name="Google Shape;14337;p2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8" name="Google Shape;14338;p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39" name="Google Shape;14339;p232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40" name="Google Shape;14340;p232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41" name="Google Shape;14341;p232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42" name="Google Shape;14342;p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4" name="Google Shape;14344;p23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45" name="Google Shape;14345;p233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46" name="Google Shape;14346;p233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47" name="Google Shape;14347;p23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48" name="Google Shape;14348;p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14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0" name="Google Shape;14350;p234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51" name="Google Shape;14351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52" name="Google Shape;14352;p234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53" name="Google Shape;14353;p234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54" name="Google Shape;14354;p234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4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6" name="Google Shape;14356;p235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57" name="Google Shape;14357;p235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58" name="Google Shape;14358;p23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59" name="Google Shape;14359;p23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60" name="Google Shape;14360;p23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361" name="Google Shape;14361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14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63" name="Google Shape;14363;p23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64" name="Google Shape;14364;p23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65" name="Google Shape;14365;p2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66" name="Google Shape;14366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67" name="Google Shape;14367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68" name="Google Shape;14368;p236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9" name="Google Shape;14369;p236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0" name="Google Shape;14370;p23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71" name="Google Shape;1437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14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73" name="Google Shape;14373;p237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74" name="Google Shape;14374;p237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5" name="Google Shape;14375;p237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6" name="Google Shape;14376;p237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77" name="Google Shape;14377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14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79" name="Google Shape;14379;p238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0" name="Google Shape;14380;p238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1" name="Google Shape;14381;p23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2" name="Google Shape;14382;p23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3" name="Google Shape;14383;p23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384" name="Google Shape;14384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g3681a448973_2_1449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8" name="Google Shape;1508;g3681a448973_2_1449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9" name="Google Shape;1509;g3681a448973_2_1449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10" name="Google Shape;1510;g3681a448973_2_14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g3681a448973_2_14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2" name="Google Shape;1512;g3681a448973_2_1449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3" name="Google Shape;1513;g3681a448973_2_1449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4" name="Google Shape;1514;g3681a448973_2_1449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15" name="Google Shape;1515;g3681a448973_2_144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14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6" name="Google Shape;14386;p239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7" name="Google Shape;14387;p239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88" name="Google Shape;14388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89" name="Google Shape;14389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90" name="Google Shape;14390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391" name="Google Shape;14391;p239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2" name="Google Shape;14392;p239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3" name="Google Shape;14393;p239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94" name="Google Shape;14394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14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96" name="Google Shape;14396;p24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7" name="Google Shape;14397;p24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98" name="Google Shape;14398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399" name="Google Shape;14399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00" name="Google Shape;14400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01" name="Google Shape;14401;p240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2" name="Google Shape;14402;p240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3" name="Google Shape;14403;p24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04" name="Google Shape;14404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14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6" name="Google Shape;14406;p24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07" name="Google Shape;14407;p24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08" name="Google Shape;14408;p2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09" name="Google Shape;14409;p2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10" name="Google Shape;14410;p2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11" name="Google Shape;14411;p241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2" name="Google Shape;14412;p241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3" name="Google Shape;14413;p24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14" name="Google Shape;14414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14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16" name="Google Shape;14416;p24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17" name="Google Shape;14417;p242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8" name="Google Shape;14418;p242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9" name="Google Shape;14419;p24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20" name="Google Shape;1442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14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2" name="Google Shape;14422;p243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423" name="Google Shape;14423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424" name="Google Shape;14424;p243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5" name="Google Shape;14425;p243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6" name="Google Shape;14426;p243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14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8" name="Google Shape;14428;p244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9" name="Google Shape;14429;p244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30" name="Google Shape;14430;p244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1" name="Google Shape;14431;p244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2" name="Google Shape;14432;p244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33" name="Google Shape;14433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14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5" name="Google Shape;14435;p245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6" name="Google Shape;14436;p245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37" name="Google Shape;14437;p24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38" name="Google Shape;14438;p2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39" name="Google Shape;14439;p2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40" name="Google Shape;14440;p245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41" name="Google Shape;14441;p245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42" name="Google Shape;14442;p245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43" name="Google Shape;14443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14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45" name="Google Shape;14445;p246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46" name="Google Shape;14446;p246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47" name="Google Shape;14447;p246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48" name="Google Shape;14448;p246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49" name="Google Shape;1444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14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51" name="Google Shape;14451;p247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452" name="Google Shape;14452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453" name="Google Shape;14453;p247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54" name="Google Shape;14454;p247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55" name="Google Shape;14455;p247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14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57" name="Google Shape;14457;p248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58" name="Google Shape;14458;p248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59" name="Google Shape;14459;p24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60" name="Google Shape;14460;p24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61" name="Google Shape;14461;p24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62" name="Google Shape;14462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1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7" name="Google Shape;1517;g3681a448973_2_1450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8" name="Google Shape;1518;g3681a448973_2_1450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9" name="Google Shape;1519;g3681a448973_2_1450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0" name="Google Shape;1520;g3681a448973_2_1450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21" name="Google Shape;1521;g3681a448973_2_14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14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4" name="Google Shape;14464;p249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65" name="Google Shape;14465;p249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6" name="Google Shape;14466;p24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67" name="Google Shape;14467;p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8" name="Google Shape;14468;p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69" name="Google Shape;14469;p249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0" name="Google Shape;14470;p249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1" name="Google Shape;14471;p249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72" name="Google Shape;14472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14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74" name="Google Shape;14474;p250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75" name="Google Shape;14475;p250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6" name="Google Shape;14476;p250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7" name="Google Shape;14477;p250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78" name="Google Shape;1447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14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0" name="Google Shape;14480;p251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481" name="Google Shape;14481;p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482" name="Google Shape;14482;p251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3" name="Google Shape;14483;p25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4" name="Google Shape;14484;p25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14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6" name="Google Shape;14486;p252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7" name="Google Shape;14487;p252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8" name="Google Shape;14488;p252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89" name="Google Shape;14489;p252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90" name="Google Shape;14490;p252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91" name="Google Shape;14491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14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93" name="Google Shape;14493;p25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94" name="Google Shape;14494;p25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95" name="Google Shape;14495;p25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96" name="Google Shape;14496;p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97" name="Google Shape;14497;p2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98" name="Google Shape;14498;p253"/>
          <p:cNvSpPr/>
          <p:nvPr/>
        </p:nvSpPr>
        <p:spPr>
          <a:xfrm rot="10800000">
            <a:off x="1" y="2000249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99" name="Google Shape;14499;p253"/>
          <p:cNvSpPr/>
          <p:nvPr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00" name="Google Shape;14500;p25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1" name="Google Shape;14501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14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3" name="Google Shape;14503;p25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04" name="Google Shape;14504;p254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05" name="Google Shape;14505;p254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06" name="Google Shape;14506;p25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7" name="Google Shape;1450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14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9" name="Google Shape;14509;p255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10" name="Google Shape;14510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511" name="Google Shape;14511;p255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12" name="Google Shape;14512;p255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13" name="Google Shape;14513;p255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14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15" name="Google Shape;14515;p256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16" name="Google Shape;14516;p256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17" name="Google Shape;14517;p25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18" name="Google Shape;14518;p25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19" name="Google Shape;14519;p25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520" name="Google Shape;14520;p2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14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2" name="Google Shape;14522;p257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23" name="Google Shape;14523;p257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24" name="Google Shape;14524;p257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25" name="Google Shape;14525;p257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26" name="Google Shape;14526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14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8" name="Google Shape;14528;p258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29" name="Google Shape;14529;p258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30" name="Google Shape;14530;p25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31" name="Google Shape;14531;p25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32" name="Google Shape;14532;p25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533" name="Google Shape;14533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3" name="Google Shape;1523;g3681a448973_2_1450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24" name="Google Shape;1524;g3681a448973_2_14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25" name="Google Shape;1525;g3681a448973_2_1450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6" name="Google Shape;1526;g3681a448973_2_14509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7" name="Google Shape;1527;g3681a448973_2_14509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14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35" name="Google Shape;14535;p259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36" name="Google Shape;1453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537" name="Google Shape;14537;p259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38" name="Google Shape;14538;p259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39" name="Google Shape;14539;p259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14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" name="Google Shape;14541;p260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2" name="Google Shape;14542;p26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43" name="Google Shape;14543;p26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544" name="Google Shape;14544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545" name="Google Shape;14545;p26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4546" name="Google Shape;14546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47" name="Google Shape;14547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48" name="Google Shape;14548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14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50" name="Google Shape;14550;p26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4551" name="Google Shape;14551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52" name="Google Shape;14552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53" name="Google Shape;14553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54" name="Google Shape;14554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55" name="Google Shape;14555;p26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6" name="Google Shape;14556;p26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14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58" name="Google Shape;14558;p26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59" name="Google Shape;14559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60" name="Google Shape;14560;p26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4561" name="Google Shape;14561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62" name="Google Shape;14562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563" name="Google Shape;14563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564" name="Google Shape;14564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14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66" name="Google Shape;14566;p263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67" name="Google Shape;14567;p26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68" name="Google Shape;14568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69" name="Google Shape;14569;p2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70" name="Google Shape;14570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71" name="Google Shape;14571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572" name="Google Shape;14572;p263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573" name="Google Shape;14573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74" name="Google Shape;14574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75" name="Google Shape;14575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76" name="Google Shape;14576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577" name="Google Shape;14577;p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14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79" name="Google Shape;14579;p26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580" name="Google Shape;14580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1" name="Google Shape;14581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82" name="Google Shape;14582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83" name="Google Shape;14583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584" name="Google Shape;14584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85" name="Google Shape;14585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86" name="Google Shape;14586;p2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87" name="Google Shape;14587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88" name="Google Shape;14588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14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90" name="Google Shape;14590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91" name="Google Shape;14591;p26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592" name="Google Shape;14592;p26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593" name="Google Shape;14593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94" name="Google Shape;14594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5" name="Google Shape;14595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96" name="Google Shape;14596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597" name="Google Shape;14597;p26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98" name="Google Shape;14598;p26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99" name="Google Shape;1459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00" name="Google Shape;1460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14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02" name="Google Shape;14602;p26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603" name="Google Shape;1460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04" name="Google Shape;1460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05" name="Google Shape;1460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6" name="Google Shape;1460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07" name="Google Shape;14607;p26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08" name="Google Shape;14608;p26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609" name="Google Shape;14609;p26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10" name="Google Shape;14610;p2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611" name="Google Shape;14611;p2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12" name="Google Shape;14612;p2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13" name="Google Shape;14613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14" name="Google Shape;14614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14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16" name="Google Shape;14616;p26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617" name="Google Shape;14617;p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18" name="Google Shape;14618;p2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19" name="Google Shape;14619;p2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20" name="Google Shape;14620;p2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21" name="Google Shape;14621;p2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2" name="Google Shape;14622;p2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23" name="Google Shape;14623;p2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24" name="Google Shape;14624;p2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14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26" name="Google Shape;14626;p2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27" name="Google Shape;14627;p2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28" name="Google Shape;14628;p2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9" name="Google Shape;14629;p268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30" name="Google Shape;14630;p26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31" name="Google Shape;14631;p2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32" name="Google Shape;14632;p2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633" name="Google Shape;14633;p2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3681a448973_2_1314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" name="Google Shape;158;g3681a448973_2_1314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9" name="Google Shape;159;g3681a448973_2_1314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0" name="Google Shape;160;g3681a448973_2_13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g3681a448973_2_13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2" name="Google Shape;162;g3681a448973_2_13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63" name="Google Shape;163;g3681a448973_2_131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9" name="Google Shape;1529;g3681a448973_2_1451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0" name="Google Shape;1530;g3681a448973_2_1451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1" name="Google Shape;1531;g3681a448973_2_1451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2" name="Google Shape;1532;g3681a448973_2_1451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3" name="Google Shape;1533;g3681a448973_2_1451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4" name="Google Shape;1534;g3681a448973_2_145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14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35" name="Google Shape;14635;p26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6" name="Google Shape;14636;p2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37" name="Google Shape;14637;p2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638" name="Google Shape;14638;p26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4639" name="Google Shape;14639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40" name="Google Shape;14640;p2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41" name="Google Shape;14641;p2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42" name="Google Shape;14642;p2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14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4" name="Google Shape;14644;p27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645" name="Google Shape;14645;p2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646" name="Google Shape;14646;p270"/>
          <p:cNvGrpSpPr/>
          <p:nvPr/>
        </p:nvGrpSpPr>
        <p:grpSpPr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4647" name="Google Shape;14647;p27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648" name="Google Shape;14648;p270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4649" name="Google Shape;14649;p27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50" name="Google Shape;14650;p270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51" name="Google Shape;14651;p27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52" name="Google Shape;14652;p27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4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4" name="Google Shape;14654;p271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5" name="Google Shape;14655;p271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56" name="Google Shape;14656;p271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57" name="Google Shape;14657;p271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58" name="Google Shape;14658;p2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659" name="Google Shape;14659;p27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4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61" name="Google Shape;14661;p2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2" name="Google Shape;14662;p2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63" name="Google Shape;14663;p2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664" name="Google Shape;14664;p2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665" name="Google Shape;14665;p2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666" name="Google Shape;14666;p2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67" name="Google Shape;14667;p2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668" name="Google Shape;14668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4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70" name="Google Shape;14670;p2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71" name="Google Shape;14671;p2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2" name="Google Shape;14672;p2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73" name="Google Shape;14673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74" name="Google Shape;14674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75" name="Google Shape;14675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676" name="Google Shape;14676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677" name="Google Shape;14677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78" name="Google Shape;14678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79" name="Google Shape;14679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80" name="Google Shape;14680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681" name="Google Shape;14681;p2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14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83" name="Google Shape;14683;p27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684" name="Google Shape;14684;p27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5" name="Google Shape;14685;p2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6" name="Google Shape;14686;p27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687" name="Google Shape;14687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688" name="Google Shape;14688;p27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89" name="Google Shape;14689;p27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14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91" name="Google Shape;14691;p2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92" name="Google Shape;14692;p2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93" name="Google Shape;14693;p2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94" name="Google Shape;14694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5" name="Google Shape;14695;p2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96" name="Google Shape;14696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697" name="Google Shape;14697;p2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698" name="Google Shape;14698;p2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99" name="Google Shape;14699;p2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00" name="Google Shape;14700;p2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01" name="Google Shape;14701;p2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02" name="Google Shape;14702;p2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14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04" name="Google Shape;14704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05" name="Google Shape;14705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06" name="Google Shape;14706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07" name="Google Shape;14707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08" name="Google Shape;14708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709" name="Google Shape;14709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10" name="Google Shape;14710;p2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1" name="Google Shape;1471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12" name="Google Shape;1471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13" name="Google Shape;1471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14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5" name="Google Shape;14715;p2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16" name="Google Shape;14716;p2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717" name="Google Shape;14717;p2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18" name="Google Shape;14718;p2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19" name="Google Shape;14719;p2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20" name="Google Shape;14720;p2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21" name="Google Shape;14721;p2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722" name="Google Shape;14722;p27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23" name="Google Shape;14723;p27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24" name="Google Shape;14724;p2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25" name="Google Shape;14725;p2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14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27" name="Google Shape;1472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8" name="Google Shape;1472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29" name="Google Shape;1472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30" name="Google Shape;1473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31" name="Google Shape;1473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732" name="Google Shape;14732;p2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33" name="Google Shape;14733;p27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734" name="Google Shape;14734;p27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35" name="Google Shape;14735;p27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736" name="Google Shape;14736;p27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37" name="Google Shape;14737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38" name="Google Shape;14738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39" name="Google Shape;14739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1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" name="Google Shape;1536;g3681a448973_2_14522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7" name="Google Shape;1537;g3681a448973_2_14522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8" name="Google Shape;1538;g3681a448973_2_145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39" name="Google Shape;1539;g3681a448973_2_14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g3681a448973_2_14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41" name="Google Shape;1541;g3681a448973_2_14522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2" name="Google Shape;1542;g3681a448973_2_14522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3" name="Google Shape;1543;g3681a448973_2_14522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44" name="Google Shape;1544;g3681a448973_2_145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4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1" name="Google Shape;14741;p27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42" name="Google Shape;14742;p27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43" name="Google Shape;14743;p27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744" name="Google Shape;14744;p2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745" name="Google Shape;14745;p27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746" name="Google Shape;14746;p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47" name="Google Shape;14747;p2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48" name="Google Shape;14748;p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4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50" name="Google Shape;14750;p28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751" name="Google Shape;14751;p28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52" name="Google Shape;14752;p28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53" name="Google Shape;14753;p28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54" name="Google Shape;14754;p2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755" name="Google Shape;14755;p28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56" name="Google Shape;14756;p28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147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8" name="Google Shape;14758;p28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759" name="Google Shape;14759;p28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760" name="Google Shape;14760;p28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761" name="Google Shape;14761;p28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62" name="Google Shape;14762;p28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763" name="Google Shape;14763;p28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764" name="Google Shape;14764;p2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4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66" name="Google Shape;14766;p28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67" name="Google Shape;14767;p28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68" name="Google Shape;14768;p2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69" name="Google Shape;14769;p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70" name="Google Shape;14770;p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1" name="Google Shape;14771;p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72" name="Google Shape;14772;p2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73" name="Google Shape;14773;p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74" name="Google Shape;14774;p2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75" name="Google Shape;14775;p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76" name="Google Shape;14776;p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77" name="Google Shape;14777;p28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4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79" name="Google Shape;14779;p2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80" name="Google Shape;14780;p2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81" name="Google Shape;14781;p2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82" name="Google Shape;14782;p2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83" name="Google Shape;14783;p2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784" name="Google Shape;14784;p2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85" name="Google Shape;14785;p28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86" name="Google Shape;14786;p2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87" name="Google Shape;14787;p2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88" name="Google Shape;14788;p2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4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90" name="Google Shape;14790;p2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91" name="Google Shape;14791;p2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92" name="Google Shape;14792;p2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93" name="Google Shape;14793;p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94" name="Google Shape;14794;p2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95" name="Google Shape;14795;p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96" name="Google Shape;14796;p2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7" name="Google Shape;14797;p2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98" name="Google Shape;14798;p2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99" name="Google Shape;14799;p2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00" name="Google Shape;14800;p2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801" name="Google Shape;14801;p2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48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03" name="Google Shape;14803;p2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804" name="Google Shape;14804;p2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805" name="Google Shape;14805;p2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806" name="Google Shape;14806;p2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07" name="Google Shape;14807;p2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08" name="Google Shape;14808;p2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809" name="Google Shape;14809;p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4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11" name="Google Shape;14811;p28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812" name="Google Shape;14812;p28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13" name="Google Shape;14813;p28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14" name="Google Shape;14814;p28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15" name="Google Shape;14815;p28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16" name="Google Shape;14816;p28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17" name="Google Shape;14817;p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818" name="Google Shape;14818;p2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4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20" name="Google Shape;14820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21" name="Google Shape;14821;p2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22" name="Google Shape;14822;p2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823" name="Google Shape;14823;p2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24" name="Google Shape;14824;p2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25" name="Google Shape;14825;p2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26" name="Google Shape;14826;p2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7" name="Google Shape;14827;p2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14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29" name="Google Shape;14829;p2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30" name="Google Shape;14830;p2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31" name="Google Shape;14831;p2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32" name="Google Shape;14832;p2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33" name="Google Shape;14833;p2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4" name="Google Shape;14834;p2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35" name="Google Shape;14835;p2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36" name="Google Shape;14836;p2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37" name="Google Shape;14837;p2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1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" name="Google Shape;1546;g3681a448973_2_1453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7" name="Google Shape;1547;g3681a448973_2_1453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8" name="Google Shape;1548;g3681a448973_2_1453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9" name="Google Shape;1549;g3681a448973_2_1453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50" name="Google Shape;1550;g3681a448973_2_145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14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39" name="Google Shape;14839;p28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0" name="Google Shape;14840;p28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841" name="Google Shape;14841;p289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4842" name="Google Shape;14842;p28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43" name="Google Shape;14843;p28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844" name="Google Shape;14844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4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46" name="Google Shape;14846;p2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847" name="Google Shape;14847;p2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48" name="Google Shape;14848;p2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49" name="Google Shape;14849;p2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850" name="Google Shape;14850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51" name="Google Shape;14851;p2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52" name="Google Shape;14852;p2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4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54" name="Google Shape;14854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855" name="Google Shape;14855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856" name="Google Shape;14856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857" name="Google Shape;14857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58" name="Google Shape;14858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59" name="Google Shape;14859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860" name="Google Shape;14860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14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62" name="Google Shape;14862;p2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63" name="Google Shape;14863;p2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4" name="Google Shape;14864;p2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65" name="Google Shape;14865;p2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6" name="Google Shape;14866;p2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67" name="Google Shape;14867;p2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868" name="Google Shape;14868;p2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69" name="Google Shape;14869;p2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70" name="Google Shape;14870;p2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71" name="Google Shape;14871;p2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72" name="Google Shape;14872;p2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873" name="Google Shape;14873;p2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Quotation">
  <p:cSld name="23_Quotation">
    <p:spTree>
      <p:nvGrpSpPr>
        <p:cNvPr id="1" name="Shape 14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75" name="Google Shape;14875;p2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76" name="Google Shape;14876;p2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77" name="Google Shape;14877;p2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78" name="Google Shape;1487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79" name="Google Shape;14879;p2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80" name="Google Shape;14880;p2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881" name="Google Shape;14881;p2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82" name="Google Shape;14882;p2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83" name="Google Shape;14883;p2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84" name="Google Shape;14884;p2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85" name="Google Shape;14885;p2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886" name="Google Shape;14886;p2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14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88" name="Google Shape;14888;p2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89" name="Google Shape;14889;p2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90" name="Google Shape;14890;p2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91" name="Google Shape;14891;p2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92" name="Google Shape;14892;p2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93" name="Google Shape;14893;p2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94" name="Google Shape;14894;p2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95" name="Google Shape;14895;p2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96" name="Google Shape;14896;p2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97" name="Google Shape;14897;p2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14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9" name="Google Shape;14899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0" name="Google Shape;14900;p2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01" name="Google Shape;14901;p2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02" name="Google Shape;14902;p2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03" name="Google Shape;14903;p2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04" name="Google Shape;14904;p2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05" name="Google Shape;14905;p2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06" name="Google Shape;14906;p29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07" name="Google Shape;14907;p29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08" name="Google Shape;14908;p2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09" name="Google Shape;14909;p2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14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11" name="Google Shape;14911;p2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12" name="Google Shape;14912;p2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13" name="Google Shape;14913;p2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14" name="Google Shape;14914;p2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15" name="Google Shape;14915;p2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16" name="Google Shape;14916;p2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17" name="Google Shape;14917;p29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918" name="Google Shape;14918;p29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19" name="Google Shape;14919;p29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920" name="Google Shape;14920;p29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21" name="Google Shape;14921;p2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22" name="Google Shape;14922;p2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23" name="Google Shape;14923;p2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14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25" name="Google Shape;14925;p2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6" name="Google Shape;14926;p2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27" name="Google Shape;14927;p2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28" name="Google Shape;14928;p2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29" name="Google Shape;14929;p2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30" name="Google Shape;14930;p2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31" name="Google Shape;14931;p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32" name="Google Shape;14932;p2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33" name="Google Shape;14933;p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14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5" name="Google Shape;14935;p29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936" name="Google Shape;14936;p29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37" name="Google Shape;14937;p29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38" name="Google Shape;14938;p29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39" name="Google Shape;14939;p29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40" name="Google Shape;14940;p29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941" name="Google Shape;14941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942" name="Google Shape;14942;p2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1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2" name="Google Shape;1552;g3681a448973_2_1453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53" name="Google Shape;1553;g3681a448973_2_145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54" name="Google Shape;1554;g3681a448973_2_1453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5" name="Google Shape;1555;g3681a448973_2_14538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6" name="Google Shape;1556;g3681a448973_2_14538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14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44" name="Google Shape;14944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45" name="Google Shape;14945;p2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46" name="Google Shape;14946;p2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947" name="Google Shape;14947;p2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48" name="Google Shape;14948;p2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49" name="Google Shape;14949;p2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50" name="Google Shape;14950;p2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1" name="Google Shape;14951;p2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14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3" name="Google Shape;14953;p3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54" name="Google Shape;14954;p3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55" name="Google Shape;14955;p3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56" name="Google Shape;14956;p3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957" name="Google Shape;14957;p3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58" name="Google Shape;14958;p3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9" name="Google Shape;14959;p3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60" name="Google Shape;14960;p3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14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62" name="Google Shape;14962;p3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63" name="Google Shape;14963;p3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4" name="Google Shape;14964;p3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5" name="Google Shape;14965;p3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66" name="Google Shape;14966;p3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67" name="Google Shape;14967;p3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68" name="Google Shape;14968;p3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14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70" name="Google Shape;14970;p3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71" name="Google Shape;14971;p3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72" name="Google Shape;14972;p3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3" name="Google Shape;14973;p3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74" name="Google Shape;14974;p3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75" name="Google Shape;14975;p3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976" name="Google Shape;14976;p3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77" name="Google Shape;14977;p3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78" name="Google Shape;14978;p3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79" name="Google Shape;14979;p3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80" name="Google Shape;14980;p3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981" name="Google Shape;14981;p3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14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83" name="Google Shape;14983;p3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84" name="Google Shape;14984;p3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85" name="Google Shape;14985;p3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86" name="Google Shape;14986;p3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87" name="Google Shape;14987;p3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88" name="Google Shape;14988;p3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89" name="Google Shape;14989;p3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90" name="Google Shape;14990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91" name="Google Shape;14991;p3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2" name="Google Shape;14992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14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94" name="Google Shape;14994;p3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5" name="Google Shape;14995;p3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96" name="Google Shape;14996;p3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97" name="Google Shape;14997;p3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98" name="Google Shape;14998;p3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99" name="Google Shape;14999;p3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00" name="Google Shape;15000;p3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01" name="Google Shape;15001;p3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02" name="Google Shape;15002;p3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03" name="Google Shape;15003;p3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04" name="Google Shape;15004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15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06" name="Google Shape;15006;p3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07" name="Google Shape;15007;p3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08" name="Google Shape;15008;p3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09" name="Google Shape;15009;p3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10" name="Google Shape;15010;p3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11" name="Google Shape;15011;p3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12" name="Google Shape;15012;p3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13" name="Google Shape;15013;p3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14" name="Google Shape;15014;p3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15" name="Google Shape;15015;p3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16" name="Google Shape;15016;p3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17" name="Google Shape;15017;p3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18" name="Google Shape;15018;p3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15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20" name="Google Shape;15020;p3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1" name="Google Shape;15021;p3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22" name="Google Shape;15022;p3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23" name="Google Shape;15023;p3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24" name="Google Shape;15024;p3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25" name="Google Shape;15025;p3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26" name="Google Shape;15026;p3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15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28" name="Google Shape;15028;p3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029" name="Google Shape;15029;p3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30" name="Google Shape;15030;p3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31" name="Google Shape;15031;p3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32" name="Google Shape;15032;p3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33" name="Google Shape;15033;p3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034" name="Google Shape;15034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035" name="Google Shape;15035;p3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15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37" name="Google Shape;15037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38" name="Google Shape;15038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39" name="Google Shape;15039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040" name="Google Shape;15040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41" name="Google Shape;15041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42" name="Google Shape;15042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3" name="Google Shape;15043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44" name="Google Shape;15044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1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8" name="Google Shape;1558;g3681a448973_2_1454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9" name="Google Shape;1559;g3681a448973_2_1454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0" name="Google Shape;1560;g3681a448973_2_14544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1" name="Google Shape;1561;g3681a448973_2_14544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2" name="Google Shape;1562;g3681a448973_2_14544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63" name="Google Shape;1563;g3681a448973_2_145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15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46" name="Google Shape;15046;p3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47" name="Google Shape;15047;p3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48" name="Google Shape;15048;p3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9" name="Google Shape;15049;p3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0" name="Google Shape;15050;p3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51" name="Google Shape;15051;p3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2" name="Google Shape;15052;p3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53" name="Google Shape;15053;p3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54" name="Google Shape;15054;p3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15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6" name="Google Shape;15056;p3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57" name="Google Shape;15057;p3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8" name="Google Shape;15058;p3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059" name="Google Shape;15059;p3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060" name="Google Shape;15060;p3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061" name="Google Shape;15061;p3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62" name="Google Shape;15062;p3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63" name="Google Shape;15063;p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15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65" name="Google Shape;15065;p31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66" name="Google Shape;15066;p31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67" name="Google Shape;15067;p3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68" name="Google Shape;15068;p31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69" name="Google Shape;15069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070" name="Google Shape;15070;p31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1" name="Google Shape;15071;p31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15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3" name="Google Shape;1507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74" name="Google Shape;1507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5" name="Google Shape;1507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76" name="Google Shape;1507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77" name="Google Shape;1507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78" name="Google Shape;1507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079" name="Google Shape;1507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80" name="Google Shape;1508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81" name="Google Shape;1508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82" name="Google Shape;1508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83" name="Google Shape;1508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084" name="Google Shape;15084;p3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15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86" name="Google Shape;15086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87" name="Google Shape;15087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88" name="Google Shape;15088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89" name="Google Shape;15089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90" name="Google Shape;15090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91" name="Google Shape;15091;p3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92" name="Google Shape;15092;p3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3" name="Google Shape;15093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94" name="Google Shape;15094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95" name="Google Shape;15095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150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7" name="Google Shape;15097;p3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98" name="Google Shape;15098;p3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099" name="Google Shape;15099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00" name="Google Shape;15100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01" name="Google Shape;15101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02" name="Google Shape;15102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03" name="Google Shape;15103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104" name="Google Shape;15104;p3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05" name="Google Shape;15105;p3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06" name="Google Shape;15106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07" name="Google Shape;15107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15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09" name="Google Shape;15109;p3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10" name="Google Shape;15110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11" name="Google Shape;15111;p3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12" name="Google Shape;15112;p3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13" name="Google Shape;15113;p3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114" name="Google Shape;15114;p3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5" name="Google Shape;15115;p3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16" name="Google Shape;15116;p3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7" name="Google Shape;15117;p3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18" name="Google Shape;15118;p3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9" name="Google Shape;15119;p3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0" name="Google Shape;15120;p3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21" name="Google Shape;15121;p3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15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23" name="Google Shape;15123;p3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124" name="Google Shape;15124;p3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125" name="Google Shape;15125;p3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26" name="Google Shape;15126;p3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27" name="Google Shape;15127;p3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28" name="Google Shape;15128;p3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29" name="Google Shape;15129;p3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Quotation">
  <p:cSld name="27_Quotation">
    <p:spTree>
      <p:nvGrpSpPr>
        <p:cNvPr id="1" name="Shape 15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31" name="Google Shape;15131;p3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32" name="Google Shape;15132;p3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33" name="Google Shape;15133;p3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34" name="Google Shape;15134;p3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5" name="Google Shape;15135;p3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6" name="Google Shape;15136;p3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37" name="Google Shape;15137;p3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38" name="Google Shape;15138;p3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39" name="Google Shape;15139;p3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40" name="Google Shape;15140;p3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41" name="Google Shape;15141;p3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142" name="Google Shape;15142;p3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15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44" name="Google Shape;15144;p31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145" name="Google Shape;15145;p31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46" name="Google Shape;15146;p31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47" name="Google Shape;15147;p31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48" name="Google Shape;15148;p31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49" name="Google Shape;15149;p31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150" name="Google Shape;15150;p3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151" name="Google Shape;15151;p3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5" name="Google Shape;1565;g3681a448973_2_1455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6" name="Google Shape;1566;g3681a448973_2_1455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7" name="Google Shape;1567;g3681a448973_2_145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68" name="Google Shape;1568;g3681a448973_2_145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9" name="Google Shape;1569;g3681a448973_2_145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0" name="Google Shape;1570;g3681a448973_2_14551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1" name="Google Shape;1571;g3681a448973_2_14551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2" name="Google Shape;1572;g3681a448973_2_1455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73" name="Google Shape;1573;g3681a448973_2_145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15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3" name="Google Shape;1515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54" name="Google Shape;1515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55" name="Google Shape;1515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6" name="Google Shape;1515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57" name="Google Shape;1515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58" name="Google Shape;1515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59" name="Google Shape;1515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60" name="Google Shape;1516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15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62" name="Google Shape;15162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3" name="Google Shape;15163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64" name="Google Shape;15164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65" name="Google Shape;15165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66" name="Google Shape;15166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167" name="Google Shape;15167;p3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68" name="Google Shape;15168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69" name="Google Shape;15169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70" name="Google Shape;15170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15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72" name="Google Shape;15172;p3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173" name="Google Shape;15173;p3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174" name="Google Shape;15174;p3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75" name="Google Shape;15175;p3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76" name="Google Shape;15176;p3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77" name="Google Shape;15177;p3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78" name="Google Shape;15178;p3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15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80" name="Google Shape;15180;p3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81" name="Google Shape;15181;p3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82" name="Google Shape;15182;p3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83" name="Google Shape;15183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84" name="Google Shape;15184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85" name="Google Shape;15185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86" name="Google Shape;15186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87" name="Google Shape;15187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88" name="Google Shape;15188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9" name="Google Shape;15189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0" name="Google Shape;15190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191" name="Google Shape;15191;p3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15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93" name="Google Shape;15193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94" name="Google Shape;15194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95" name="Google Shape;15195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96" name="Google Shape;15196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7" name="Google Shape;15197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198" name="Google Shape;15198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99" name="Google Shape;15199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00" name="Google Shape;15200;p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01" name="Google Shape;15201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02" name="Google Shape;15202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15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04" name="Google Shape;15204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05" name="Google Shape;15205;p3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206" name="Google Shape;15206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07" name="Google Shape;15207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08" name="Google Shape;15208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09" name="Google Shape;15209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10" name="Google Shape;15210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11" name="Google Shape;15211;p3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12" name="Google Shape;15212;p3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13" name="Google Shape;1521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14" name="Google Shape;1521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15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16" name="Google Shape;1521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17" name="Google Shape;1521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18" name="Google Shape;1521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19" name="Google Shape;1521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20" name="Google Shape;1522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21" name="Google Shape;1522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22" name="Google Shape;15222;p3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223" name="Google Shape;15223;p3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24" name="Google Shape;15224;p3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225" name="Google Shape;15225;p3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26" name="Google Shape;15226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7" name="Google Shape;15227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28" name="Google Shape;15228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15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30" name="Google Shape;15230;p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1" name="Google Shape;15231;p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2" name="Google Shape;15232;p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33" name="Google Shape;15233;p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34" name="Google Shape;15234;p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35" name="Google Shape;15235;p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36" name="Google Shape;15236;p3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37" name="Google Shape;15237;p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8" name="Google Shape;15238;p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15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40" name="Google Shape;15240;p3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41" name="Google Shape;15241;p3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42" name="Google Shape;15242;p3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43" name="Google Shape;15243;p3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44" name="Google Shape;15244;p3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45" name="Google Shape;15245;p3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246" name="Google Shape;15246;p3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247" name="Google Shape;15247;p3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15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49" name="Google Shape;15249;p3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50" name="Google Shape;15250;p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51" name="Google Shape;15251;p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52" name="Google Shape;15252;p3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53" name="Google Shape;15253;p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54" name="Google Shape;15254;p3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5" name="Google Shape;15255;p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6" name="Google Shape;15256;p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5" name="Google Shape;1575;g3681a448973_2_14561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6" name="Google Shape;1576;g3681a448973_2_1456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7" name="Google Shape;1577;g3681a448973_2_1456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8" name="Google Shape;1578;g3681a448973_2_14561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79" name="Google Shape;1579;g3681a448973_2_145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Quotation">
  <p:cSld name="32_Quotation">
    <p:spTree>
      <p:nvGrpSpPr>
        <p:cNvPr id="1" name="Shape 15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8" name="Google Shape;15258;p3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59" name="Google Shape;15259;p3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60" name="Google Shape;15260;p3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61" name="Google Shape;15261;p3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62" name="Google Shape;15262;p3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63" name="Google Shape;15263;p3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64" name="Google Shape;15264;p3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65" name="Google Shape;15265;p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66" name="Google Shape;15266;p3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67" name="Google Shape;15267;p3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8" name="Google Shape;15268;p3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69" name="Google Shape;15269;p3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15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71" name="Google Shape;15271;p33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72" name="Google Shape;15272;p33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73" name="Google Shape;15273;p33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274" name="Google Shape;15274;p3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275" name="Google Shape;15275;p33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276" name="Google Shape;15276;p3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7" name="Google Shape;15277;p33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278" name="Google Shape;15278;p3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15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80" name="Google Shape;15280;p33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281" name="Google Shape;15281;p33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82" name="Google Shape;15282;p3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83" name="Google Shape;15283;p33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284" name="Google Shape;15284;p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285" name="Google Shape;15285;p33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6" name="Google Shape;15286;p33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15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88" name="Google Shape;15288;p3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89" name="Google Shape;15289;p3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290" name="Google Shape;15290;p3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291" name="Google Shape;15291;p3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92" name="Google Shape;15292;p3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93" name="Google Shape;15293;p3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294" name="Google Shape;15294;p3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15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96" name="Google Shape;15296;p3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7" name="Google Shape;15297;p3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98" name="Google Shape;15298;p3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9" name="Google Shape;15299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0" name="Google Shape;15300;p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01" name="Google Shape;15301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02" name="Google Shape;15302;p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03" name="Google Shape;15303;p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04" name="Google Shape;15304;p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05" name="Google Shape;15305;p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06" name="Google Shape;15306;p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307" name="Google Shape;15307;p3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15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09" name="Google Shape;15309;p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10" name="Google Shape;15310;p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11" name="Google Shape;15311;p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12" name="Google Shape;15312;p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13" name="Google Shape;15313;p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14" name="Google Shape;15314;p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15" name="Google Shape;15315;p3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16" name="Google Shape;15316;p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17" name="Google Shape;15317;p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8" name="Google Shape;15318;p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15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20" name="Google Shape;15320;p3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21" name="Google Shape;15321;p3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22" name="Google Shape;15322;p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23" name="Google Shape;15323;p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24" name="Google Shape;15324;p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25" name="Google Shape;15325;p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26" name="Google Shape;15326;p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27" name="Google Shape;15327;p3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28" name="Google Shape;15328;p3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29" name="Google Shape;15329;p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30" name="Google Shape;15330;p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15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32" name="Google Shape;15332;p3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33" name="Google Shape;15333;p3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34" name="Google Shape;15334;p3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35" name="Google Shape;15335;p3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36" name="Google Shape;15336;p3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37" name="Google Shape;15337;p3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38" name="Google Shape;15338;p3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339" name="Google Shape;15339;p3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40" name="Google Shape;15340;p3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341" name="Google Shape;15341;p3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42" name="Google Shape;15342;p3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43" name="Google Shape;15343;p3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44" name="Google Shape;15344;p3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15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46" name="Google Shape;15346;p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47" name="Google Shape;15347;p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48" name="Google Shape;15348;p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49" name="Google Shape;15349;p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50" name="Google Shape;15350;p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51" name="Google Shape;15351;p3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52" name="Google Shape;15352;p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3" name="Google Shape;15353;p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54" name="Google Shape;15354;p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15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56" name="Google Shape;15356;p3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357" name="Google Shape;15357;p3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58" name="Google Shape;15358;p3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359" name="Google Shape;15359;p3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60" name="Google Shape;15360;p3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61" name="Google Shape;15361;p3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62" name="Google Shape;15362;p3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63" name="Google Shape;15363;p3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1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1" name="Google Shape;1581;g3681a448973_2_1456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2" name="Google Shape;1582;g3681a448973_2_145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83" name="Google Shape;1583;g3681a448973_2_1456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4" name="Google Shape;1584;g3681a448973_2_14567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5" name="Google Shape;1585;g3681a448973_2_14567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15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5" name="Google Shape;15365;p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66" name="Google Shape;15366;p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7" name="Google Shape;15367;p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68" name="Google Shape;15368;p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9" name="Google Shape;15369;p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0" name="Google Shape;15370;p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71" name="Google Shape;15371;p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72" name="Google Shape;15372;p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15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4" name="Google Shape;15374;p34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75" name="Google Shape;15375;p34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76" name="Google Shape;15376;p34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377" name="Google Shape;15377;p3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378" name="Google Shape;15378;p34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379" name="Google Shape;15379;p3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80" name="Google Shape;15380;p34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381" name="Google Shape;15381;p3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15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83" name="Google Shape;15383;p3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384" name="Google Shape;15384;p3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85" name="Google Shape;15385;p3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86" name="Google Shape;15386;p3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387" name="Google Shape;15387;p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388" name="Google Shape;15388;p3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89" name="Google Shape;15389;p3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15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1" name="Google Shape;15391;p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92" name="Google Shape;15392;p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93" name="Google Shape;15393;p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94" name="Google Shape;15394;p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95" name="Google Shape;15395;p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96" name="Google Shape;15396;p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97" name="Google Shape;15397;p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98" name="Google Shape;15398;p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9" name="Google Shape;15399;p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0" name="Google Shape;15400;p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01" name="Google Shape;15401;p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402" name="Google Shape;15402;p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15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04" name="Google Shape;15404;p3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405" name="Google Shape;15405;p3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406" name="Google Shape;15406;p3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07" name="Google Shape;15407;p3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08" name="Google Shape;15408;p3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409" name="Google Shape;15409;p3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410" name="Google Shape;15410;p3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Quotation">
  <p:cSld name="40_Quotation">
    <p:spTree>
      <p:nvGrpSpPr>
        <p:cNvPr id="1" name="Shape 15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12" name="Google Shape;15412;p3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13" name="Google Shape;15413;p3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14" name="Google Shape;15414;p3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5" name="Google Shape;15415;p3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16" name="Google Shape;15416;p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17" name="Google Shape;15417;p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18" name="Google Shape;15418;p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19" name="Google Shape;15419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20" name="Google Shape;15420;p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21" name="Google Shape;15421;p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22" name="Google Shape;15422;p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423" name="Google Shape;15423;p3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15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25" name="Google Shape;15425;p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26" name="Google Shape;15426;p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27" name="Google Shape;15427;p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28" name="Google Shape;15428;p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29" name="Google Shape;15429;p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30" name="Google Shape;15430;p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31" name="Google Shape;15431;p3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32" name="Google Shape;15432;p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33" name="Google Shape;15433;p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4" name="Google Shape;15434;p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15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6" name="Google Shape;15436;p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37" name="Google Shape;15437;p3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38" name="Google Shape;15438;p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39" name="Google Shape;15439;p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40" name="Google Shape;15440;p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41" name="Google Shape;15441;p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42" name="Google Shape;15442;p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43" name="Google Shape;15443;p3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44" name="Google Shape;15444;p3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45" name="Google Shape;15445;p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46" name="Google Shape;15446;p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15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48" name="Google Shape;15448;p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49" name="Google Shape;15449;p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50" name="Google Shape;15450;p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51" name="Google Shape;15451;p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52" name="Google Shape;15452;p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53" name="Google Shape;15453;p3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4" name="Google Shape;15454;p3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455" name="Google Shape;15455;p3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56" name="Google Shape;15456;p3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457" name="Google Shape;15457;p3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58" name="Google Shape;15458;p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59" name="Google Shape;15459;p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60" name="Google Shape;15460;p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15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62" name="Google Shape;15462;p3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3" name="Google Shape;15463;p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64" name="Google Shape;15464;p3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65" name="Google Shape;15465;p3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66" name="Google Shape;15466;p3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67" name="Google Shape;15467;p3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68" name="Google Shape;15468;p3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69" name="Google Shape;15469;p3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70" name="Google Shape;15470;p3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g3681a448973_2_1457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8" name="Google Shape;1588;g3681a448973_2_1457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9" name="Google Shape;1589;g3681a448973_2_14573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0" name="Google Shape;1590;g3681a448973_2_14573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1" name="Google Shape;1591;g3681a448973_2_14573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92" name="Google Shape;1592;g3681a448973_2_145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15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72" name="Google Shape;15472;p34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473" name="Google Shape;15473;p34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74" name="Google Shape;15474;p34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475" name="Google Shape;15475;p34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76" name="Google Shape;15476;p34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7" name="Google Shape;15477;p34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478" name="Google Shape;15478;p3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479" name="Google Shape;15479;p3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15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81" name="Google Shape;15481;p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82" name="Google Shape;15482;p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3" name="Google Shape;15483;p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84" name="Google Shape;15484;p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85" name="Google Shape;15485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86" name="Google Shape;15486;p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7" name="Google Shape;15487;p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88" name="Google Shape;15488;p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15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90" name="Google Shape;15490;p3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91" name="Google Shape;15491;p3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92" name="Google Shape;15492;p3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493" name="Google Shape;15493;p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494" name="Google Shape;15494;p3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495" name="Google Shape;15495;p3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96" name="Google Shape;15496;p3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497" name="Google Shape;15497;p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15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99" name="Google Shape;15499;p3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00" name="Google Shape;15500;p3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01" name="Google Shape;15501;p3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02" name="Google Shape;15502;p3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503" name="Google Shape;15503;p3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15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05" name="Google Shape;15505;p3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506" name="Google Shape;15506;p3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507" name="Google Shape;15507;p3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08" name="Google Shape;15508;p3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09" name="Google Shape;15509;p3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15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11" name="Google Shape;15511;p3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12" name="Google Shape;15512;p3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13" name="Google Shape;15513;p3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14" name="Google Shape;15514;p3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15" name="Google Shape;15515;p3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516" name="Google Shape;15516;p3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15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18" name="Google Shape;15518;p35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19" name="Google Shape;15519;p35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20" name="Google Shape;15520;p35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21" name="Google Shape;15521;p35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22" name="Google Shape;15522;p3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5523" name="Google Shape;15523;p35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5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25" name="Google Shape;15525;p35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26" name="Google Shape;15526;p35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5527" name="Google Shape;15527;p3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528" name="Google Shape;15528;p3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29" name="Google Shape;15529;p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5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31" name="Google Shape;15531;p35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32" name="Google Shape;15532;p35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5533" name="Google Shape;15533;p35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5534" name="Google Shape;15534;p35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535" name="Google Shape;15535;p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36" name="Google Shape;15536;p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5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38" name="Google Shape;15538;p35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39" name="Google Shape;15539;p35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540" name="Google Shape;15540;p35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41" name="Google Shape;15541;p35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542" name="Google Shape;15542;p35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43" name="Google Shape;15543;p35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544" name="Google Shape;15544;p35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45" name="Google Shape;15545;p35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5546" name="Google Shape;15546;p3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g3681a448973_2_1458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g3681a448973_2_1458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g3681a448973_2_1458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97" name="Google Shape;1597;g3681a448973_2_145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8" name="Google Shape;1598;g3681a448973_2_145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99" name="Google Shape;1599;g3681a448973_2_14580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0" name="Google Shape;1600;g3681a448973_2_14580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1" name="Google Shape;1601;g3681a448973_2_1458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02" name="Google Shape;1602;g3681a448973_2_145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15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48" name="Google Shape;15548;p3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49" name="Google Shape;15549;p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50" name="Google Shape;15550;p3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51" name="Google Shape;15551;p3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52" name="Google Shape;15552;p3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53" name="Google Shape;15553;p3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54" name="Google Shape;15554;p3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5" name="Google Shape;15555;p3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56" name="Google Shape;15556;p3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57" name="Google Shape;15557;p3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15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59" name="Google Shape;15559;p36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560" name="Google Shape;15560;p36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561" name="Google Shape;15561;p36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562" name="Google Shape;15562;p36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63" name="Google Shape;15563;p36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564" name="Google Shape;15564;p36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565" name="Google Shape;15565;p3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 2">
    <p:spTree>
      <p:nvGrpSpPr>
        <p:cNvPr id="1" name="Shape 15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7" name="Google Shape;15567;p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568" name="Google Shape;15568;p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569" name="Google Shape;15569;p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570" name="Google Shape;15570;p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71" name="Google Shape;15571;p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572" name="Google Shape;15572;p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573" name="Google Shape;15573;p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15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75" name="Google Shape;15575;p3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6" name="Google Shape;15576;p3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77" name="Google Shape;15577;p3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578" name="Google Shape;15578;p3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579" name="Google Shape;15579;p3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580" name="Google Shape;15580;p3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81" name="Google Shape;15581;p3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582" name="Google Shape;15582;p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15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84" name="Google Shape;15584;p3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585" name="Google Shape;15585;p3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86" name="Google Shape;15586;p3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87" name="Google Shape;15587;p3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588" name="Google Shape;15588;p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589" name="Google Shape;15589;p3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90" name="Google Shape;15590;p3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 3">
    <p:spTree>
      <p:nvGrpSpPr>
        <p:cNvPr id="1" name="Shape 15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92" name="Google Shape;15592;p36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593" name="Google Shape;15593;p36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594" name="Google Shape;15594;p36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595" name="Google Shape;15595;p36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96" name="Google Shape;15596;p36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597" name="Google Shape;15597;p36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598" name="Google Shape;15598;p3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Quotation">
  <p:cSld name="43_Quotation">
    <p:spTree>
      <p:nvGrpSpPr>
        <p:cNvPr id="1" name="Shape 15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00" name="Google Shape;15600;p3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01" name="Google Shape;15601;p3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02" name="Google Shape;15602;p3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03" name="Google Shape;15603;p3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4" name="Google Shape;15604;p3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05" name="Google Shape;15605;p3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06" name="Google Shape;15606;p3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7" name="Google Shape;15607;p3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08" name="Google Shape;15608;p3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09" name="Google Shape;15609;p3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10" name="Google Shape;15610;p3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11" name="Google Shape;15611;p3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 2">
    <p:spTree>
      <p:nvGrpSpPr>
        <p:cNvPr id="1" name="Shape 15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13" name="Google Shape;15613;p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14" name="Google Shape;15614;p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5" name="Google Shape;15615;p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16" name="Google Shape;15616;p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17" name="Google Shape;15617;p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18" name="Google Shape;15618;p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19" name="Google Shape;15619;p3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20" name="Google Shape;15620;p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21" name="Google Shape;15621;p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22" name="Google Shape;15622;p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15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24" name="Google Shape;15624;p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25" name="Google Shape;15625;p3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626" name="Google Shape;15626;p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27" name="Google Shape;15627;p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28" name="Google Shape;15628;p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9" name="Google Shape;15629;p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0" name="Google Shape;15630;p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31" name="Google Shape;15631;p3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32" name="Google Shape;15632;p3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33" name="Google Shape;15633;p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34" name="Google Shape;15634;p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15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36" name="Google Shape;15636;p3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7" name="Google Shape;15637;p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38" name="Google Shape;15638;p3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39" name="Google Shape;15639;p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40" name="Google Shape;15640;p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1" name="Google Shape;15641;p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42" name="Google Shape;15642;p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43" name="Google Shape;15643;p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44" name="Google Shape;15644;p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45" name="Google Shape;15645;p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46" name="Google Shape;15646;p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47" name="Google Shape;15647;p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48" name="Google Shape;15648;p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g3681a448973_2_1315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" name="Google Shape;166;g3681a448973_2_1315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g3681a448973_2_13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g3681a448973_2_1315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" name="Google Shape;169;g3681a448973_2_13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" name="Google Shape;170;g3681a448973_2_13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" name="Google Shape;171;g3681a448973_2_1315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2" name="Google Shape;172;g3681a448973_2_13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" name="Google Shape;173;g3681a448973_2_1315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4" name="Google Shape;174;g3681a448973_2_13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175;g3681a448973_2_13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6" name="Google Shape;176;g3681a448973_2_131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g3681a448973_2_14590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5" name="Google Shape;1605;g3681a448973_2_1459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6" name="Google Shape;1606;g3681a448973_2_1459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7" name="Google Shape;1607;g3681a448973_2_14590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08" name="Google Shape;1608;g3681a448973_2_14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15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50" name="Google Shape;15650;p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51" name="Google Shape;15651;p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52" name="Google Shape;15652;p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3" name="Google Shape;15653;p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54" name="Google Shape;15654;p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55" name="Google Shape;15655;p3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6" name="Google Shape;15656;p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57" name="Google Shape;15657;p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58" name="Google Shape;15658;p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15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60" name="Google Shape;15660;p3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661" name="Google Shape;15661;p3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62" name="Google Shape;15662;p3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63" name="Google Shape;15663;p3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64" name="Google Shape;15664;p3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65" name="Google Shape;15665;p3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666" name="Google Shape;15666;p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667" name="Google Shape;15667;p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15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9" name="Google Shape;15669;p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70" name="Google Shape;15670;p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1" name="Google Shape;15671;p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72" name="Google Shape;15672;p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73" name="Google Shape;15673;p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74" name="Google Shape;15674;p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75" name="Google Shape;15675;p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76" name="Google Shape;15676;p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15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78" name="Google Shape;15678;p3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79" name="Google Shape;15679;p3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80" name="Google Shape;15680;p3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681" name="Google Shape;15681;p3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682" name="Google Shape;15682;p3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683" name="Google Shape;15683;p3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84" name="Google Shape;15684;p3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685" name="Google Shape;15685;p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15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87" name="Google Shape;15687;p3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688" name="Google Shape;15688;p3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89" name="Google Shape;15689;p3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90" name="Google Shape;15690;p3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691" name="Google Shape;15691;p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692" name="Google Shape;15692;p3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93" name="Google Shape;15693;p3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15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5" name="Google Shape;15695;p3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696" name="Google Shape;15696;p37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697" name="Google Shape;15697;p3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698" name="Google Shape;15698;p3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99" name="Google Shape;15699;p3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00" name="Google Shape;15700;p3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01" name="Google Shape;15701;p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15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03" name="Google Shape;15703;p3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4" name="Google Shape;15704;p3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05" name="Google Shape;15705;p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06" name="Google Shape;15706;p3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07" name="Google Shape;15707;p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08" name="Google Shape;15708;p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709" name="Google Shape;15709;p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10" name="Google Shape;15710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11" name="Google Shape;15711;p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12" name="Google Shape;15712;p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13" name="Google Shape;15713;p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714" name="Google Shape;15714;p3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15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16" name="Google Shape;15716;p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17" name="Google Shape;15717;p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18" name="Google Shape;15718;p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19" name="Google Shape;15719;p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20" name="Google Shape;15720;p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21" name="Google Shape;15721;p3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22" name="Google Shape;15722;p3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23" name="Google Shape;15723;p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24" name="Google Shape;15724;p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25" name="Google Shape;15725;p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15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7" name="Google Shape;15727;p3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28" name="Google Shape;15728;p3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729" name="Google Shape;15729;p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30" name="Google Shape;15730;p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31" name="Google Shape;15731;p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32" name="Google Shape;15732;p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33" name="Google Shape;15733;p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34" name="Google Shape;15734;p37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35" name="Google Shape;15735;p37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36" name="Google Shape;15736;p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37" name="Google Shape;15737;p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15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39" name="Google Shape;15739;p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40" name="Google Shape;15740;p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41" name="Google Shape;15741;p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42" name="Google Shape;15742;p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43" name="Google Shape;15743;p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44" name="Google Shape;15744;p3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45" name="Google Shape;15745;p37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746" name="Google Shape;15746;p37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7" name="Google Shape;15747;p37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748" name="Google Shape;15748;p37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9" name="Google Shape;15749;p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50" name="Google Shape;15750;p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51" name="Google Shape;15751;p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Google Shape;1610;g3681a448973_2_1459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1" name="Google Shape;1611;g3681a448973_2_145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12" name="Google Shape;1612;g3681a448973_2_1459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3" name="Google Shape;1613;g3681a448973_2_14596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4" name="Google Shape;1614;g3681a448973_2_14596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15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53" name="Google Shape;15753;p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54" name="Google Shape;15754;p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55" name="Google Shape;15755;p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56" name="Google Shape;15756;p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57" name="Google Shape;15757;p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58" name="Google Shape;15758;p3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59" name="Google Shape;15759;p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60" name="Google Shape;15760;p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61" name="Google Shape;15761;p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15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63" name="Google Shape;15763;p38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64" name="Google Shape;15764;p38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65" name="Google Shape;15765;p38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66" name="Google Shape;15766;p38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67" name="Google Shape;15767;p38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68" name="Google Shape;15768;p38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69" name="Google Shape;15769;p3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70" name="Google Shape;15770;p3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15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72" name="Google Shape;15772;p3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73" name="Google Shape;15773;p3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74" name="Google Shape;15774;p3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775" name="Google Shape;15775;p3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76" name="Google Shape;15776;p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77" name="Google Shape;15777;p3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78" name="Google Shape;15778;p3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79" name="Google Shape;15779;p3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15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1" name="Google Shape;15781;p38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82" name="Google Shape;15782;p38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783" name="Google Shape;15783;p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5784" name="Google Shape;15784;p38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785" name="Google Shape;15785;p38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5786" name="Google Shape;15786;p38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87" name="Google Shape;15787;p38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88" name="Google Shape;15788;p38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89" name="Google Shape;15789;p3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90" name="Google Shape;15790;p3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791" name="Google Shape;15791;p3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15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93" name="Google Shape;15793;p3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4" name="Google Shape;15794;p3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95" name="Google Shape;15795;p3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96" name="Google Shape;15796;p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7" name="Google Shape;15797;p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98" name="Google Shape;15798;p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799" name="Google Shape;15799;p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00" name="Google Shape;15800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01" name="Google Shape;15801;p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02" name="Google Shape;15802;p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03" name="Google Shape;15803;p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804" name="Google Shape;15804;p3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15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06" name="Google Shape;15806;p3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07" name="Google Shape;15807;p3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808" name="Google Shape;15808;p3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09" name="Google Shape;15809;p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10" name="Google Shape;15810;p3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11" name="Google Shape;15811;p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12" name="Google Shape;15812;p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813" name="Google Shape;15813;p3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14" name="Google Shape;15814;p3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15" name="Google Shape;15815;p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16" name="Google Shape;15816;p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15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18" name="Google Shape;15818;p3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19" name="Google Shape;15819;p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20" name="Google Shape;15820;p3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21" name="Google Shape;15821;p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22" name="Google Shape;15822;p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823" name="Google Shape;15823;p3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24" name="Google Shape;15824;p3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25" name="Google Shape;15825;p3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26" name="Google Shape;15826;p3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27" name="Google Shape;15827;p3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28" name="Google Shape;15828;p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29" name="Google Shape;15829;p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30" name="Google Shape;15830;p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15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32" name="Google Shape;15832;p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33" name="Google Shape;15833;p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4" name="Google Shape;15834;p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35" name="Google Shape;15835;p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36" name="Google Shape;15836;p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837" name="Google Shape;15837;p3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38" name="Google Shape;15838;p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39" name="Google Shape;15839;p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40" name="Google Shape;15840;p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15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42" name="Google Shape;15842;p3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843" name="Google Shape;15843;p3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44" name="Google Shape;15844;p3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845" name="Google Shape;15845;p3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46" name="Google Shape;15846;p3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47" name="Google Shape;15847;p3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48" name="Google Shape;15848;p3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849" name="Google Shape;15849;p3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15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51" name="Google Shape;15851;p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52" name="Google Shape;15852;p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53" name="Google Shape;15853;p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54" name="Google Shape;15854;p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55" name="Google Shape;15855;p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56" name="Google Shape;15856;p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57" name="Google Shape;15857;p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8" name="Google Shape;15858;p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g3681a448973_2_1460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7" name="Google Shape;1617;g3681a448973_2_1460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8" name="Google Shape;1618;g3681a448973_2_14602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9" name="Google Shape;1619;g3681a448973_2_14602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g3681a448973_2_14602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21" name="Google Shape;1621;g3681a448973_2_146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15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0" name="Google Shape;15860;p3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61" name="Google Shape;15861;p3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62" name="Google Shape;15862;p3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863" name="Google Shape;15863;p3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864" name="Google Shape;15864;p3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865" name="Google Shape;15865;p3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66" name="Google Shape;15866;p3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67" name="Google Shape;15867;p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15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69" name="Google Shape;15869;p3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870" name="Google Shape;15870;p3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71" name="Google Shape;15871;p3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72" name="Google Shape;15872;p3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73" name="Google Shape;15873;p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74" name="Google Shape;15874;p3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75" name="Google Shape;15875;p3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15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7" name="Google Shape;15877;p3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78" name="Google Shape;15878;p3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79" name="Google Shape;15879;p3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80" name="Google Shape;15880;p3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81" name="Google Shape;15881;p3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82" name="Google Shape;15882;p3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83" name="Google Shape;15883;p3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4" name="Google Shape;15884;p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85" name="Google Shape;15885;p3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86" name="Google Shape;15886;p3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87" name="Google Shape;15887;p3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888" name="Google Shape;15888;p3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15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90" name="Google Shape;15890;p3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91" name="Google Shape;15891;p3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92" name="Google Shape;15892;p3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93" name="Google Shape;15893;p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94" name="Google Shape;15894;p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95" name="Google Shape;15895;p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96" name="Google Shape;15896;p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97" name="Google Shape;15897;p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8" name="Google Shape;15898;p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99" name="Google Shape;15899;p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00" name="Google Shape;15900;p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901" name="Google Shape;15901;p3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15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3" name="Google Shape;15903;p3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04" name="Google Shape;15904;p3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05" name="Google Shape;15905;p3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06" name="Google Shape;15906;p3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07" name="Google Shape;15907;p3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08" name="Google Shape;15908;p3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909" name="Google Shape;15909;p3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10" name="Google Shape;15910;p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11" name="Google Shape;15911;p3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12" name="Google Shape;15912;p3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3" name="Google Shape;15913;p3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914" name="Google Shape;15914;p3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15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16" name="Google Shape;15916;p3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17" name="Google Shape;15917;p3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18" name="Google Shape;15918;p3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919" name="Google Shape;15919;p3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920" name="Google Shape;15920;p3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921" name="Google Shape;15921;p3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22" name="Google Shape;15922;p3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23" name="Google Shape;15923;p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15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925" name="Google Shape;15925;p3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926" name="Google Shape;15926;p3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27" name="Google Shape;15927;p3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28" name="Google Shape;15928;p3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29" name="Google Shape;15929;p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930" name="Google Shape;15930;p3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31" name="Google Shape;15931;p3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15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3" name="Google Shape;15933;p3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934" name="Google Shape;15934;p3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935" name="Google Shape;15935;p3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936" name="Google Shape;15936;p3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37" name="Google Shape;15937;p3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38" name="Google Shape;15938;p3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39" name="Google Shape;15939;p3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159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1" name="Google Shape;15941;p3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42" name="Google Shape;15942;p3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3" name="Google Shape;15943;p3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44" name="Google Shape;15944;p3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45" name="Google Shape;15945;p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46" name="Google Shape;15946;p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947" name="Google Shape;15947;p3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48" name="Google Shape;15948;p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49" name="Google Shape;15949;p3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50" name="Google Shape;15950;p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51" name="Google Shape;15951;p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952" name="Google Shape;15952;p3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1_Quotation">
  <p:cSld name="51_Quotation">
    <p:spTree>
      <p:nvGrpSpPr>
        <p:cNvPr id="1" name="Shape 15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54" name="Google Shape;15954;p3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5" name="Google Shape;15955;p3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6" name="Google Shape;15956;p3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7" name="Google Shape;15957;p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58" name="Google Shape;15958;p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59" name="Google Shape;15959;p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960" name="Google Shape;15960;p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61" name="Google Shape;15961;p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62" name="Google Shape;15962;p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63" name="Google Shape;15963;p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64" name="Google Shape;15964;p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965" name="Google Shape;15965;p3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1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3" name="Google Shape;1623;g3681a448973_2_14609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4" name="Google Shape;1624;g3681a448973_2_1460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g3681a448973_2_1460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6" name="Google Shape;1626;g3681a448973_2_14609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27" name="Google Shape;1627;g3681a448973_2_146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15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967" name="Google Shape;15967;p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68" name="Google Shape;15968;p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69" name="Google Shape;15969;p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70" name="Google Shape;15970;p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71" name="Google Shape;15971;p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972" name="Google Shape;15972;p3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73" name="Google Shape;15973;p3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4" name="Google Shape;15974;p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75" name="Google Shape;15975;p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76" name="Google Shape;15976;p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15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8" name="Google Shape;15978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79" name="Google Shape;15979;p4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980" name="Google Shape;15980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81" name="Google Shape;15981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82" name="Google Shape;15982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83" name="Google Shape;15983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84" name="Google Shape;15984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985" name="Google Shape;15985;p40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86" name="Google Shape;15986;p40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7" name="Google Shape;15987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88" name="Google Shape;15988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15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990" name="Google Shape;15990;p4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91" name="Google Shape;15991;p4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92" name="Google Shape;15992;p4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93" name="Google Shape;15993;p4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94" name="Google Shape;15994;p4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995" name="Google Shape;15995;p4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6" name="Google Shape;15996;p40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997" name="Google Shape;15997;p40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98" name="Google Shape;15998;p40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999" name="Google Shape;15999;p40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0" name="Google Shape;16000;p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01" name="Google Shape;16001;p4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02" name="Google Shape;16002;p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16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4" name="Google Shape;16004;p4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05" name="Google Shape;16005;p4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06" name="Google Shape;16006;p4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07" name="Google Shape;16007;p4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08" name="Google Shape;16008;p4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009" name="Google Shape;16009;p4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10" name="Google Shape;16010;p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11" name="Google Shape;16011;p4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12" name="Google Shape;16012;p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160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14" name="Google Shape;16014;p40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015" name="Google Shape;16015;p40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16" name="Google Shape;16016;p40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017" name="Google Shape;16017;p40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18" name="Google Shape;16018;p40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9" name="Google Shape;16019;p40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020" name="Google Shape;16020;p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021" name="Google Shape;16021;p4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16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23" name="Google Shape;16023;p4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24" name="Google Shape;16024;p4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25" name="Google Shape;16025;p4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26" name="Google Shape;16026;p4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27" name="Google Shape;16027;p4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8" name="Google Shape;16028;p4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29" name="Google Shape;16029;p4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30" name="Google Shape;16030;p4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1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32" name="Google Shape;16032;p4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33" name="Google Shape;16033;p4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34" name="Google Shape;16034;p4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35" name="Google Shape;16035;p4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36" name="Google Shape;16036;p4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37" name="Google Shape;16037;p4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38" name="Google Shape;16038;p4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39" name="Google Shape;16039;p4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40" name="Google Shape;16040;p4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41" name="Google Shape;16041;p4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2" name="Google Shape;16042;p4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43" name="Google Shape;16043;p4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16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5" name="Google Shape;16045;p4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46" name="Google Shape;16046;p4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47" name="Google Shape;16047;p4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48" name="Google Shape;16048;p4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49" name="Google Shape;16049;p4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50" name="Google Shape;16050;p4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51" name="Google Shape;16051;p4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52" name="Google Shape;16052;p4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53" name="Google Shape;16053;p4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54" name="Google Shape;16054;p4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55" name="Google Shape;16055;p4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6" name="Google Shape;16056;p4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4_Quotation">
  <p:cSld name="54_Quotation">
    <p:spTree>
      <p:nvGrpSpPr>
        <p:cNvPr id="1" name="Shape 16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58" name="Google Shape;16058;p4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59" name="Google Shape;16059;p4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0" name="Google Shape;16060;p4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61" name="Google Shape;16061;p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62" name="Google Shape;16062;p4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63" name="Google Shape;16063;p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64" name="Google Shape;16064;p4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65" name="Google Shape;16065;p4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66" name="Google Shape;16066;p4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67" name="Google Shape;16067;p4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68" name="Google Shape;16068;p4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69" name="Google Shape;16069;p4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16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1" name="Google Shape;16071;p4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72" name="Google Shape;16072;p4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73" name="Google Shape;16073;p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74" name="Google Shape;16074;p4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75" name="Google Shape;16075;p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76" name="Google Shape;16076;p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77" name="Google Shape;16077;p4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78" name="Google Shape;16078;p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79" name="Google Shape;16079;p4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80" name="Google Shape;16080;p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81" name="Google Shape;16081;p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82" name="Google Shape;16082;p4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1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9" name="Google Shape;1629;g3681a448973_2_1461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0" name="Google Shape;1630;g3681a448973_2_1461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1" name="Google Shape;1631;g3681a448973_2_1461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g3681a448973_2_1461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3" name="Google Shape;1633;g3681a448973_2_1461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34" name="Google Shape;1634;g3681a448973_2_146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16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4" name="Google Shape;16084;p4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5" name="Google Shape;16085;p4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6" name="Google Shape;16086;p4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087" name="Google Shape;16087;p4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088" name="Google Shape;16088;p4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089" name="Google Shape;16089;p4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90" name="Google Shape;16090;p4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91" name="Google Shape;16091;p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16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93" name="Google Shape;16093;p4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094" name="Google Shape;16094;p4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95" name="Google Shape;16095;p4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96" name="Google Shape;16096;p4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97" name="Google Shape;16097;p4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098" name="Google Shape;16098;p4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9" name="Google Shape;16099;p4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16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1" name="Google Shape;16101;p4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02" name="Google Shape;16102;p4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103" name="Google Shape;16103;p4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104" name="Google Shape;16104;p4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05" name="Google Shape;16105;p4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06" name="Google Shape;16106;p4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107" name="Google Shape;16107;p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6_Quotation">
  <p:cSld name="56_Quotation">
    <p:spTree>
      <p:nvGrpSpPr>
        <p:cNvPr id="1" name="Shape 16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9" name="Google Shape;16109;p4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0" name="Google Shape;16110;p4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11" name="Google Shape;16111;p4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12" name="Google Shape;16112;p4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3" name="Google Shape;16113;p4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14" name="Google Shape;16114;p4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15" name="Google Shape;16115;p4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16" name="Google Shape;16116;p4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17" name="Google Shape;16117;p4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18" name="Google Shape;16118;p4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19" name="Google Shape;16119;p4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20" name="Google Shape;16120;p4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16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22" name="Google Shape;16122;p4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23" name="Google Shape;16123;p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24" name="Google Shape;16124;p4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25" name="Google Shape;16125;p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26" name="Google Shape;16126;p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127" name="Google Shape;16127;p4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28" name="Google Shape;16128;p4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29" name="Google Shape;16129;p4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30" name="Google Shape;16130;p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31" name="Google Shape;16131;p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16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3" name="Google Shape;16133;p4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34" name="Google Shape;16134;p4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135" name="Google Shape;16135;p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36" name="Google Shape;16136;p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37" name="Google Shape;16137;p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38" name="Google Shape;16138;p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39" name="Google Shape;16139;p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140" name="Google Shape;16140;p4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41" name="Google Shape;16141;p4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42" name="Google Shape;16142;p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43" name="Google Shape;16143;p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16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45" name="Google Shape;16145;p4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6" name="Google Shape;16146;p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47" name="Google Shape;16147;p4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48" name="Google Shape;16148;p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49" name="Google Shape;16149;p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150" name="Google Shape;16150;p4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51" name="Google Shape;16151;p4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152" name="Google Shape;16152;p4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53" name="Google Shape;16153;p4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154" name="Google Shape;16154;p4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55" name="Google Shape;16155;p4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56" name="Google Shape;16156;p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57" name="Google Shape;16157;p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16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59" name="Google Shape;16159;p4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60" name="Google Shape;16160;p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61" name="Google Shape;16161;p4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2" name="Google Shape;16162;p4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63" name="Google Shape;16163;p4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164" name="Google Shape;16164;p4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65" name="Google Shape;16165;p4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66" name="Google Shape;16166;p4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67" name="Google Shape;16167;p4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16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69" name="Google Shape;16169;p4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170" name="Google Shape;16170;p4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71" name="Google Shape;16171;p4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72" name="Google Shape;16172;p4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73" name="Google Shape;16173;p4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74" name="Google Shape;16174;p4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175" name="Google Shape;16175;p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176" name="Google Shape;16176;p4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16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8" name="Google Shape;16178;p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79" name="Google Shape;16179;p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80" name="Google Shape;16180;p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81" name="Google Shape;16181;p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82" name="Google Shape;16182;p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83" name="Google Shape;16183;p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84" name="Google Shape;16184;p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85" name="Google Shape;16185;p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" name="Google Shape;1636;g3681a448973_2_1462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37" name="Google Shape;1637;g3681a448973_2_146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38" name="Google Shape;1638;g3681a448973_2_1462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9" name="Google Shape;1639;g3681a448973_2_14622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0" name="Google Shape;1640;g3681a448973_2_14622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16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7" name="Google Shape;16187;p41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88" name="Google Shape;16188;p41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89" name="Google Shape;16189;p41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190" name="Google Shape;16190;p4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191" name="Google Shape;16191;p41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192" name="Google Shape;16192;p4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93" name="Google Shape;16193;p41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94" name="Google Shape;16194;p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16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96" name="Google Shape;16196;p4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197" name="Google Shape;16197;p4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98" name="Google Shape;16198;p4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99" name="Google Shape;16199;p4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200" name="Google Shape;16200;p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201" name="Google Shape;16201;p4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2" name="Google Shape;16202;p4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1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04" name="Google Shape;16204;p4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205" name="Google Shape;16205;p4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206" name="Google Shape;16206;p4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207" name="Google Shape;16207;p4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08" name="Google Shape;16208;p4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209" name="Google Shape;16209;p4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210" name="Google Shape;16210;p4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7_Quotation">
  <p:cSld name="57_Quotation">
    <p:spTree>
      <p:nvGrpSpPr>
        <p:cNvPr id="1" name="Shape 16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12" name="Google Shape;16212;p4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13" name="Google Shape;16213;p4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4" name="Google Shape;16214;p4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5" name="Google Shape;16215;p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16" name="Google Shape;16216;p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17" name="Google Shape;16217;p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18" name="Google Shape;16218;p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9" name="Google Shape;16219;p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0" name="Google Shape;16220;p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21" name="Google Shape;16221;p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22" name="Google Shape;16222;p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223" name="Google Shape;16223;p4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16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25" name="Google Shape;16225;p4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26" name="Google Shape;16226;p4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7" name="Google Shape;16227;p4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28" name="Google Shape;16228;p4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29" name="Google Shape;16229;p4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30" name="Google Shape;16230;p4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31" name="Google Shape;16231;p4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32" name="Google Shape;16232;p4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33" name="Google Shape;16233;p4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34" name="Google Shape;16234;p4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16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36" name="Google Shape;16236;p4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37" name="Google Shape;16237;p4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238" name="Google Shape;16238;p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39" name="Google Shape;16239;p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40" name="Google Shape;16240;p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41" name="Google Shape;16241;p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2" name="Google Shape;16242;p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43" name="Google Shape;16243;p4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44" name="Google Shape;16244;p4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45" name="Google Shape;16245;p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46" name="Google Shape;16246;p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16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48" name="Google Shape;16248;p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49" name="Google Shape;16249;p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50" name="Google Shape;16250;p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51" name="Google Shape;16251;p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52" name="Google Shape;16252;p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3" name="Google Shape;16253;p4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54" name="Google Shape;16254;p4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255" name="Google Shape;16255;p4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56" name="Google Shape;16256;p4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257" name="Google Shape;16257;p4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58" name="Google Shape;16258;p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59" name="Google Shape;16259;p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60" name="Google Shape;16260;p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16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62" name="Google Shape;16262;p4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63" name="Google Shape;16263;p4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4" name="Google Shape;16264;p4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65" name="Google Shape;16265;p4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66" name="Google Shape;16266;p4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67" name="Google Shape;16267;p4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8" name="Google Shape;16268;p4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69" name="Google Shape;16269;p4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70" name="Google Shape;16270;p4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16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72" name="Google Shape;16272;p4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273" name="Google Shape;16273;p4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74" name="Google Shape;16274;p4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275" name="Google Shape;16275;p4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76" name="Google Shape;16276;p4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7" name="Google Shape;16277;p4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278" name="Google Shape;16278;p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279" name="Google Shape;16279;p4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16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" name="Google Shape;16281;p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2" name="Google Shape;16282;p4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83" name="Google Shape;16283;p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84" name="Google Shape;16284;p4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85" name="Google Shape;16285;p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86" name="Google Shape;16286;p4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87" name="Google Shape;16287;p4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8" name="Google Shape;16288;p4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g3681a448973_2_1462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g3681a448973_2_1462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4" name="Google Shape;1644;g3681a448973_2_1462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45" name="Google Shape;1645;g3681a448973_2_146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46" name="Google Shape;1646;g3681a448973_2_1462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647" name="Google Shape;1647;g3681a448973_2_146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8" name="Google Shape;1648;g3681a448973_2_146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49" name="Google Shape;1649;g3681a448973_2_146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8_Quotation">
  <p:cSld name="58_Quotation">
    <p:spTree>
      <p:nvGrpSpPr>
        <p:cNvPr id="1" name="Shape 16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90" name="Google Shape;16290;p4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91" name="Google Shape;16291;p4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92" name="Google Shape;16292;p4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93" name="Google Shape;16293;p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94" name="Google Shape;16294;p4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5" name="Google Shape;16295;p4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96" name="Google Shape;16296;p4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97" name="Google Shape;16297;p4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98" name="Google Shape;16298;p4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99" name="Google Shape;16299;p4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00" name="Google Shape;16300;p4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301" name="Google Shape;16301;p4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16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03" name="Google Shape;16303;p4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04" name="Google Shape;16304;p4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05" name="Google Shape;16305;p4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06" name="Google Shape;16306;p4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07" name="Google Shape;16307;p4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08" name="Google Shape;16308;p4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09" name="Google Shape;16309;p4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10" name="Google Shape;16310;p4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11" name="Google Shape;16311;p4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12" name="Google Shape;16312;p4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6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4" name="Google Shape;16314;p43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15" name="Google Shape;16315;p43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16" name="Google Shape;16316;p43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17" name="Google Shape;16317;p4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18" name="Google Shape;16318;p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16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20" name="Google Shape;16320;p43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1" name="Google Shape;16321;p43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2" name="Google Shape;16322;p4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23" name="Google Shape;16323;p4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4" name="Google Shape;16324;p4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25" name="Google Shape;16325;p43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26" name="Google Shape;16326;p43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27" name="Google Shape;16327;p43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28" name="Google Shape;16328;p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16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30" name="Google Shape;16330;p4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31" name="Google Shape;16331;p4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2" name="Google Shape;16332;p4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33" name="Google Shape;16333;p4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4" name="Google Shape;16334;p4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35" name="Google Shape;16335;p4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36" name="Google Shape;16336;p4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37" name="Google Shape;16337;p4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38" name="Google Shape;16338;p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16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40" name="Google Shape;16340;p4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41" name="Google Shape;16341;p4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42" name="Google Shape;16342;p4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43" name="Google Shape;16343;p4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44" name="Google Shape;16344;p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 2">
    <p:spTree>
      <p:nvGrpSpPr>
        <p:cNvPr id="1" name="Shape 16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46" name="Google Shape;16346;p4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347" name="Google Shape;16347;p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348" name="Google Shape;16348;p4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49" name="Google Shape;16349;p4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0" name="Google Shape;16350;p4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16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52" name="Google Shape;16352;p4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53" name="Google Shape;16353;p4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54" name="Google Shape;16354;p4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55" name="Google Shape;16355;p4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56" name="Google Shape;16356;p4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357" name="Google Shape;16357;p4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16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59" name="Google Shape;16359;p4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60" name="Google Shape;16360;p4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61" name="Google Shape;16361;p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62" name="Google Shape;16362;p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63" name="Google Shape;16363;p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4" name="Google Shape;16364;p4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65" name="Google Shape;16365;p4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66" name="Google Shape;16366;p4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67" name="Google Shape;16367;p4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16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9" name="Google Shape;16369;p4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0" name="Google Shape;16370;p4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1" name="Google Shape;16371;p4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2" name="Google Shape;16372;p4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73" name="Google Shape;16373;p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1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1" name="Google Shape;1651;g3681a448973_2_1463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652" name="Google Shape;1652;g3681a448973_2_146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3" name="Google Shape;1653;g3681a448973_2_146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4" name="Google Shape;1654;g3681a448973_2_146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55" name="Google Shape;1655;g3681a448973_2_146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6" name="Google Shape;1656;g3681a448973_2_1463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7" name="Google Shape;1657;g3681a448973_2_1463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16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75" name="Google Shape;16375;p4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376" name="Google Shape;16376;p4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377" name="Google Shape;16377;p4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8" name="Google Shape;16378;p4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9" name="Google Shape;16379;p4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16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1" name="Google Shape;16381;p4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2" name="Google Shape;16382;p4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3" name="Google Shape;16383;p4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4" name="Google Shape;16384;p4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5" name="Google Shape;16385;p4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386" name="Google Shape;16386;p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16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Google Shape;16388;p44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9" name="Google Shape;16389;p44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90" name="Google Shape;16390;p4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91" name="Google Shape;16391;p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92" name="Google Shape;16392;p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93" name="Google Shape;16393;p44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94" name="Google Shape;16394;p44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95" name="Google Shape;16395;p44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6" name="Google Shape;16396;p4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16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8" name="Google Shape;16398;p44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9" name="Google Shape;16399;p44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00" name="Google Shape;16400;p44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01" name="Google Shape;16401;p4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02" name="Google Shape;16402;p4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03" name="Google Shape;16403;p44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04" name="Google Shape;16404;p44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05" name="Google Shape;16405;p44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06" name="Google Shape;16406;p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16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8" name="Google Shape;16408;p44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09" name="Google Shape;16409;p44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10" name="Google Shape;16410;p44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11" name="Google Shape;16411;p4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12" name="Google Shape;16412;p4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13" name="Google Shape;16413;p44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14" name="Google Shape;16414;p44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15" name="Google Shape;16415;p44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16" name="Google Shape;16416;p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16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8" name="Google Shape;16418;p44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19" name="Google Shape;16419;p44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0" name="Google Shape;16420;p44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1" name="Google Shape;16421;p44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22" name="Google Shape;16422;p4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16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4" name="Google Shape;16424;p4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25" name="Google Shape;16425;p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26" name="Google Shape;16426;p4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7" name="Google Shape;16427;p44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8" name="Google Shape;16428;p44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16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0" name="Google Shape;16430;p4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1" name="Google Shape;16431;p4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2" name="Google Shape;16432;p44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33" name="Google Shape;16433;p44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34" name="Google Shape;16434;p44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35" name="Google Shape;16435;p4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16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7" name="Google Shape;16437;p4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38" name="Google Shape;16438;p4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9" name="Google Shape;16439;p4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40" name="Google Shape;16440;p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41" name="Google Shape;16441;p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42" name="Google Shape;16442;p44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3" name="Google Shape;16443;p44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4" name="Google Shape;16444;p4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45" name="Google Shape;16445;p4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16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47" name="Google Shape;16447;p4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48" name="Google Shape;16448;p4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9" name="Google Shape;16449;p4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50" name="Google Shape;16450;p4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1" name="Google Shape;16451;p4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1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9" name="Google Shape;1659;g3681a448973_2_1464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0" name="Google Shape;1660;g3681a448973_2_1464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61" name="Google Shape;1661;g3681a448973_2_1464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62" name="Google Shape;1662;g3681a448973_2_1464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3" name="Google Shape;1663;g3681a448973_2_1464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64" name="Google Shape;1664;g3681a448973_2_1464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665" name="Google Shape;1665;g3681a448973_2_146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16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53" name="Google Shape;16453;p4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54" name="Google Shape;16454;p4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55" name="Google Shape;16455;p4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56" name="Google Shape;16456;p4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57" name="Google Shape;16457;p4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16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59" name="Google Shape;16459;p4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60" name="Google Shape;16460;p4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61" name="Google Shape;16461;p4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62" name="Google Shape;16462;p4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63" name="Google Shape;16463;p4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64" name="Google Shape;16464;p4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16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66" name="Google Shape;16466;p4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67" name="Google Shape;16467;p4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68" name="Google Shape;16468;p4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69" name="Google Shape;16469;p4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70" name="Google Shape;16470;p4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71" name="Google Shape;16471;p4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72" name="Google Shape;16472;p4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73" name="Google Shape;16473;p4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74" name="Google Shape;16474;p4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16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6" name="Google Shape;16476;p4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77" name="Google Shape;16477;p4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78" name="Google Shape;16478;p4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79" name="Google Shape;16479;p4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80" name="Google Shape;16480;p4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16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2" name="Google Shape;16482;p4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3" name="Google Shape;16483;p4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84" name="Google Shape;16484;p4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85" name="Google Shape;16485;p4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86" name="Google Shape;16486;p4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16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8" name="Google Shape;16488;p4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89" name="Google Shape;16489;p4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90" name="Google Shape;16490;p4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91" name="Google Shape;16491;p4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92" name="Google Shape;16492;p4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93" name="Google Shape;16493;p4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16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95" name="Google Shape;16495;p45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96" name="Google Shape;16496;p45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7" name="Google Shape;16497;p45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98" name="Google Shape;16498;p4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9" name="Google Shape;16499;p4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00" name="Google Shape;16500;p45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1" name="Google Shape;16501;p45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2" name="Google Shape;16502;p45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03" name="Google Shape;16503;p4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16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05" name="Google Shape;16505;p45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06" name="Google Shape;16506;p4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7" name="Google Shape;16507;p4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8" name="Google Shape;16508;p45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09" name="Google Shape;16509;p4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16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1" name="Google Shape;16511;p4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512" name="Google Shape;16512;p4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513" name="Google Shape;16513;p4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14" name="Google Shape;16514;p45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5" name="Google Shape;16515;p45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16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7" name="Google Shape;16517;p4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18" name="Google Shape;16518;p4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19" name="Google Shape;16519;p45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20" name="Google Shape;16520;p45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21" name="Google Shape;16521;p45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22" name="Google Shape;16522;p4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g3681a448973_2_1465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8" name="Google Shape;1668;g3681a448973_2_1465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9" name="Google Shape;1669;g3681a448973_2_146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0" name="Google Shape;1670;g3681a448973_2_146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1" name="Google Shape;1671;g3681a448973_2_146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2" name="Google Shape;1672;g3681a448973_2_146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3" name="Google Shape;1673;g3681a448973_2_146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674" name="Google Shape;1674;g3681a448973_2_14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5" name="Google Shape;1675;g3681a448973_2_146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676" name="Google Shape;1676;g3681a448973_2_146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7" name="Google Shape;1677;g3681a448973_2_146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78" name="Google Shape;1678;g3681a448973_2_146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16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24" name="Google Shape;16524;p45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25" name="Google Shape;16525;p4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26" name="Google Shape;16526;p4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27" name="Google Shape;16527;p45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28" name="Google Shape;16528;p4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16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0" name="Google Shape;16530;p46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531" name="Google Shape;16531;p4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532" name="Google Shape;16532;p46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33" name="Google Shape;16533;p46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34" name="Google Shape;16534;p46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16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6" name="Google Shape;16536;p4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37" name="Google Shape;16537;p4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38" name="Google Shape;16538;p46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9" name="Google Shape;16539;p46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40" name="Google Shape;16540;p46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41" name="Google Shape;16541;p4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16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43" name="Google Shape;16543;p4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4" name="Google Shape;16544;p4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45" name="Google Shape;16545;p4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546" name="Google Shape;16546;p4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547" name="Google Shape;16547;p4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548" name="Google Shape;16548;p4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49" name="Google Shape;16549;p4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550" name="Google Shape;16550;p4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16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52" name="Google Shape;16552;p4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553" name="Google Shape;16553;p4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54" name="Google Shape;16554;p4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55" name="Google Shape;16555;p4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556" name="Google Shape;16556;p4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557" name="Google Shape;16557;p4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58" name="Google Shape;16558;p4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16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60" name="Google Shape;16560;p46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561" name="Google Shape;16561;p46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562" name="Google Shape;16562;p46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563" name="Google Shape;16563;p46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64" name="Google Shape;16564;p46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565" name="Google Shape;16565;p46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566" name="Google Shape;16566;p4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16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68" name="Google Shape;16568;p4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69" name="Google Shape;16569;p4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70" name="Google Shape;16570;p4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1" name="Google Shape;16571;p4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72" name="Google Shape;16572;p4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73" name="Google Shape;16573;p4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74" name="Google Shape;16574;p4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75" name="Google Shape;16575;p4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76" name="Google Shape;16576;p4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77" name="Google Shape;16577;p4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78" name="Google Shape;16578;p4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579" name="Google Shape;16579;p4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16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81" name="Google Shape;16581;p4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2" name="Google Shape;16582;p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83" name="Google Shape;16583;p4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84" name="Google Shape;16584;p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85" name="Google Shape;16585;p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86" name="Google Shape;16586;p4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87" name="Google Shape;16587;p4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88" name="Google Shape;16588;p4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89" name="Google Shape;16589;p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90" name="Google Shape;16590;p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16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92" name="Google Shape;16592;p4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93" name="Google Shape;16593;p4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594" name="Google Shape;16594;p4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95" name="Google Shape;16595;p4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6" name="Google Shape;16596;p4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97" name="Google Shape;16597;p4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98" name="Google Shape;16598;p4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99" name="Google Shape;16599;p4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0" name="Google Shape;16600;p4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01" name="Google Shape;16601;p4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02" name="Google Shape;16602;p4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16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04" name="Google Shape;16604;p4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05" name="Google Shape;16605;p4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606" name="Google Shape;16606;p4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7" name="Google Shape;16607;p4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08" name="Google Shape;16608;p4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09" name="Google Shape;16609;p4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0" name="Google Shape;16610;p4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1" name="Google Shape;16611;p4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12" name="Google Shape;16612;p4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3" name="Google Shape;16613;p4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14" name="Google Shape;16614;p4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15" name="Google Shape;16615;p4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16" name="Google Shape;16616;p4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g3681a448973_2_1316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9" name="Google Shape;179;g3681a448973_2_13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" name="Google Shape;180;g3681a448973_2_131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1" name="Google Shape;181;g3681a448973_2_13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182;g3681a448973_2_13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3" name="Google Shape;183;g3681a448973_2_131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g3681a448973_2_131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g3681a448973_2_131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" name="Google Shape;186;g3681a448973_2_13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" name="Google Shape;187;g3681a448973_2_13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1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0" name="Google Shape;1680;g3681a448973_2_146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681" name="Google Shape;1681;g3681a448973_2_14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2" name="Google Shape;1682;g3681a448973_2_146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683" name="Google Shape;1683;g3681a448973_2_146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4" name="Google Shape;1684;g3681a448973_2_146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85" name="Google Shape;1685;g3681a448973_2_146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6" name="Google Shape;1686;g3681a448973_2_146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7" name="Google Shape;1687;g3681a448973_2_146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g3681a448973_2_146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g3681a448973_2_146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16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18" name="Google Shape;16618;p4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19" name="Google Shape;16619;p4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620" name="Google Shape;16620;p4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21" name="Google Shape;16621;p4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22" name="Google Shape;16622;p4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3" name="Google Shape;16623;p4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24" name="Google Shape;16624;p4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25" name="Google Shape;16625;p4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26" name="Google Shape;16626;p4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16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28" name="Google Shape;16628;p4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29" name="Google Shape;16629;p4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30" name="Google Shape;16630;p4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631" name="Google Shape;16631;p4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32" name="Google Shape;16632;p4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33" name="Google Shape;16633;p4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634" name="Google Shape;16634;p4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635" name="Google Shape;16635;p4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16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37" name="Google Shape;16637;p4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38" name="Google Shape;16638;p4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39" name="Google Shape;16639;p4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640" name="Google Shape;16640;p4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41" name="Google Shape;16641;p4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642" name="Google Shape;16642;p4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43" name="Google Shape;16643;p4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44" name="Google Shape;16644;p4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16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6" name="Google Shape;16646;p47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47" name="Google Shape;16647;p4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648" name="Google Shape;16648;p47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649" name="Google Shape;16649;p47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650" name="Google Shape;16650;p472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651" name="Google Shape;16651;p47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52" name="Google Shape;16652;p47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53" name="Google Shape;16653;p47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54" name="Google Shape;16654;p47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16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56" name="Google Shape;16656;p473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57" name="Google Shape;16657;p47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58" name="Google Shape;16658;p47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59" name="Google Shape;16659;p47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0" name="Google Shape;16660;p4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661" name="Google Shape;16661;p47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16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63" name="Google Shape;16663;p4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64" name="Google Shape;16664;p4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665" name="Google Shape;16665;p4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66" name="Google Shape;16666;p4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67" name="Google Shape;16667;p4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68" name="Google Shape;16668;p4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69" name="Google Shape;16669;p4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70" name="Google Shape;16670;p4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71" name="Google Shape;16671;p4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72" name="Google Shape;16672;p4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6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4" name="Google Shape;16674;p47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75" name="Google Shape;16675;p47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676" name="Google Shape;16676;p47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677" name="Google Shape;16677;p47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78" name="Google Shape;16678;p47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679" name="Google Shape;16679;p47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680" name="Google Shape;16680;p4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16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82" name="Google Shape;16682;p4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83" name="Google Shape;16683;p47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6684" name="Google Shape;16684;p476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5" name="Google Shape;16685;p47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 2">
    <p:spTree>
      <p:nvGrpSpPr>
        <p:cNvPr id="1" name="Shape 16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87" name="Google Shape;16687;p4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6688" name="Google Shape;16688;p4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89" name="Google Shape;16689;p4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690" name="Google Shape;16690;p477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16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92" name="Google Shape;16692;p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6693" name="Google Shape;16693;p4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94" name="Google Shape;16694;p4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695" name="Google Shape;16695;p478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1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1" name="Google Shape;1691;g3681a448973_2_146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2" name="Google Shape;1692;g3681a448973_2_1467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93" name="Google Shape;1693;g3681a448973_2_146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694" name="Google Shape;1694;g3681a448973_2_146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5" name="Google Shape;1695;g3681a448973_2_146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696" name="Google Shape;1696;g3681a448973_2_146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7" name="Google Shape;1697;g3681a448973_2_146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98" name="Google Shape;1698;g3681a448973_2_1467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g3681a448973_2_1467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0" name="Google Shape;1700;g3681a448973_2_146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1" name="Google Shape;1701;g3681a448973_2_146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6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97" name="Google Shape;16697;p4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6698" name="Google Shape;16698;p47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99" name="Google Shape;16699;p4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700" name="Google Shape;16700;p47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6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02" name="Google Shape;16702;p4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03" name="Google Shape;16703;p4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6704" name="Google Shape;16704;p480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05" name="Google Shape;16705;p480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16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07" name="Google Shape;16707;p4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08" name="Google Shape;16708;p48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6709" name="Google Shape;16709;p481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10" name="Google Shape;16710;p481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16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12" name="Google Shape;16712;p4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13" name="Google Shape;16713;p48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6714" name="Google Shape;16714;p482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15" name="Google Shape;16715;p48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16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17" name="Google Shape;16717;p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718" name="Google Shape;16718;p4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9" name="Google Shape;16719;p4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720" name="Google Shape;16720;p48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6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22" name="Google Shape;16722;p4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723" name="Google Shape;16723;p48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24" name="Google Shape;16724;p48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5" name="Google Shape;16725;p484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6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27" name="Google Shape;16727;p4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28" name="Google Shape;16728;p48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2">
    <p:spTree>
      <p:nvGrpSpPr>
        <p:cNvPr id="1" name="Shape 16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0" name="Google Shape;16730;p48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31" name="Google Shape;16731;p48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732" name="Google Shape;16732;p48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733" name="Google Shape;16733;p48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34" name="Google Shape;16734;p48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35" name="Google Shape;16735;p48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736" name="Google Shape;16736;p4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16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8" name="Google Shape;16738;p487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39" name="Google Shape;16739;p487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0" name="Google Shape;16740;p487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1" name="Google Shape;16741;p487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742" name="Google Shape;16742;p4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16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4" name="Google Shape;16744;p488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745" name="Google Shape;16745;p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746" name="Google Shape;16746;p488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7" name="Google Shape;16747;p488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48" name="Google Shape;16748;p488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1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3" name="Google Shape;1703;g3681a448973_2_1468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04" name="Google Shape;1704;g3681a448973_2_146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05" name="Google Shape;1705;g3681a448973_2_146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06" name="Google Shape;1706;g3681a448973_2_146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7" name="Google Shape;1707;g3681a448973_2_146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08" name="Google Shape;1708;g3681a448973_2_1468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9" name="Google Shape;1709;g3681a448973_2_1468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10" name="Google Shape;1710;g3681a448973_2_1468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1" name="Google Shape;1711;g3681a448973_2_146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12" name="Google Shape;1712;g3681a448973_2_146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g3681a448973_2_146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g3681a448973_2_146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g3681a448973_2_146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16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50" name="Google Shape;16750;p489"/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1" name="Google Shape;16751;p489"/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2" name="Google Shape;16752;p489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3" name="Google Shape;16753;p489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4" name="Google Shape;16754;p489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55" name="Google Shape;16755;p4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16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57" name="Google Shape;16757;p490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8" name="Google Shape;16758;p490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59" name="Google Shape;16759;p490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0" name="Google Shape;16760;p490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1" name="Google Shape;16761;p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762" name="Google Shape;16762;p49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16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4" name="Google Shape;16764;p491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65" name="Google Shape;16765;p491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766" name="Google Shape;16766;p49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67" name="Google Shape;16767;p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68" name="Google Shape;16768;p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16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70" name="Google Shape;16770;p492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71" name="Google Shape;16771;p492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772" name="Google Shape;16772;p492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773" name="Google Shape;16773;p4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74" name="Google Shape;16774;p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75" name="Google Shape;16775;p4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167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77" name="Google Shape;16777;p49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78" name="Google Shape;16778;p49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9" name="Google Shape;16779;p49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80" name="Google Shape;16780;p49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81" name="Google Shape;16781;p49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2" name="Google Shape;16782;p49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83" name="Google Shape;16783;p493"/>
          <p:cNvCxnSpPr/>
          <p:nvPr/>
        </p:nvCxnSpPr>
        <p:spPr>
          <a:xfrm>
            <a:off x="11311725" y="6447273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4" name="Google Shape;16784;p493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785" name="Google Shape;16785;p4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16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87" name="Google Shape;16787;p49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788" name="Google Shape;16788;p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89" name="Google Shape;16789;p4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790" name="Google Shape;16790;p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91" name="Google Shape;16791;p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92" name="Google Shape;16792;p49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93" name="Google Shape;16793;p49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94" name="Google Shape;16794;p49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95" name="Google Shape;16795;p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96" name="Google Shape;16796;p49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3">
    <p:spTree>
      <p:nvGrpSpPr>
        <p:cNvPr id="1" name="Shape 16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8" name="Google Shape;16798;p49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9" name="Google Shape;16799;p49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800" name="Google Shape;16800;p49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801" name="Google Shape;16801;p49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02" name="Google Shape;16802;p49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03" name="Google Shape;16803;p49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804" name="Google Shape;16804;p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4">
    <p:spTree>
      <p:nvGrpSpPr>
        <p:cNvPr id="1" name="Shape 16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06" name="Google Shape;16806;p49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807" name="Google Shape;16807;p4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808" name="Google Shape;16808;p49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809" name="Google Shape;16809;p4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10" name="Google Shape;16810;p4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11" name="Google Shape;16811;p4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812" name="Google Shape;16812;p4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16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14" name="Google Shape;16814;p49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15" name="Google Shape;16815;p49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16" name="Google Shape;16816;p49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7" name="Google Shape;16817;p49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18" name="Google Shape;16818;p49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19" name="Google Shape;16819;p49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820" name="Google Shape;16820;p497"/>
          <p:cNvCxnSpPr/>
          <p:nvPr/>
        </p:nvCxnSpPr>
        <p:spPr>
          <a:xfrm>
            <a:off x="11311725" y="6447273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21" name="Google Shape;16821;p497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22" name="Google Shape;16822;p4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16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24" name="Google Shape;16824;p49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25" name="Google Shape;16825;p49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26" name="Google Shape;16826;p49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27" name="Google Shape;16827;p49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28" name="Google Shape;16828;p49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29" name="Google Shape;16829;p49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830" name="Google Shape;16830;p498"/>
          <p:cNvCxnSpPr/>
          <p:nvPr/>
        </p:nvCxnSpPr>
        <p:spPr>
          <a:xfrm>
            <a:off x="11311725" y="6447273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31" name="Google Shape;16831;p498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32" name="Google Shape;16832;p4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1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7" name="Google Shape;1717;g3681a448973_2_147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18" name="Google Shape;1718;g3681a448973_2_14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9" name="Google Shape;1719;g3681a448973_2_147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20" name="Google Shape;1720;g3681a448973_2_14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1" name="Google Shape;1721;g3681a448973_2_14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2" name="Google Shape;1722;g3681a448973_2_147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3" name="Google Shape;1723;g3681a448973_2_1470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4" name="Google Shape;1724;g3681a448973_2_14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5" name="Google Shape;1725;g3681a448973_2_14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0_Quotation">
  <p:cSld name="60_Quotation">
    <p:spTree>
      <p:nvGrpSpPr>
        <p:cNvPr id="1" name="Shape 16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4" name="Google Shape;16834;p499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35" name="Google Shape;16835;p49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36" name="Google Shape;16836;p4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7" name="Google Shape;16837;p4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38" name="Google Shape;16838;p4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39" name="Google Shape;16839;p4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40" name="Google Shape;16840;p49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841" name="Google Shape;16841;p4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42" name="Google Shape;16842;p4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43" name="Google Shape;16843;p4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44" name="Google Shape;16844;p4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845" name="Google Shape;16845;p4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16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47" name="Google Shape;16847;p500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8" name="Google Shape;16848;p50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49" name="Google Shape;16849;p5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0" name="Google Shape;16850;p50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51" name="Google Shape;16851;p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52" name="Google Shape;16852;p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53" name="Google Shape;16853;p500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854" name="Google Shape;16854;p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55" name="Google Shape;16855;p5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56" name="Google Shape;16856;p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57" name="Google Shape;16857;p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858" name="Google Shape;16858;p5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16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60" name="Google Shape;16860;p501"/>
          <p:cNvSpPr/>
          <p:nvPr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1" name="Google Shape;16861;p50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62" name="Google Shape;16862;p50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63" name="Google Shape;16863;p5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64" name="Google Shape;16864;p50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6865" name="Google Shape;16865;p5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66" name="Google Shape;16866;p5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867" name="Google Shape;16867;p5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16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69" name="Google Shape;16869;p50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6870" name="Google Shape;16870;p50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71" name="Google Shape;16871;p50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72" name="Google Shape;16872;p50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873" name="Google Shape;16873;p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874" name="Google Shape;16874;p50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5" name="Google Shape;16875;p50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 5">
    <p:spTree>
      <p:nvGrpSpPr>
        <p:cNvPr id="1" name="Shape 16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7" name="Google Shape;16877;p50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878" name="Google Shape;16878;p5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879" name="Google Shape;16879;p50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6880" name="Google Shape;16880;p5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81" name="Google Shape;16881;p5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82" name="Google Shape;16882;p5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883" name="Google Shape;16883;p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1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85" name="Google Shape;16885;p504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86" name="Google Shape;16886;p50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87" name="Google Shape;16887;p5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88" name="Google Shape;16888;p5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9" name="Google Shape;16889;p5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0" name="Google Shape;16890;p5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1" name="Google Shape;16891;p50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892" name="Google Shape;16892;p5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93" name="Google Shape;16893;p5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94" name="Google Shape;16894;p5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95" name="Google Shape;16895;p5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896" name="Google Shape;16896;p5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3_Quotation">
  <p:cSld name="63_Quotation">
    <p:spTree>
      <p:nvGrpSpPr>
        <p:cNvPr id="1" name="Shape 16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8" name="Google Shape;16898;p505"/>
          <p:cNvSpPr/>
          <p:nvPr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99" name="Google Shape;16899;p50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00" name="Google Shape;16900;p5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01" name="Google Shape;16901;p5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02" name="Google Shape;16902;p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03" name="Google Shape;16903;p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4" name="Google Shape;16904;p505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05" name="Google Shape;16905;p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06" name="Google Shape;16906;p5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07" name="Google Shape;16907;p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08" name="Google Shape;16908;p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09" name="Google Shape;16909;p5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 2">
    <p:spTree>
      <p:nvGrpSpPr>
        <p:cNvPr id="1" name="Shape 16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11" name="Google Shape;16911;p50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12" name="Google Shape;16912;p5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3" name="Google Shape;16913;p5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14" name="Google Shape;16914;p5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15" name="Google Shape;16915;p5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916" name="Google Shape;16916;p5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17" name="Google Shape;16917;p50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18" name="Google Shape;16918;p5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19" name="Google Shape;16919;p5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20" name="Google Shape;16920;p5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16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22" name="Google Shape;16922;p5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23" name="Google Shape;16923;p50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924" name="Google Shape;16924;p50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25" name="Google Shape;16925;p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6" name="Google Shape;16926;p5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7" name="Google Shape;16927;p5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28" name="Google Shape;16928;p5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929" name="Google Shape;16929;p50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30" name="Google Shape;16930;p50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31" name="Google Shape;16931;p5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32" name="Google Shape;16932;p5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16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34" name="Google Shape;16934;p50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35" name="Google Shape;16935;p5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36" name="Google Shape;16936;p5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7" name="Google Shape;16937;p5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8" name="Google Shape;16938;p5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939" name="Google Shape;16939;p50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40" name="Google Shape;16940;p50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941" name="Google Shape;16941;p50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42" name="Google Shape;16942;p50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943" name="Google Shape;16943;p50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44" name="Google Shape;16944;p5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45" name="Google Shape;16945;p5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46" name="Google Shape;16946;p5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1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7" name="Google Shape;1727;g3681a448973_2_1471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28" name="Google Shape;1728;g3681a448973_2_1471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9" name="Google Shape;1729;g3681a448973_2_1471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30" name="Google Shape;1730;g3681a448973_2_1471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1" name="Google Shape;1731;g3681a448973_2_1471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2" name="Google Shape;1732;g3681a448973_2_1471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33" name="Google Shape;1733;g3681a448973_2_147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34" name="Google Shape;1734;g3681a448973_2_1471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16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8" name="Google Shape;16948;p509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49" name="Google Shape;16949;p5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50" name="Google Shape;16950;p5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51" name="Google Shape;16951;p5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52" name="Google Shape;16952;p5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953" name="Google Shape;16953;p5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54" name="Google Shape;16954;p50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55" name="Google Shape;16955;p5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56" name="Google Shape;16956;p5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16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58" name="Google Shape;16958;p51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959" name="Google Shape;16959;p51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0" name="Google Shape;16960;p51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961" name="Google Shape;16961;p510"/>
          <p:cNvSpPr/>
          <p:nvPr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62" name="Google Shape;16962;p51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63" name="Google Shape;16963;p51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964" name="Google Shape;16964;p5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965" name="Google Shape;16965;p5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16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7" name="Google Shape;16967;p51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68" name="Google Shape;16968;p5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69" name="Google Shape;16969;p5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70" name="Google Shape;16970;p511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16971" name="Google Shape;16971;p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72" name="Google Shape;16972;p5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73" name="Google Shape;16973;p5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74" name="Google Shape;16974;p5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6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76" name="Google Shape;16976;p5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77" name="Google Shape;16977;p5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6978" name="Google Shape;16978;p51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79" name="Google Shape;16979;p51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16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81" name="Google Shape;16981;p5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6982" name="Google Shape;16982;p51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83" name="Google Shape;16983;p5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84" name="Google Shape;16984;p51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16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86" name="Google Shape;16986;p5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87" name="Google Shape;16987;p5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6988" name="Google Shape;16988;p51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89" name="Google Shape;16989;p51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16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1" name="Google Shape;16991;p515"/>
          <p:cNvPicPr preferRelativeResize="0"/>
          <p:nvPr/>
        </p:nvPicPr>
        <p:blipFill rotWithShape="1">
          <a:blip r:embed="rId2">
            <a:alphaModFix/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992" name="Google Shape;16992;p5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93" name="Google Shape;16993;p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94" name="Google Shape;16994;p51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16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6" name="Google Shape;16996;p5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997" name="Google Shape;16997;p5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98" name="Google Shape;16998;p5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9" name="Google Shape;16999;p51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17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01" name="Google Shape;17001;p5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02" name="Google Shape;17002;p5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7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04" name="Google Shape;17004;p5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05" name="Google Shape;17005;p5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7006" name="Google Shape;17006;p518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07" name="Google Shape;17007;p518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1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6" name="Google Shape;1736;g3681a448973_2_147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7" name="Google Shape;1737;g3681a448973_2_147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8" name="Google Shape;1738;g3681a448973_2_147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9" name="Google Shape;1739;g3681a448973_2_1472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40" name="Google Shape;1740;g3681a448973_2_14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1" name="Google Shape;1741;g3681a448973_2_147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42" name="Google Shape;1742;g3681a448973_2_147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3" name="Google Shape;1743;g3681a448973_2_147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17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9" name="Google Shape;17009;p519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10" name="Google Shape;17010;p519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11" name="Google Shape;17011;p51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12" name="Google Shape;17012;p519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13" name="Google Shape;17013;p51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4" name="Google Shape;17014;p51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15" name="Google Shape;17015;p519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16" name="Google Shape;17016;p51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17" name="Google Shape;17017;p5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17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19" name="Google Shape;17019;p52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20" name="Google Shape;17020;p52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21" name="Google Shape;17021;p52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22" name="Google Shape;17022;p52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23" name="Google Shape;17023;p52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24" name="Google Shape;17024;p52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5" name="Google Shape;17025;p52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26" name="Google Shape;17026;p52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27" name="Google Shape;17027;p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4_Quotation">
  <p:cSld name="64_Quotation">
    <p:spTree>
      <p:nvGrpSpPr>
        <p:cNvPr id="1" name="Shape 17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9" name="Google Shape;17029;p5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30" name="Google Shape;17030;p5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31" name="Google Shape;17031;p5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32" name="Google Shape;17032;p5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33" name="Google Shape;17033;p5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4" name="Google Shape;17034;p5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035" name="Google Shape;17035;p5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036" name="Google Shape;17036;p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037" name="Google Shape;17037;p5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038" name="Google Shape;17038;p5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39" name="Google Shape;17039;p5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40" name="Google Shape;17040;p5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17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42" name="Google Shape;17042;p5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43" name="Google Shape;17043;p5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44" name="Google Shape;17044;p5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5" name="Google Shape;17045;p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46" name="Google Shape;17046;p5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47" name="Google Shape;17047;p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048" name="Google Shape;17048;p5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049" name="Google Shape;17049;p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050" name="Google Shape;17050;p5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051" name="Google Shape;17051;p5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52" name="Google Shape;17052;p5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53" name="Google Shape;17053;p5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170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55" name="Google Shape;17055;p52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56" name="Google Shape;17056;p52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57" name="Google Shape;17057;p52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58" name="Google Shape;17058;p5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059" name="Google Shape;17059;p52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060" name="Google Shape;17060;p5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1" name="Google Shape;17061;p52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62" name="Google Shape;17062;p5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17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64" name="Google Shape;17064;p5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065" name="Google Shape;17065;p5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6" name="Google Shape;17066;p5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7" name="Google Shape;17067;p5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68" name="Google Shape;17068;p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069" name="Google Shape;17069;p5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70" name="Google Shape;17070;p5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17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72" name="Google Shape;17072;p52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73" name="Google Shape;17073;p52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74" name="Google Shape;17074;p52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75" name="Google Shape;17075;p52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76" name="Google Shape;17076;p52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7" name="Google Shape;17077;p52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78" name="Google Shape;17078;p5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170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80" name="Google Shape;17080;p5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81" name="Google Shape;17081;p5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2" name="Google Shape;17082;p5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83" name="Google Shape;17083;p5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84" name="Google Shape;17084;p5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85" name="Google Shape;17085;p5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086" name="Google Shape;17086;p5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087" name="Google Shape;17087;p5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088" name="Google Shape;17088;p5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089" name="Google Shape;17089;p5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90" name="Google Shape;17090;p5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91" name="Google Shape;17091;p5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Quotation">
  <p:cSld name="67_Quotation">
    <p:spTree>
      <p:nvGrpSpPr>
        <p:cNvPr id="1" name="Shape 17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93" name="Google Shape;17093;p5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94" name="Google Shape;17094;p5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95" name="Google Shape;17095;p5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96" name="Google Shape;17096;p5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7" name="Google Shape;17097;p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98" name="Google Shape;17098;p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099" name="Google Shape;17099;p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00" name="Google Shape;17100;p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01" name="Google Shape;17101;p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02" name="Google Shape;17102;p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03" name="Google Shape;17103;p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104" name="Google Shape;17104;p5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17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06" name="Google Shape;17106;p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07" name="Google Shape;17107;p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08" name="Google Shape;17108;p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09" name="Google Shape;17109;p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10" name="Google Shape;17110;p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111" name="Google Shape;17111;p5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12" name="Google Shape;17112;p5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13" name="Google Shape;17113;p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14" name="Google Shape;17114;p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15" name="Google Shape;17115;p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5" name="Google Shape;1745;g3681a448973_2_14731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46" name="Google Shape;1746;g3681a448973_2_14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9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47" name="Google Shape;1747;g3681a448973_2_14731"/>
          <p:cNvGrpSpPr/>
          <p:nvPr/>
        </p:nvGrpSpPr>
        <p:grpSpPr>
          <a:xfrm>
            <a:off x="1" y="0"/>
            <a:ext cx="1862644" cy="6629629"/>
            <a:chOff x="-15876" y="0"/>
            <a:chExt cx="1927803" cy="6858001"/>
          </a:xfrm>
        </p:grpSpPr>
        <p:sp>
          <p:nvSpPr>
            <p:cNvPr id="1748" name="Google Shape;1748;g3681a448973_2_14731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49" name="Google Shape;1749;g3681a448973_2_14731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50" name="Google Shape;1750;g3681a448973_2_1473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1" name="Google Shape;1751;g3681a448973_2_14731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g3681a448973_2_1473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3" name="Google Shape;1753;g3681a448973_2_1473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17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17" name="Google Shape;17117;p5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18" name="Google Shape;17118;p5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119" name="Google Shape;17119;p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20" name="Google Shape;17120;p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21" name="Google Shape;17121;p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22" name="Google Shape;17122;p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23" name="Google Shape;17123;p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124" name="Google Shape;17124;p52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25" name="Google Shape;17125;p52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26" name="Google Shape;17126;p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27" name="Google Shape;17127;p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17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9" name="Google Shape;17129;p5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30" name="Google Shape;17130;p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31" name="Google Shape;17131;p5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32" name="Google Shape;17132;p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33" name="Google Shape;17133;p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134" name="Google Shape;17134;p5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35" name="Google Shape;17135;p5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136" name="Google Shape;17136;p5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7" name="Google Shape;17137;p5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138" name="Google Shape;17138;p5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9" name="Google Shape;17139;p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0" name="Google Shape;17140;p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41" name="Google Shape;17141;p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17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43" name="Google Shape;17143;p5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44" name="Google Shape;17144;p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45" name="Google Shape;17145;p5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46" name="Google Shape;17146;p5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47" name="Google Shape;17147;p5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148" name="Google Shape;17148;p5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49" name="Google Shape;17149;p5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50" name="Google Shape;17150;p5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1" name="Google Shape;17151;p5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17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3" name="Google Shape;17153;p53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154" name="Google Shape;17154;p53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55" name="Google Shape;17155;p53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156" name="Google Shape;17156;p53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57" name="Google Shape;17157;p53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58" name="Google Shape;17158;p53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59" name="Google Shape;17159;p5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160" name="Google Shape;17160;p5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17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62" name="Google Shape;17162;p5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63" name="Google Shape;17163;p5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64" name="Google Shape;17164;p5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5" name="Google Shape;17165;p5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66" name="Google Shape;17166;p5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67" name="Google Shape;17167;p5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68" name="Google Shape;17168;p5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69" name="Google Shape;17169;p5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17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71" name="Google Shape;17171;p5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72" name="Google Shape;17172;p5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173" name="Google Shape;17173;p5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4" name="Google Shape;17174;p5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75" name="Google Shape;17175;p5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76" name="Google Shape;17176;p5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77" name="Google Shape;17177;p5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178" name="Google Shape;17178;p5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79" name="Google Shape;17179;p5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80" name="Google Shape;17180;p5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81" name="Google Shape;17181;p5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17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183" name="Google Shape;17183;p535"/>
          <p:cNvCxnSpPr/>
          <p:nvPr/>
        </p:nvCxnSpPr>
        <p:spPr>
          <a:xfrm>
            <a:off x="2" y="1129976"/>
            <a:ext cx="10289308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7184" name="Google Shape;17184;p535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85" name="Google Shape;17185;p535"/>
          <p:cNvSpPr/>
          <p:nvPr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86" name="Google Shape;17186;p535"/>
          <p:cNvSpPr/>
          <p:nvPr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187" name="Google Shape;17187;p535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17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189" name="Google Shape;17189;p536"/>
          <p:cNvCxnSpPr/>
          <p:nvPr/>
        </p:nvCxnSpPr>
        <p:spPr>
          <a:xfrm>
            <a:off x="1" y="1129976"/>
            <a:ext cx="10289308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7190" name="Google Shape;17190;p536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91" name="Google Shape;17191;p536"/>
          <p:cNvSpPr/>
          <p:nvPr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2" name="Google Shape;17192;p536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g3681a448973_2_14741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56" name="Google Shape;1756;g3681a448973_2_14741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7" name="Google Shape;1757;g3681a448973_2_14741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8" name="Google Shape;1758;g3681a448973_2_14741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9" name="Google Shape;1759;g3681a448973_2_147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60" name="Google Shape;1760;g3681a448973_2_1474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2" name="Google Shape;1762;g3681a448973_2_1474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3" name="Google Shape;1763;g3681a448973_2_147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4" name="Google Shape;1764;g3681a448973_2_147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65" name="Google Shape;1765;g3681a448973_2_147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66" name="Google Shape;1766;g3681a448973_2_147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67" name="Google Shape;1767;g3681a448973_2_147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8" name="Google Shape;1768;g3681a448973_2_147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9" name="Google Shape;1769;g3681a448973_2_14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410199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9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9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1"/>
            <a:ext cx="12192000" cy="2148831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1" y="1887490"/>
            <a:ext cx="5582652" cy="107826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2326192"/>
      </p:ext>
    </p:extLst>
  </p:cSld>
  <p:clrMapOvr>
    <a:masterClrMapping/>
  </p:clrMapOvr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g3681a448973_2_1475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2" name="Google Shape;1772;g3681a448973_2_1475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3" name="Google Shape;1773;g3681a448973_2_147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4" name="Google Shape;1774;g3681a448973_2_147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5" name="Google Shape;1775;g3681a448973_2_147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6" name="Google Shape;1776;g3681a448973_2_147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77" name="Google Shape;1777;g3681a448973_2_1475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778" name="Google Shape;1778;g3681a448973_2_147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9" name="Google Shape;1779;g3681a448973_2_147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80" name="Google Shape;1780;g3681a448973_2_147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1" name="Google Shape;1781;g3681a448973_2_147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82" name="Google Shape;1782;g3681a448973_2_147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202759"/>
      </p:ext>
    </p:extLst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364804"/>
      </p:ext>
    </p:extLst>
  </p:cSld>
  <p:clrMapOvr>
    <a:masterClrMapping/>
  </p:clrMapOvr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92024"/>
      </p:ext>
    </p:extLst>
  </p:cSld>
  <p:clrMapOvr>
    <a:masterClrMapping/>
  </p:clrMapOvr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202759"/>
      </p:ext>
    </p:extLst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364804"/>
      </p:ext>
    </p:extLst>
  </p:cSld>
  <p:clrMapOvr>
    <a:masterClrMapping/>
  </p:clrMapOvr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92024"/>
      </p:ext>
    </p:extLst>
  </p:cSld>
  <p:clrMapOvr>
    <a:masterClrMapping/>
  </p:clrMapOvr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202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g3681a448973_2_131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g3681a448973_2_1317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" name="Google Shape;191;g3681a448973_2_131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92" name="Google Shape;192;g3681a448973_2_13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" name="Google Shape;193;g3681a448973_2_131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4" name="Google Shape;194;g3681a448973_2_131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195;g3681a448973_2_131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6" name="Google Shape;196;g3681a448973_2_1317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g3681a448973_2_1317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g3681a448973_2_131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g3681a448973_2_13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1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4" name="Google Shape;1784;g3681a448973_2_147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85" name="Google Shape;1785;g3681a448973_2_147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6" name="Google Shape;1786;g3681a448973_2_147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7" name="Google Shape;1787;g3681a448973_2_147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88" name="Google Shape;1788;g3681a448973_2_147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89" name="Google Shape;1789;g3681a448973_2_147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g3681a448973_2_147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364804"/>
      </p:ext>
    </p:extLst>
  </p:cSld>
  <p:clrMapOvr>
    <a:masterClrMapping/>
  </p:clrMapOvr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92024"/>
      </p:ext>
    </p:extLst>
  </p:cSld>
  <p:clrMapOvr>
    <a:masterClrMapping/>
  </p:clrMapOvr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202759"/>
      </p:ext>
    </p:extLst>
  </p:cSld>
  <p:clrMapOvr>
    <a:masterClrMapping/>
  </p:clrMapOvr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364804"/>
      </p:ext>
    </p:extLst>
  </p:cSld>
  <p:clrMapOvr>
    <a:masterClrMapping/>
  </p:clrMapOvr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92024"/>
      </p:ext>
    </p:extLst>
  </p:cSld>
  <p:clrMapOvr>
    <a:masterClrMapping/>
  </p:clrMapOvr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8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8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8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1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2" name="Google Shape;1792;g3681a448973_2_147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793" name="Google Shape;1793;g3681a448973_2_14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4" name="Google Shape;1794;g3681a448973_2_147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95" name="Google Shape;1795;g3681a448973_2_14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6" name="Google Shape;1796;g3681a448973_2_14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7" name="Google Shape;1797;g3681a448973_2_147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8" name="Google Shape;1798;g3681a448973_2_147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9" name="Google Shape;1799;g3681a448973_2_147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0" name="Google Shape;1800;g3681a448973_2_14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g3681a448973_2_14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8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92053"/>
      </p:ext>
    </p:extLst>
  </p:cSld>
  <p:clrMapOvr>
    <a:masterClrMapping/>
  </p:clrMapOvr>
</p:sldLayout>
</file>

<file path=ppt/slideLayouts/slideLayout1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8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8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8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8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18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3" name="Google Shape;1803;g3681a448973_2_147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4" name="Google Shape;1804;g3681a448973_2_147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05" name="Google Shape;1805;g3681a448973_2_1478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06" name="Google Shape;1806;g3681a448973_2_147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7" name="Google Shape;1807;g3681a448973_2_147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08" name="Google Shape;1808;g3681a448973_2_147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9" name="Google Shape;1809;g3681a448973_2_147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10" name="Google Shape;1810;g3681a448973_2_1478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1" name="Google Shape;1811;g3681a448973_2_1478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2" name="Google Shape;1812;g3681a448973_2_147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3" name="Google Shape;1813;g3681a448973_2_147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8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8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249807"/>
      </p:ext>
    </p:extLst>
  </p:cSld>
  <p:clrMapOvr>
    <a:masterClrMapping/>
  </p:clrMapOvr>
</p:sldLayout>
</file>

<file path=ppt/slideLayouts/slideLayout1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8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1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5" name="Google Shape;1815;g3681a448973_2_148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16" name="Google Shape;1816;g3681a448973_2_14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7" name="Google Shape;1817;g3681a448973_2_148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18" name="Google Shape;1818;g3681a448973_2_14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9" name="Google Shape;1819;g3681a448973_2_14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20" name="Google Shape;1820;g3681a448973_2_14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g3681a448973_2_1480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22" name="Google Shape;1822;g3681a448973_2_1480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3" name="Google Shape;1823;g3681a448973_2_1480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24" name="Google Shape;1824;g3681a448973_2_1480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5" name="Google Shape;1825;g3681a448973_2_148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6" name="Google Shape;1826;g3681a448973_2_14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7" name="Google Shape;1827;g3681a448973_2_14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8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8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1"/>
            <a:ext cx="12192000" cy="2148831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1" y="1887490"/>
            <a:ext cx="5582652" cy="107826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909897"/>
      </p:ext>
    </p:extLst>
  </p:cSld>
  <p:clrMapOvr>
    <a:masterClrMapping/>
  </p:clrMapOvr>
</p:sldLayout>
</file>

<file path=ppt/slideLayouts/slideLayout1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8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1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1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9" name="Google Shape;1829;g3681a448973_2_1481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0" name="Google Shape;1830;g3681a448973_2_148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1" name="Google Shape;1831;g3681a448973_2_148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2" name="Google Shape;1832;g3681a448973_2_148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3" name="Google Shape;1833;g3681a448973_2_148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4" name="Google Shape;1834;g3681a448973_2_148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5" name="Google Shape;1835;g3681a448973_2_148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6" name="Google Shape;1836;g3681a448973_2_14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50" y="2633533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50" y="5400328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3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9" y="136526"/>
            <a:ext cx="1945207" cy="87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1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2206033"/>
      </p:ext>
    </p:extLst>
  </p:cSld>
  <p:clrMapOvr>
    <a:masterClrMapping/>
  </p:clrMapOvr>
</p:sldLayout>
</file>

<file path=ppt/slideLayouts/slideLayout1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440044"/>
      </p:ext>
    </p:extLst>
  </p:cSld>
  <p:clrMapOvr>
    <a:masterClrMapping/>
  </p:clrMapOvr>
</p:sldLayout>
</file>

<file path=ppt/slideLayouts/slideLayout1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18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18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18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18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18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8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8" name="Google Shape;1838;g3681a448973_2_148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9" name="Google Shape;1839;g3681a448973_2_148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0" name="Google Shape;1840;g3681a448973_2_148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1" name="Google Shape;1841;g3681a448973_2_148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2" name="Google Shape;1842;g3681a448973_2_148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3" name="Google Shape;1843;g3681a448973_2_148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4" name="Google Shape;1844;g3681a448973_2_148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1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8743850"/>
      </p:ext>
    </p:extLst>
  </p:cSld>
  <p:clrMapOvr>
    <a:masterClrMapping/>
  </p:clrMapOvr>
</p:sldLayout>
</file>

<file path=ppt/slideLayouts/slideLayout18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717325"/>
      </p:ext>
    </p:extLst>
  </p:cSld>
  <p:clrMapOvr>
    <a:masterClrMapping/>
  </p:clrMapOvr>
</p:sldLayout>
</file>

<file path=ppt/slideLayouts/slideLayout18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1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437359"/>
      </p:ext>
    </p:extLst>
  </p:cSld>
  <p:clrMapOvr>
    <a:masterClrMapping/>
  </p:clrMapOvr>
</p:sldLayout>
</file>

<file path=ppt/slideLayouts/slideLayout18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18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18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1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1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1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6" name="Google Shape;1846;g3681a448973_2_148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7" name="Google Shape;1847;g3681a448973_2_1483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8" name="Google Shape;1848;g3681a448973_2_148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9" name="Google Shape;1849;g3681a448973_2_148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0" name="Google Shape;1850;g3681a448973_2_148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51" name="Google Shape;1851;g3681a448973_2_148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852" name="Google Shape;1852;g3681a448973_2_148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1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1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507312"/>
      </p:ext>
    </p:extLst>
  </p:cSld>
  <p:clrMapOvr>
    <a:masterClrMapping/>
  </p:clrMapOvr>
</p:sldLayout>
</file>

<file path=ppt/slideLayouts/slideLayout1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02813876"/>
      </p:ext>
    </p:extLst>
  </p:cSld>
  <p:clrMapOvr>
    <a:masterClrMapping/>
  </p:clrMapOvr>
</p:sldLayout>
</file>

<file path=ppt/slideLayouts/slideLayout18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18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1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6201816"/>
      </p:ext>
    </p:extLst>
  </p:cSld>
  <p:clrMapOvr>
    <a:masterClrMapping/>
  </p:clrMapOvr>
</p:sldLayout>
</file>

<file path=ppt/slideLayouts/slideLayout1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719267"/>
      </p:ext>
    </p:extLst>
  </p:cSld>
  <p:clrMapOvr>
    <a:masterClrMapping/>
  </p:clrMapOvr>
</p:sldLayout>
</file>

<file path=ppt/slideLayouts/slideLayout1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66511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4" name="Google Shape;1854;g3681a448973_2_1484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5" name="Google Shape;1855;g3681a448973_2_1484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6" name="Google Shape;1856;g3681a448973_2_1484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7" name="Google Shape;1857;g3681a448973_2_14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8" name="Google Shape;1858;g3681a448973_2_14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9" name="Google Shape;1859;g3681a448973_2_14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60" name="Google Shape;1860;g3681a448973_2_1484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61" name="Google Shape;1861;g3681a448973_2_14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2" name="Google Shape;1862;g3681a448973_2_14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63" name="Google Shape;1863;g3681a448973_2_14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4" name="Google Shape;1864;g3681a448973_2_14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5" name="Google Shape;1865;g3681a448973_2_1484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18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18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18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18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1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18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1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1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1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7" name="Google Shape;1867;g3681a448973_2_1485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68" name="Google Shape;1868;g3681a448973_2_148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9" name="Google Shape;1869;g3681a448973_2_148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70" name="Google Shape;1870;g3681a448973_2_148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1" name="Google Shape;1871;g3681a448973_2_148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72" name="Google Shape;1872;g3681a448973_2_148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3" name="Google Shape;1873;g3681a448973_2_148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4" name="Google Shape;1874;g3681a448973_2_148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75" name="Google Shape;1875;g3681a448973_2_148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6" name="Google Shape;1876;g3681a448973_2_148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18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18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18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18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18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1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18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18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870725"/>
      </p:ext>
    </p:extLst>
  </p:cSld>
  <p:clrMapOvr>
    <a:masterClrMapping/>
  </p:clrMapOvr>
</p:sldLayout>
</file>

<file path=ppt/slideLayouts/slideLayout18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37328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8" name="Google Shape;1878;g3681a448973_2_1486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g3681a448973_2_148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0" name="Google Shape;1880;g3681a448973_2_148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g3681a448973_2_14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2" name="Google Shape;1882;g3681a448973_2_148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3" name="Google Shape;1883;g3681a448973_2_148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4" name="Google Shape;1884;g3681a448973_2_148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85" name="Google Shape;1885;g3681a448973_2_14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6" name="Google Shape;1886;g3681a448973_2_148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87" name="Google Shape;1887;g3681a448973_2_148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8" name="Google Shape;1888;g3681a448973_2_148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9" name="Google Shape;1889;g3681a448973_2_148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18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1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18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18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1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18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1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1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1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1" name="Google Shape;201;g3681a448973_2_131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02" name="Google Shape;202;g3681a448973_2_13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3" name="Google Shape;203;g3681a448973_2_131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4" name="Google Shape;204;g3681a448973_2_13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g3681a448973_2_13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6" name="Google Shape;206;g3681a448973_2_1318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g3681a448973_2_13187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08" name="Google Shape;208;g3681a448973_2_13187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" name="Google Shape;209;g3681a448973_2_1318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0" name="Google Shape;210;g3681a448973_2_1318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1" name="Google Shape;211;g3681a448973_2_131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" name="Google Shape;212;g3681a448973_2_13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3" name="Google Shape;213;g3681a448973_2_13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1" name="Google Shape;1891;g3681a448973_2_148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92" name="Google Shape;1892;g3681a448973_2_148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93" name="Google Shape;1893;g3681a448973_2_148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4" name="Google Shape;1894;g3681a448973_2_148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5" name="Google Shape;1895;g3681a448973_2_148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96" name="Google Shape;1896;g3681a448973_2_148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897" name="Google Shape;1897;g3681a448973_2_148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1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1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19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261130"/>
      </p:ext>
    </p:extLst>
  </p:cSld>
  <p:clrMapOvr>
    <a:masterClrMapping/>
  </p:clrMapOvr>
</p:sldLayout>
</file>

<file path=ppt/slideLayouts/slideLayout1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3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3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9" y="136526"/>
            <a:ext cx="1945207" cy="87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14634"/>
      </p:ext>
    </p:extLst>
  </p:cSld>
  <p:clrMapOvr>
    <a:masterClrMapping/>
  </p:clrMapOvr>
</p:sldLayout>
</file>

<file path=ppt/slideLayouts/slideLayout1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506952"/>
      </p:ext>
    </p:extLst>
  </p:cSld>
  <p:clrMapOvr>
    <a:masterClrMapping/>
  </p:clrMapOvr>
</p:sldLayout>
</file>

<file path=ppt/slideLayouts/slideLayout1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0914334"/>
      </p:ext>
    </p:extLst>
  </p:cSld>
  <p:clrMapOvr>
    <a:masterClrMapping/>
  </p:clrMapOvr>
</p:sldLayout>
</file>

<file path=ppt/slideLayouts/slideLayout19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88606058"/>
      </p:ext>
    </p:extLst>
  </p:cSld>
  <p:clrMapOvr>
    <a:masterClrMapping/>
  </p:clrMapOvr>
</p:sldLayout>
</file>

<file path=ppt/slideLayouts/slideLayout1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26626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99" name="Google Shape;1899;g3681a448973_2_148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00" name="Google Shape;1900;g3681a448973_2_148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1" name="Google Shape;1901;g3681a448973_2_148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2" name="Google Shape;1902;g3681a448973_2_1488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g3681a448973_2_148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4" name="Google Shape;1904;g3681a448973_2_148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05" name="Google Shape;1905;g3681a448973_2_14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06" name="Google Shape;1906;g3681a448973_2_148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9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19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1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1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19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609053"/>
      </p:ext>
    </p:extLst>
  </p:cSld>
  <p:clrMapOvr>
    <a:masterClrMapping/>
  </p:clrMapOvr>
</p:sldLayout>
</file>

<file path=ppt/slideLayouts/slideLayout19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19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19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19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19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8" name="Google Shape;1908;g3681a448973_2_148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09" name="Google Shape;1909;g3681a448973_2_14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0" name="Google Shape;1910;g3681a448973_2_148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11" name="Google Shape;1911;g3681a448973_2_1489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12" name="Google Shape;1912;g3681a448973_2_14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3" name="Google Shape;1913;g3681a448973_2_148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14" name="Google Shape;1914;g3681a448973_2_14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5" name="Google Shape;1915;g3681a448973_2_14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9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19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1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19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1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1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1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1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19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560361"/>
      </p:ext>
    </p:extLst>
  </p:cSld>
  <p:clrMapOvr>
    <a:masterClrMapping/>
  </p:clrMapOvr>
</p:sldLayout>
</file>

<file path=ppt/slideLayouts/slideLayout19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1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7" name="Google Shape;1917;g3681a448973_2_149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18" name="Google Shape;1918;g3681a448973_2_149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9" name="Google Shape;1919;g3681a448973_2_149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20" name="Google Shape;1920;g3681a448973_2_149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1" name="Google Shape;1921;g3681a448973_2_149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2" name="Google Shape;1922;g3681a448973_2_149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3" name="Google Shape;1923;g3681a448973_2_149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4" name="Google Shape;1924;g3681a448973_2_149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5" name="Google Shape;1925;g3681a448973_2_149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19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19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9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916549"/>
      </p:ext>
    </p:extLst>
  </p:cSld>
  <p:clrMapOvr>
    <a:masterClrMapping/>
  </p:clrMapOvr>
</p:sldLayout>
</file>

<file path=ppt/slideLayouts/slideLayout1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9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9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7" name="Google Shape;1927;g3681a448973_2_1491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8" name="Google Shape;1928;g3681a448973_2_1491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929" name="Google Shape;1929;g3681a448973_2_14913"/>
          <p:cNvGrpSpPr/>
          <p:nvPr/>
        </p:nvGrpSpPr>
        <p:grpSpPr>
          <a:xfrm flipH="1">
            <a:off x="225" y="1"/>
            <a:ext cx="6418638" cy="1509802"/>
            <a:chOff x="7522541" y="1"/>
            <a:chExt cx="4669459" cy="1098357"/>
          </a:xfrm>
        </p:grpSpPr>
        <p:sp>
          <p:nvSpPr>
            <p:cNvPr id="1930" name="Google Shape;1930;g3681a448973_2_1491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1" name="Google Shape;1931;g3681a448973_2_1491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932" name="Google Shape;1932;g3681a448973_2_149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9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61517"/>
      </p:ext>
    </p:extLst>
  </p:cSld>
  <p:clrMapOvr>
    <a:masterClrMapping/>
  </p:clrMapOvr>
</p:sldLayout>
</file>

<file path=ppt/slideLayouts/slideLayout1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8887683"/>
      </p:ext>
    </p:extLst>
  </p:cSld>
  <p:clrMapOvr>
    <a:masterClrMapping/>
  </p:clrMapOvr>
</p:sldLayout>
</file>

<file path=ppt/slideLayouts/slideLayout1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838431"/>
      </p:ext>
    </p:extLst>
  </p:cSld>
  <p:clrMapOvr>
    <a:masterClrMapping/>
  </p:clrMapOvr>
</p:sldLayout>
</file>

<file path=ppt/slideLayouts/slideLayout1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9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9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251683"/>
      </p:ext>
    </p:extLst>
  </p:cSld>
  <p:clrMapOvr>
    <a:masterClrMapping/>
  </p:clrMapOvr>
</p:sldLayout>
</file>

<file path=ppt/slideLayouts/slideLayout19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9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9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4" name="Google Shape;1934;g3681a448973_2_149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935" name="Google Shape;1935;g3681a448973_2_149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6" name="Google Shape;1936;g3681a448973_2_149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7" name="Google Shape;1937;g3681a448973_2_149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38" name="Google Shape;1938;g3681a448973_2_14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39" name="Google Shape;1939;g3681a448973_2_149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0" name="Google Shape;1940;g3681a448973_2_149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9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933422"/>
      </p:ext>
    </p:extLst>
  </p:cSld>
  <p:clrMapOvr>
    <a:masterClrMapping/>
  </p:clrMapOvr>
</p:sldLayout>
</file>

<file path=ppt/slideLayouts/slideLayout1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9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9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9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9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976550"/>
      </p:ext>
    </p:extLst>
  </p:cSld>
  <p:clrMapOvr>
    <a:masterClrMapping/>
  </p:clrMapOvr>
</p:sldLayout>
</file>

<file path=ppt/slideLayouts/slideLayout19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2" name="Google Shape;1942;g3681a448973_2_1492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43" name="Google Shape;1943;g3681a448973_2_1492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44" name="Google Shape;1944;g3681a448973_2_1492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945" name="Google Shape;1945;g3681a448973_2_1492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6" name="Google Shape;1946;g3681a448973_2_1492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47" name="Google Shape;1947;g3681a448973_2_1492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948" name="Google Shape;1948;g3681a448973_2_14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9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9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9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9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9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8755339"/>
      </p:ext>
    </p:extLst>
  </p:cSld>
  <p:clrMapOvr>
    <a:masterClrMapping/>
  </p:clrMapOvr>
</p:sldLayout>
</file>

<file path=ppt/slideLayouts/slideLayout1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613738"/>
      </p:ext>
    </p:extLst>
  </p:cSld>
  <p:clrMapOvr>
    <a:masterClrMapping/>
  </p:clrMapOvr>
</p:sldLayout>
</file>

<file path=ppt/slideLayouts/slideLayout19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3681a448973_2_1493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1" name="Google Shape;1951;g3681a448973_2_149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g3681a448973_2_149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3" name="Google Shape;1953;g3681a448973_2_149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4" name="Google Shape;1954;g3681a448973_2_14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55" name="Google Shape;1955;g3681a448973_2_14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56" name="Google Shape;1956;g3681a448973_2_1493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57" name="Google Shape;1957;g3681a448973_2_14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58" name="Google Shape;1958;g3681a448973_2_149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59" name="Google Shape;1959;g3681a448973_2_14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0" name="Google Shape;1960;g3681a448973_2_14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1" name="Google Shape;1961;g3681a448973_2_1493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8" y="5564125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3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89" y="493920"/>
            <a:ext cx="11248619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099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pPr marL="38099">
                <a:lnSpc>
                  <a:spcPts val="1425"/>
                </a:lnSpc>
              </a:p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0382927"/>
      </p:ext>
    </p:extLst>
  </p:cSld>
  <p:clrMapOvr>
    <a:masterClrMapping/>
  </p:clrMapOvr>
</p:sldLayout>
</file>

<file path=ppt/slideLayouts/slideLayout1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6584707"/>
      </p:ext>
    </p:extLst>
  </p:cSld>
  <p:clrMapOvr>
    <a:masterClrMapping/>
  </p:clrMapOvr>
</p:sldLayout>
</file>

<file path=ppt/slideLayouts/slideLayout19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660271"/>
      </p:ext>
    </p:extLst>
  </p:cSld>
  <p:clrMapOvr>
    <a:masterClrMapping/>
  </p:clrMapOvr>
</p:sldLayout>
</file>

<file path=ppt/slideLayouts/slideLayout1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279803"/>
      </p:ext>
    </p:extLst>
  </p:cSld>
  <p:clrMapOvr>
    <a:masterClrMapping/>
  </p:clrMapOvr>
</p:sldLayout>
</file>

<file path=ppt/slideLayouts/slideLayout19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19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19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6712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1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63" name="Google Shape;1963;g3681a448973_2_149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64" name="Google Shape;1964;g3681a448973_2_14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5" name="Google Shape;1965;g3681a448973_2_149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66" name="Google Shape;1966;g3681a448973_2_14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7" name="Google Shape;1967;g3681a448973_2_14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68" name="Google Shape;1968;g3681a448973_2_14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9" name="Google Shape;1969;g3681a448973_2_149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0" name="Google Shape;1970;g3681a448973_2_14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71" name="Google Shape;1971;g3681a448973_2_14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72" name="Google Shape;1972;g3681a448973_2_14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470237"/>
      </p:ext>
    </p:extLst>
  </p:cSld>
  <p:clrMapOvr>
    <a:masterClrMapping/>
  </p:clrMapOvr>
</p:sldLayout>
</file>

<file path=ppt/slideLayouts/slideLayout1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97273"/>
      </p:ext>
    </p:extLst>
  </p:cSld>
  <p:clrMapOvr>
    <a:masterClrMapping/>
  </p:clrMapOvr>
</p:sldLayout>
</file>

<file path=ppt/slideLayouts/slideLayout19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79731104"/>
      </p:ext>
    </p:extLst>
  </p:cSld>
  <p:clrMapOvr>
    <a:masterClrMapping/>
  </p:clrMapOvr>
</p:sldLayout>
</file>

<file path=ppt/slideLayouts/slideLayout19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140425"/>
      </p:ext>
    </p:extLst>
  </p:cSld>
  <p:clrMapOvr>
    <a:masterClrMapping/>
  </p:clrMapOvr>
</p:sldLayout>
</file>

<file path=ppt/slideLayouts/slideLayout1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06366"/>
      </p:ext>
    </p:extLst>
  </p:cSld>
  <p:clrMapOvr>
    <a:masterClrMapping/>
  </p:clrMapOvr>
</p:sldLayout>
</file>

<file path=ppt/slideLayouts/slideLayout1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388991"/>
      </p:ext>
    </p:extLst>
  </p:cSld>
  <p:clrMapOvr>
    <a:masterClrMapping/>
  </p:clrMapOvr>
</p:sldLayout>
</file>

<file path=ppt/slideLayouts/slideLayout19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00744665"/>
      </p:ext>
    </p:extLst>
  </p:cSld>
  <p:clrMapOvr>
    <a:masterClrMapping/>
  </p:clrMapOvr>
</p:sldLayout>
</file>

<file path=ppt/slideLayouts/slideLayout19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78481"/>
      </p:ext>
    </p:extLst>
  </p:cSld>
  <p:clrMapOvr>
    <a:masterClrMapping/>
  </p:clrMapOvr>
</p:sldLayout>
</file>

<file path=ppt/slideLayouts/slideLayout19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606563"/>
      </p:ext>
    </p:extLst>
  </p:cSld>
  <p:clrMapOvr>
    <a:masterClrMapping/>
  </p:clrMapOvr>
</p:sldLayout>
</file>

<file path=ppt/slideLayouts/slideLayout19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2105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1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4" name="Google Shape;1974;g3681a448973_2_149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g3681a448973_2_1496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76" name="Google Shape;1976;g3681a448973_2_1496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77" name="Google Shape;1977;g3681a448973_2_149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8" name="Google Shape;1978;g3681a448973_2_149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79" name="Google Shape;1979;g3681a448973_2_149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0" name="Google Shape;1980;g3681a448973_2_149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81" name="Google Shape;1981;g3681a448973_2_1496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2" name="Google Shape;1982;g3681a448973_2_1496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3" name="Google Shape;1983;g3681a448973_2_149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4" name="Google Shape;1984;g3681a448973_2_149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044053"/>
      </p:ext>
    </p:extLst>
  </p:cSld>
  <p:clrMapOvr>
    <a:masterClrMapping/>
  </p:clrMapOvr>
</p:sldLayout>
</file>

<file path=ppt/slideLayouts/slideLayout19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889183"/>
      </p:ext>
    </p:extLst>
  </p:cSld>
  <p:clrMapOvr>
    <a:masterClrMapping/>
  </p:clrMapOvr>
</p:sldLayout>
</file>

<file path=ppt/slideLayouts/slideLayout19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94471649"/>
      </p:ext>
    </p:extLst>
  </p:cSld>
  <p:clrMapOvr>
    <a:masterClrMapping/>
  </p:clrMapOvr>
</p:sldLayout>
</file>

<file path=ppt/slideLayouts/slideLayout19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558784"/>
      </p:ext>
    </p:extLst>
  </p:cSld>
  <p:clrMapOvr>
    <a:masterClrMapping/>
  </p:clrMapOvr>
</p:sldLayout>
</file>

<file path=ppt/slideLayouts/slideLayout19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9698"/>
      </p:ext>
    </p:extLst>
  </p:cSld>
  <p:clrMapOvr>
    <a:masterClrMapping/>
  </p:clrMapOvr>
</p:sldLayout>
</file>

<file path=ppt/slideLayouts/slideLayout19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7205"/>
      </p:ext>
    </p:extLst>
  </p:cSld>
  <p:clrMapOvr>
    <a:masterClrMapping/>
  </p:clrMapOvr>
</p:sldLayout>
</file>

<file path=ppt/slideLayouts/slideLayout19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477954460"/>
      </p:ext>
    </p:extLst>
  </p:cSld>
  <p:clrMapOvr>
    <a:masterClrMapping/>
  </p:clrMapOvr>
</p:sldLayout>
</file>

<file path=ppt/slideLayouts/slideLayout19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050161"/>
      </p:ext>
    </p:extLst>
  </p:cSld>
  <p:clrMapOvr>
    <a:masterClrMapping/>
  </p:clrMapOvr>
</p:sldLayout>
</file>

<file path=ppt/slideLayouts/slideLayout1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56942"/>
      </p:ext>
    </p:extLst>
  </p:cSld>
  <p:clrMapOvr>
    <a:masterClrMapping/>
  </p:clrMapOvr>
</p:sldLayout>
</file>

<file path=ppt/slideLayouts/slideLayout1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835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g3681a448973_2_1299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Google Shape;25;g3681a448973_2_1299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g3681a448973_2_129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g3681a448973_2_129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" name="Google Shape;28;g3681a448973_2_12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" name="Google Shape;29;g3681a448973_2_12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" name="Google Shape;30;g3681a448973_2_129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1" name="Google Shape;31;g3681a448973_2_12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" name="Google Shape;32;g3681a448973_2_129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3" name="Google Shape;33;g3681a448973_2_12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" name="Google Shape;34;g3681a448973_2_12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" name="Google Shape;35;g3681a448973_2_129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" name="Google Shape;215;g3681a448973_2_1320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16" name="Google Shape;216;g3681a448973_2_13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" name="Google Shape;217;g3681a448973_2_132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8" name="Google Shape;218;g3681a448973_2_13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g3681a448973_2_13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0" name="Google Shape;220;g3681a448973_2_132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g3681a448973_2_1320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" name="Google Shape;222;g3681a448973_2_13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3" name="Google Shape;223;g3681a448973_2_13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1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6" name="Google Shape;1986;g3681a448973_2_149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87" name="Google Shape;1987;g3681a448973_2_149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g3681a448973_2_149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89" name="Google Shape;1989;g3681a448973_2_149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g3681a448973_2_149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91" name="Google Shape;1991;g3681a448973_2_149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g3681a448973_2_1497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93" name="Google Shape;1993;g3681a448973_2_1497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4" name="Google Shape;1994;g3681a448973_2_1497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95" name="Google Shape;1995;g3681a448973_2_1497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g3681a448973_2_14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g3681a448973_2_149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g3681a448973_2_14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786359"/>
      </p:ext>
    </p:extLst>
  </p:cSld>
  <p:clrMapOvr>
    <a:masterClrMapping/>
  </p:clrMapOvr>
</p:sldLayout>
</file>

<file path=ppt/slideLayouts/slideLayout20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39933300"/>
      </p:ext>
    </p:extLst>
  </p:cSld>
  <p:clrMapOvr>
    <a:masterClrMapping/>
  </p:clrMapOvr>
</p:sldLayout>
</file>

<file path=ppt/slideLayouts/slideLayout20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677866"/>
      </p:ext>
    </p:extLst>
  </p:cSld>
  <p:clrMapOvr>
    <a:masterClrMapping/>
  </p:clrMapOvr>
</p:sldLayout>
</file>

<file path=ppt/slideLayouts/slideLayout20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08474"/>
      </p:ext>
    </p:extLst>
  </p:cSld>
  <p:clrMapOvr>
    <a:masterClrMapping/>
  </p:clrMapOvr>
</p:sldLayout>
</file>

<file path=ppt/slideLayouts/slideLayout20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78206959"/>
      </p:ext>
    </p:extLst>
  </p:cSld>
  <p:clrMapOvr>
    <a:masterClrMapping/>
  </p:clrMapOvr>
</p:sldLayout>
</file>

<file path=ppt/slideLayouts/slideLayout20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140060"/>
      </p:ext>
    </p:extLst>
  </p:cSld>
  <p:clrMapOvr>
    <a:masterClrMapping/>
  </p:clrMapOvr>
</p:sldLayout>
</file>

<file path=ppt/slideLayouts/slideLayout20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404122"/>
      </p:ext>
    </p:extLst>
  </p:cSld>
  <p:clrMapOvr>
    <a:masterClrMapping/>
  </p:clrMapOvr>
</p:sldLayout>
</file>

<file path=ppt/slideLayouts/slideLayout20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36851648"/>
      </p:ext>
    </p:extLst>
  </p:cSld>
  <p:clrMapOvr>
    <a:masterClrMapping/>
  </p:clrMapOvr>
</p:sldLayout>
</file>

<file path=ppt/slideLayouts/slideLayout20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435834"/>
      </p:ext>
    </p:extLst>
  </p:cSld>
  <p:clrMapOvr>
    <a:masterClrMapping/>
  </p:clrMapOvr>
</p:sldLayout>
</file>

<file path=ppt/slideLayouts/slideLayout2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00859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1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0" name="Google Shape;2000;g3681a448973_2_1498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01" name="Google Shape;2001;g3681a448973_2_14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2" name="Google Shape;2002;g3681a448973_2_149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03" name="Google Shape;2003;g3681a448973_2_149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4" name="Google Shape;2004;g3681a448973_2_149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05" name="Google Shape;2005;g3681a448973_2_149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6" name="Google Shape;2006;g3681a448973_2_149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07" name="Google Shape;2007;g3681a448973_2_149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08" name="Google Shape;2008;g3681a448973_2_149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358236"/>
      </p:ext>
    </p:extLst>
  </p:cSld>
  <p:clrMapOvr>
    <a:masterClrMapping/>
  </p:clrMapOvr>
</p:sldLayout>
</file>

<file path=ppt/slideLayouts/slideLayout20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0981" indent="-380981">
              <a:buFont typeface="Wingdings" panose="05000000000000000000" pitchFamily="2" charset="2"/>
              <a:buChar char="§"/>
              <a:defRPr sz="1867" b="1"/>
            </a:lvl1pPr>
            <a:lvl2pPr marL="609570" indent="-296319">
              <a:buFont typeface="Arial" panose="020B0604020202020204" pitchFamily="34" charset="0"/>
              <a:buChar char="̶"/>
              <a:defRPr sz="1867"/>
            </a:lvl2pPr>
            <a:lvl3pPr marL="922821" indent="-313251">
              <a:buFont typeface="Arial" panose="020B0604020202020204" pitchFamily="34" charset="0"/>
              <a:buChar char="•"/>
              <a:defRPr sz="1867"/>
            </a:lvl3pPr>
            <a:lvl4pPr marL="1219140" indent="-296319">
              <a:buFont typeface="Wingdings" panose="05000000000000000000" pitchFamily="2" charset="2"/>
              <a:buChar char="ü"/>
              <a:defRPr sz="1867"/>
            </a:lvl4pPr>
            <a:lvl5pPr marL="1532390" indent="-313251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679079"/>
      </p:ext>
    </p:extLst>
  </p:cSld>
  <p:clrMapOvr>
    <a:masterClrMapping/>
  </p:clrMapOvr>
</p:sldLayout>
</file>

<file path=ppt/slideLayouts/slideLayout2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2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2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20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20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10" name="Google Shape;2010;g3681a448973_2_149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11" name="Google Shape;2011;g3681a448973_2_149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2" name="Google Shape;2012;g3681a448973_2_149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13" name="Google Shape;2013;g3681a448973_2_14996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4" name="Google Shape;2014;g3681a448973_2_1499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5" name="Google Shape;2015;g3681a448973_2_149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16" name="Google Shape;2016;g3681a448973_2_149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017" name="Google Shape;2017;g3681a448973_2_149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0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20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20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2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20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2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2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2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2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20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7976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g3681a448973_2_15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20" name="Google Shape;2020;g3681a448973_2_150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21" name="Google Shape;2021;g3681a448973_2_15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22" name="Google Shape;2022;g3681a448973_2_1500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23" name="Google Shape;2023;g3681a448973_2_150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4" name="Google Shape;2024;g3681a448973_2_1500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25" name="Google Shape;2025;g3681a448973_2_150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6" name="Google Shape;2026;g3681a448973_2_150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33245"/>
      </p:ext>
    </p:extLst>
  </p:cSld>
  <p:clrMapOvr>
    <a:masterClrMapping/>
  </p:clrMapOvr>
</p:sldLayout>
</file>

<file path=ppt/slideLayouts/slideLayout20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20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20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20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2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1"/>
            <a:ext cx="12192000" cy="2148831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1" y="1887490"/>
            <a:ext cx="5582652" cy="107826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0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20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20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20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2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8" name="Google Shape;2028;g3681a448973_2_1501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9" name="Google Shape;2029;g3681a448973_2_150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0" name="Google Shape;2030;g3681a448973_2_150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31" name="Google Shape;2031;g3681a448973_2_150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32" name="Google Shape;2032;g3681a448973_2_150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33" name="Google Shape;2033;g3681a448973_2_150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g3681a448973_2_150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35" name="Google Shape;2035;g3681a448973_2_150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2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1987493"/>
      </p:ext>
    </p:extLst>
  </p:cSld>
  <p:clrMapOvr>
    <a:masterClrMapping/>
  </p:clrMapOvr>
</p:sldLayout>
</file>

<file path=ppt/slideLayouts/slideLayout2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888760"/>
      </p:ext>
    </p:extLst>
  </p:cSld>
  <p:clrMapOvr>
    <a:masterClrMapping/>
  </p:clrMapOvr>
</p:sldLayout>
</file>

<file path=ppt/slideLayouts/slideLayout2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6556315"/>
      </p:ext>
    </p:extLst>
  </p:cSld>
  <p:clrMapOvr>
    <a:masterClrMapping/>
  </p:clrMapOvr>
</p:sldLayout>
</file>

<file path=ppt/slideLayouts/slideLayout2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063625"/>
      </p:ext>
    </p:extLst>
  </p:cSld>
  <p:clrMapOvr>
    <a:masterClrMapping/>
  </p:clrMapOvr>
</p:sldLayout>
</file>

<file path=ppt/slideLayouts/slideLayout20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55078"/>
      </p:ext>
    </p:extLst>
  </p:cSld>
  <p:clrMapOvr>
    <a:masterClrMapping/>
  </p:clrMapOvr>
</p:sldLayout>
</file>

<file path=ppt/slideLayouts/slideLayout20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938936"/>
      </p:ext>
    </p:extLst>
  </p:cSld>
  <p:clrMapOvr>
    <a:masterClrMapping/>
  </p:clrMapOvr>
</p:sldLayout>
</file>

<file path=ppt/slideLayouts/slideLayout20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20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20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2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37" name="Google Shape;2037;g3681a448973_2_150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38" name="Google Shape;2038;g3681a448973_2_150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g3681a448973_2_150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g3681a448973_2_150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41" name="Google Shape;2041;g3681a448973_2_150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42" name="Google Shape;2042;g3681a448973_2_150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3" name="Google Shape;2043;g3681a448973_2_150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20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20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20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2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374800"/>
      </p:ext>
    </p:extLst>
  </p:cSld>
  <p:clrMapOvr>
    <a:masterClrMapping/>
  </p:clrMapOvr>
</p:sldLayout>
</file>

<file path=ppt/slideLayouts/slideLayout20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20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55638"/>
      </p:ext>
    </p:extLst>
  </p:cSld>
  <p:clrMapOvr>
    <a:masterClrMapping/>
  </p:clrMapOvr>
</p:sldLayout>
</file>

<file path=ppt/slideLayouts/slideLayout2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2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Google Shape;2045;g3681a448973_2_1503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6" name="Google Shape;2046;g3681a448973_2_150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7" name="Google Shape;2047;g3681a448973_2_150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8" name="Google Shape;2048;g3681a448973_2_150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49" name="Google Shape;2049;g3681a448973_2_150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50" name="Google Shape;2050;g3681a448973_2_150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51" name="Google Shape;2051;g3681a448973_2_1503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52" name="Google Shape;2052;g3681a448973_2_150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3" name="Google Shape;2053;g3681a448973_2_1503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54" name="Google Shape;2054;g3681a448973_2_150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5" name="Google Shape;2055;g3681a448973_2_150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6" name="Google Shape;2056;g3681a448973_2_150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907520"/>
      </p:ext>
    </p:extLst>
  </p:cSld>
  <p:clrMapOvr>
    <a:masterClrMapping/>
  </p:clrMapOvr>
</p:sldLayout>
</file>

<file path=ppt/slideLayouts/slideLayout20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55638"/>
      </p:ext>
    </p:extLst>
  </p:cSld>
  <p:clrMapOvr>
    <a:masterClrMapping/>
  </p:clrMapOvr>
</p:sldLayout>
</file>

<file path=ppt/slideLayouts/slideLayout20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2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363329"/>
      </p:ext>
    </p:extLst>
  </p:cSld>
  <p:clrMapOvr>
    <a:masterClrMapping/>
  </p:clrMapOvr>
</p:sldLayout>
</file>

<file path=ppt/slideLayouts/slideLayout20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20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9463894"/>
      </p:ext>
    </p:extLst>
  </p:cSld>
  <p:clrMapOvr>
    <a:masterClrMapping/>
  </p:clrMapOvr>
</p:sldLayout>
</file>

<file path=ppt/slideLayouts/slideLayout20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410199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2727692"/>
      </p:ext>
    </p:extLst>
  </p:cSld>
  <p:clrMapOvr>
    <a:masterClrMapping/>
  </p:clrMapOvr>
</p:sldLayout>
</file>

<file path=ppt/slideLayouts/slideLayout20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9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9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2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8" name="Google Shape;2058;g3681a448973_2_150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59" name="Google Shape;2059;g3681a448973_2_150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60" name="Google Shape;2060;g3681a448973_2_150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61" name="Google Shape;2061;g3681a448973_2_150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2" name="Google Shape;2062;g3681a448973_2_150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63" name="Google Shape;2063;g3681a448973_2_150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4" name="Google Shape;2064;g3681a448973_2_150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65" name="Google Shape;2065;g3681a448973_2_150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6" name="Google Shape;2066;g3681a448973_2_150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7" name="Google Shape;2067;g3681a448973_2_150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1"/>
            <a:ext cx="12192000" cy="2148831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1" y="1887490"/>
            <a:ext cx="5582652" cy="107826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0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647170"/>
      </p:ext>
    </p:extLst>
  </p:cSld>
  <p:clrMapOvr>
    <a:masterClrMapping/>
  </p:clrMapOvr>
</p:sldLayout>
</file>

<file path=ppt/slideLayouts/slideLayout20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3247745"/>
      </p:ext>
    </p:extLst>
  </p:cSld>
  <p:clrMapOvr>
    <a:masterClrMapping/>
  </p:clrMapOvr>
</p:sldLayout>
</file>

<file path=ppt/slideLayouts/slideLayout20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7643842"/>
      </p:ext>
    </p:extLst>
  </p:cSld>
  <p:clrMapOvr>
    <a:masterClrMapping/>
  </p:clrMapOvr>
</p:sldLayout>
</file>

<file path=ppt/slideLayouts/slideLayout20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20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20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20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20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2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91658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2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9" name="Google Shape;2069;g3681a448973_2_150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0" name="Google Shape;2070;g3681a448973_2_150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071" name="Google Shape;2071;g3681a448973_2_150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72" name="Google Shape;2072;g3681a448973_2_150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73" name="Google Shape;2073;g3681a448973_2_150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74" name="Google Shape;2074;g3681a448973_2_150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5" name="Google Shape;2075;g3681a448973_2_150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76" name="Google Shape;2076;g3681a448973_2_150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7" name="Google Shape;2077;g3681a448973_2_150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78" name="Google Shape;2078;g3681a448973_2_150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9" name="Google Shape;2079;g3681a448973_2_150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20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819122"/>
      </p:ext>
    </p:extLst>
  </p:cSld>
  <p:clrMapOvr>
    <a:masterClrMapping/>
  </p:clrMapOvr>
</p:sldLayout>
</file>

<file path=ppt/slideLayouts/slideLayout20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0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0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0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2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1081222"/>
      </p:ext>
    </p:extLst>
  </p:cSld>
  <p:clrMapOvr>
    <a:masterClrMapping/>
  </p:clrMapOvr>
</p:sldLayout>
</file>

<file path=ppt/slideLayouts/slideLayout2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393067"/>
      </p:ext>
    </p:extLst>
  </p:cSld>
  <p:clrMapOvr>
    <a:masterClrMapping/>
  </p:clrMapOvr>
</p:sldLayout>
</file>

<file path=ppt/slideLayouts/slideLayout20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370130"/>
      </p:ext>
    </p:extLst>
  </p:cSld>
  <p:clrMapOvr>
    <a:masterClrMapping/>
  </p:clrMapOvr>
</p:sldLayout>
</file>

<file path=ppt/slideLayouts/slideLayout20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4841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2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1" name="Google Shape;2081;g3681a448973_2_1506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82" name="Google Shape;2082;g3681a448973_2_15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83" name="Google Shape;2083;g3681a448973_2_150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84" name="Google Shape;2084;g3681a448973_2_150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5" name="Google Shape;2085;g3681a448973_2_150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86" name="Google Shape;2086;g3681a448973_2_150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7" name="Google Shape;2087;g3681a448973_2_150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088" name="Google Shape;2088;g3681a448973_2_150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89" name="Google Shape;2089;g3681a448973_2_150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090" name="Google Shape;2090;g3681a448973_2_150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1" name="Google Shape;2091;g3681a448973_2_150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92" name="Google Shape;2092;g3681a448973_2_150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3" name="Google Shape;2093;g3681a448973_2_150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2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2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2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20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20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20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20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20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20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" name="Google Shape;225;g3681a448973_2_1321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6" name="Google Shape;226;g3681a448973_2_1321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g3681a448973_2_1321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g3681a448973_2_13211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" name="Google Shape;229;g3681a448973_2_13211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0" name="Google Shape;230;g3681a448973_2_1321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31" name="Google Shape;231;g3681a448973_2_13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g3681a448973_2_132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g3681a448973_2_1508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g3681a448973_2_1508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g3681a448973_2_1508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g3681a448973_2_1508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g3681a448973_2_1508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g3681a448973_2_1508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g3681a448973_2_150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2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2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2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2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0710929"/>
      </p:ext>
    </p:extLst>
  </p:cSld>
  <p:clrMapOvr>
    <a:masterClrMapping/>
  </p:clrMapOvr>
</p:sldLayout>
</file>

<file path=ppt/slideLayouts/slideLayout2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855051"/>
      </p:ext>
    </p:extLst>
  </p:cSld>
  <p:clrMapOvr>
    <a:masterClrMapping/>
  </p:clrMapOvr>
</p:sldLayout>
</file>

<file path=ppt/slideLayouts/slideLayout2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2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2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2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3" name="Google Shape;2103;g3681a448973_2_1508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04" name="Google Shape;2104;g3681a448973_2_1508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g3681a448973_2_1508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6" name="Google Shape;2106;g3681a448973_2_1508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7" name="Google Shape;2107;g3681a448973_2_1508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8" name="Google Shape;2108;g3681a448973_2_1508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09" name="Google Shape;2109;g3681a448973_2_150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10" name="Google Shape;2110;g3681a448973_2_150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2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2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2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2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2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2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2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2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2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169195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2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2" name="Google Shape;2112;g3681a448973_2_150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13" name="Google Shape;2113;g3681a448973_2_150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14" name="Google Shape;2114;g3681a448973_2_150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15" name="Google Shape;2115;g3681a448973_2_150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16" name="Google Shape;2116;g3681a448973_2_150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7" name="Google Shape;2117;g3681a448973_2_150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18" name="Google Shape;2118;g3681a448973_2_150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9" name="Google Shape;2119;g3681a448973_2_150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33333608"/>
      </p:ext>
    </p:extLst>
  </p:cSld>
  <p:clrMapOvr>
    <a:masterClrMapping/>
  </p:clrMapOvr>
</p:sldLayout>
</file>

<file path=ppt/slideLayouts/slideLayout2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2905182"/>
      </p:ext>
    </p:extLst>
  </p:cSld>
  <p:clrMapOvr>
    <a:masterClrMapping/>
  </p:clrMapOvr>
</p:sldLayout>
</file>

<file path=ppt/slideLayouts/slideLayout2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5076441"/>
      </p:ext>
    </p:extLst>
  </p:cSld>
  <p:clrMapOvr>
    <a:masterClrMapping/>
  </p:clrMapOvr>
</p:sldLayout>
</file>

<file path=ppt/slideLayouts/slideLayout2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12636"/>
      </p:ext>
    </p:extLst>
  </p:cSld>
  <p:clrMapOvr>
    <a:masterClrMapping/>
  </p:clrMapOvr>
</p:sldLayout>
</file>

<file path=ppt/slideLayouts/slideLayout2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04719"/>
      </p:ext>
    </p:extLst>
  </p:cSld>
  <p:clrMapOvr>
    <a:masterClrMapping/>
  </p:clrMapOvr>
</p:sldLayout>
</file>

<file path=ppt/slideLayouts/slideLayout2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914808"/>
      </p:ext>
    </p:extLst>
  </p:cSld>
  <p:clrMapOvr>
    <a:masterClrMapping/>
  </p:clrMapOvr>
</p:sldLayout>
</file>

<file path=ppt/slideLayouts/slideLayout2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1" name="Google Shape;2121;g3681a448973_2_151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22" name="Google Shape;2122;g3681a448973_2_15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3" name="Google Shape;2123;g3681a448973_2_151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24" name="Google Shape;2124;g3681a448973_2_15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5" name="Google Shape;2125;g3681a448973_2_15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6" name="Google Shape;2126;g3681a448973_2_15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7" name="Google Shape;2127;g3681a448973_2_15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8" name="Google Shape;2128;g3681a448973_2_15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9" name="Google Shape;2129;g3681a448973_2_15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2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2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2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12636"/>
      </p:ext>
    </p:extLst>
  </p:cSld>
  <p:clrMapOvr>
    <a:masterClrMapping/>
  </p:clrMapOvr>
</p:sldLayout>
</file>

<file path=ppt/slideLayouts/slideLayout2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04719"/>
      </p:ext>
    </p:extLst>
  </p:cSld>
  <p:clrMapOvr>
    <a:masterClrMapping/>
  </p:clrMapOvr>
</p:sldLayout>
</file>

<file path=ppt/slideLayouts/slideLayout2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32276"/>
      </p:ext>
    </p:extLst>
  </p:cSld>
  <p:clrMapOvr>
    <a:masterClrMapping/>
  </p:clrMapOvr>
</p:sldLayout>
</file>

<file path=ppt/slideLayouts/slideLayout2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2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1" name="Google Shape;2131;g3681a448973_2_1511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2" name="Google Shape;2132;g3681a448973_2_151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3" name="Google Shape;2133;g3681a448973_2_151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34" name="Google Shape;2134;g3681a448973_2_15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35" name="Google Shape;2135;g3681a448973_2_151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36" name="Google Shape;2136;g3681a448973_2_151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7" name="Google Shape;2137;g3681a448973_2_151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38" name="Google Shape;2138;g3681a448973_2_151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2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2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0" name="Google Shape;2140;g3681a448973_2_151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41" name="Google Shape;2141;g3681a448973_2_151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2" name="Google Shape;2142;g3681a448973_2_15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3" name="Google Shape;2143;g3681a448973_2_151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44" name="Google Shape;2144;g3681a448973_2_15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45" name="Google Shape;2145;g3681a448973_2_151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6" name="Google Shape;2146;g3681a448973_2_151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2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8" name="Google Shape;2148;g3681a448973_2_1513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9" name="Google Shape;2149;g3681a448973_2_151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0" name="Google Shape;2150;g3681a448973_2_151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1" name="Google Shape;2151;g3681a448973_2_15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2" name="Google Shape;2152;g3681a448973_2_15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3" name="Google Shape;2153;g3681a448973_2_15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54" name="Google Shape;2154;g3681a448973_2_1513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55" name="Google Shape;2155;g3681a448973_2_15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56" name="Google Shape;2156;g3681a448973_2_151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57" name="Google Shape;2157;g3681a448973_2_15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8" name="Google Shape;2158;g3681a448973_2_15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59" name="Google Shape;2159;g3681a448973_2_151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61" name="Google Shape;2161;g3681a448973_2_151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62" name="Google Shape;2162;g3681a448973_2_15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3" name="Google Shape;2163;g3681a448973_2_151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64" name="Google Shape;2164;g3681a448973_2_15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5" name="Google Shape;2165;g3681a448973_2_15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66" name="Google Shape;2166;g3681a448973_2_15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7" name="Google Shape;2167;g3681a448973_2_151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8" name="Google Shape;2168;g3681a448973_2_15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9" name="Google Shape;2169;g3681a448973_2_15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70" name="Google Shape;2170;g3681a448973_2_15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3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5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7" y="4178331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2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2" name="Google Shape;2172;g3681a448973_2_151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3" name="Google Shape;2173;g3681a448973_2_151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74" name="Google Shape;2174;g3681a448973_2_151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75" name="Google Shape;2175;g3681a448973_2_15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6" name="Google Shape;2176;g3681a448973_2_151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77" name="Google Shape;2177;g3681a448973_2_15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8" name="Google Shape;2178;g3681a448973_2_15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79" name="Google Shape;2179;g3681a448973_2_151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0" name="Google Shape;2180;g3681a448973_2_151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1" name="Google Shape;2181;g3681a448973_2_15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82" name="Google Shape;2182;g3681a448973_2_15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2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4" name="Google Shape;2184;g3681a448973_2_1517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85" name="Google Shape;2185;g3681a448973_2_15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86" name="Google Shape;2186;g3681a448973_2_151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87" name="Google Shape;2187;g3681a448973_2_15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8" name="Google Shape;2188;g3681a448973_2_15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89" name="Google Shape;2189;g3681a448973_2_151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0" name="Google Shape;2190;g3681a448973_2_151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91" name="Google Shape;2191;g3681a448973_2_151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2" name="Google Shape;2192;g3681a448973_2_151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93" name="Google Shape;2193;g3681a448973_2_151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4" name="Google Shape;2194;g3681a448973_2_15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5" name="Google Shape;2195;g3681a448973_2_15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6" name="Google Shape;2196;g3681a448973_2_15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681a448973_2_1322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" name="Google Shape;235;g3681a448973_2_13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6" name="Google Shape;236;g3681a448973_2_13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7" name="Google Shape;237;g3681a448973_2_1322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38" name="Google Shape;238;g3681a448973_2_13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9" name="Google Shape;239;g3681a448973_2_1322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0" name="Google Shape;240;g3681a448973_2_13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g3681a448973_2_13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2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8" name="Google Shape;2198;g3681a448973_2_151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99" name="Google Shape;2199;g3681a448973_2_1518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200" name="Google Shape;2200;g3681a448973_2_151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01" name="Google Shape;2201;g3681a448973_2_151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g3681a448973_2_151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3" name="Google Shape;2203;g3681a448973_2_151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204" name="Google Shape;2204;g3681a448973_2_151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2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2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2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6" name="Google Shape;2206;g3681a448973_2_1519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07" name="Google Shape;2207;g3681a448973_2_1519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8" name="Google Shape;2208;g3681a448973_2_1519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9" name="Google Shape;2209;g3681a448973_2_1519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10" name="Google Shape;2210;g3681a448973_2_1519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1" name="Google Shape;2211;g3681a448973_2_1519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12" name="Google Shape;2212;g3681a448973_2_151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13" name="Google Shape;2213;g3681a448973_2_1519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2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2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868963"/>
      </p:ext>
    </p:extLst>
  </p:cSld>
  <p:clrMapOvr>
    <a:masterClrMapping/>
  </p:clrMapOvr>
</p:sldLayout>
</file>

<file path=ppt/slideLayouts/slideLayout2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2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5" name="Google Shape;2215;g3681a448973_2_15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g3681a448973_2_15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g3681a448973_2_15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18" name="Google Shape;2218;g3681a448973_2_152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19" name="Google Shape;2219;g3681a448973_2_15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0" name="Google Shape;2220;g3681a448973_2_152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21" name="Google Shape;2221;g3681a448973_2_15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2" name="Google Shape;2222;g3681a448973_2_15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3039966"/>
      </p:ext>
    </p:extLst>
  </p:cSld>
  <p:clrMapOvr>
    <a:masterClrMapping/>
  </p:clrMapOvr>
</p:sldLayout>
</file>

<file path=ppt/slideLayouts/slideLayout2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579817"/>
      </p:ext>
    </p:extLst>
  </p:cSld>
  <p:clrMapOvr>
    <a:masterClrMapping/>
  </p:clrMapOvr>
</p:sldLayout>
</file>

<file path=ppt/slideLayouts/slideLayout2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37463139"/>
      </p:ext>
    </p:extLst>
  </p:cSld>
  <p:clrMapOvr>
    <a:masterClrMapping/>
  </p:clrMapOvr>
</p:sldLayout>
</file>

<file path=ppt/slideLayouts/slideLayout2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079460"/>
      </p:ext>
    </p:extLst>
  </p:cSld>
  <p:clrMapOvr>
    <a:masterClrMapping/>
  </p:clrMapOvr>
</p:sldLayout>
</file>

<file path=ppt/slideLayouts/slideLayout2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0408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2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24" name="Google Shape;2224;g3681a448973_2_152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25" name="Google Shape;2225;g3681a448973_2_15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6" name="Google Shape;2226;g3681a448973_2_152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27" name="Google Shape;2227;g3681a448973_2_15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8" name="Google Shape;2228;g3681a448973_2_15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9" name="Google Shape;2229;g3681a448973_2_15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0" name="Google Shape;2230;g3681a448973_2_15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1" name="Google Shape;2231;g3681a448973_2_15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32" name="Google Shape;2232;g3681a448973_2_15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2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17776"/>
      </p:ext>
    </p:extLst>
  </p:cSld>
  <p:clrMapOvr>
    <a:masterClrMapping/>
  </p:clrMapOvr>
</p:sldLayout>
</file>

<file path=ppt/slideLayouts/slideLayout2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70366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2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4" name="Google Shape;2234;g3681a448973_2_1522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235" name="Google Shape;2235;g3681a448973_2_1522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236" name="Google Shape;2236;g3681a448973_2_1522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37" name="Google Shape;2237;g3681a448973_2_152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8" name="Google Shape;2238;g3681a448973_2_152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39" name="Google Shape;2239;g3681a448973_2_152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240" name="Google Shape;2240;g3681a448973_2_152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765116"/>
      </p:ext>
    </p:extLst>
  </p:cSld>
  <p:clrMapOvr>
    <a:masterClrMapping/>
  </p:clrMapOvr>
</p:sldLayout>
</file>

<file path=ppt/slideLayouts/slideLayout2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468155"/>
      </p:ext>
    </p:extLst>
  </p:cSld>
  <p:clrMapOvr>
    <a:masterClrMapping/>
  </p:clrMapOvr>
</p:sldLayout>
</file>

<file path=ppt/slideLayouts/slideLayout2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551106"/>
      </p:ext>
    </p:extLst>
  </p:cSld>
  <p:clrMapOvr>
    <a:masterClrMapping/>
  </p:clrMapOvr>
</p:sldLayout>
</file>

<file path=ppt/slideLayouts/slideLayout2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933189"/>
      </p:ext>
    </p:extLst>
  </p:cSld>
  <p:clrMapOvr>
    <a:masterClrMapping/>
  </p:clrMapOvr>
</p:sldLayout>
</file>

<file path=ppt/slideLayouts/slideLayout2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36836"/>
      </p:ext>
    </p:extLst>
  </p:cSld>
  <p:clrMapOvr>
    <a:masterClrMapping/>
  </p:clrMapOvr>
</p:sldLayout>
</file>

<file path=ppt/slideLayouts/slideLayout2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186372"/>
      </p:ext>
    </p:extLst>
  </p:cSld>
  <p:clrMapOvr>
    <a:masterClrMapping/>
  </p:clrMapOvr>
</p:sldLayout>
</file>

<file path=ppt/slideLayouts/slideLayout2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2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" name="Google Shape;2242;g3681a448973_2_1522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43" name="Google Shape;2243;g3681a448973_2_152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44" name="Google Shape;2244;g3681a448973_2_152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5" name="Google Shape;2245;g3681a448973_2_15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6" name="Google Shape;2246;g3681a448973_2_15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7" name="Google Shape;2247;g3681a448973_2_15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48" name="Google Shape;2248;g3681a448973_2_152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49" name="Google Shape;2249;g3681a448973_2_152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50" name="Google Shape;2250;g3681a448973_2_152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51" name="Google Shape;2251;g3681a448973_2_15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2" name="Google Shape;2252;g3681a448973_2_15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53" name="Google Shape;2253;g3681a448973_2_152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70237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g3681a448973_2_152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56" name="Google Shape;2256;g3681a448973_2_152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57" name="Google Shape;2257;g3681a448973_2_152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58" name="Google Shape;2258;g3681a448973_2_152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9" name="Google Shape;2259;g3681a448973_2_152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60" name="Google Shape;2260;g3681a448973_2_152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1" name="Google Shape;2261;g3681a448973_2_1524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2" name="Google Shape;2262;g3681a448973_2_152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3" name="Google Shape;2263;g3681a448973_2_152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4" name="Google Shape;2264;g3681a448973_2_152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976497"/>
      </p:ext>
    </p:extLst>
  </p:cSld>
  <p:clrMapOvr>
    <a:masterClrMapping/>
  </p:clrMapOvr>
</p:sldLayout>
</file>

<file path=ppt/slideLayouts/slideLayout2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772741"/>
      </p:ext>
    </p:extLst>
  </p:cSld>
  <p:clrMapOvr>
    <a:masterClrMapping/>
  </p:clrMapOvr>
</p:sldLayout>
</file>

<file path=ppt/slideLayouts/slideLayout2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2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6" name="Google Shape;2266;g3681a448973_2_152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7" name="Google Shape;2267;g3681a448973_2_152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68" name="Google Shape;2268;g3681a448973_2_1525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69" name="Google Shape;2269;g3681a448973_2_152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70" name="Google Shape;2270;g3681a448973_2_152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71" name="Google Shape;2271;g3681a448973_2_152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2" name="Google Shape;2272;g3681a448973_2_152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73" name="Google Shape;2273;g3681a448973_2_152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4" name="Google Shape;2274;g3681a448973_2_152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5" name="Google Shape;2275;g3681a448973_2_152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76" name="Google Shape;2276;g3681a448973_2_15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6835511"/>
      </p:ext>
    </p:extLst>
  </p:cSld>
  <p:clrMapOvr>
    <a:masterClrMapping/>
  </p:clrMapOvr>
</p:sldLayout>
</file>

<file path=ppt/slideLayouts/slideLayout2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593383"/>
      </p:ext>
    </p:extLst>
  </p:cSld>
  <p:clrMapOvr>
    <a:masterClrMapping/>
  </p:clrMapOvr>
</p:sldLayout>
</file>

<file path=ppt/slideLayouts/slideLayout2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271800"/>
      </p:ext>
    </p:extLst>
  </p:cSld>
  <p:clrMapOvr>
    <a:masterClrMapping/>
  </p:clrMapOvr>
</p:sldLayout>
</file>

<file path=ppt/slideLayouts/slideLayout2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576183"/>
      </p:ext>
    </p:extLst>
  </p:cSld>
  <p:clrMapOvr>
    <a:masterClrMapping/>
  </p:clrMapOvr>
</p:sldLayout>
</file>

<file path=ppt/slideLayouts/slideLayout2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737512883"/>
      </p:ext>
    </p:extLst>
  </p:cSld>
  <p:clrMapOvr>
    <a:masterClrMapping/>
  </p:clrMapOvr>
</p:sldLayout>
</file>

<file path=ppt/slideLayouts/slideLayout22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83969"/>
      </p:ext>
    </p:extLst>
  </p:cSld>
  <p:clrMapOvr>
    <a:masterClrMapping/>
  </p:clrMapOvr>
</p:sldLayout>
</file>

<file path=ppt/slideLayouts/slideLayout2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488595"/>
      </p:ext>
    </p:extLst>
  </p:cSld>
  <p:clrMapOvr>
    <a:masterClrMapping/>
  </p:clrMapOvr>
</p:sldLayout>
</file>

<file path=ppt/slideLayouts/slideLayout22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9096371"/>
      </p:ext>
    </p:extLst>
  </p:cSld>
  <p:clrMapOvr>
    <a:masterClrMapping/>
  </p:clrMapOvr>
</p:sldLayout>
</file>

<file path=ppt/slideLayouts/slideLayout22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49905"/>
      </p:ext>
    </p:extLst>
  </p:cSld>
  <p:clrMapOvr>
    <a:masterClrMapping/>
  </p:clrMapOvr>
</p:sldLayout>
</file>

<file path=ppt/slideLayouts/slideLayout2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89724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2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78" name="Google Shape;2278;g3681a448973_2_152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79" name="Google Shape;2279;g3681a448973_2_15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0" name="Google Shape;2280;g3681a448973_2_152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81" name="Google Shape;2281;g3681a448973_2_15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2" name="Google Shape;2282;g3681a448973_2_15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83" name="Google Shape;2283;g3681a448973_2_15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4" name="Google Shape;2284;g3681a448973_2_152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85" name="Google Shape;2285;g3681a448973_2_152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g3681a448973_2_152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87" name="Google Shape;2287;g3681a448973_2_152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8" name="Google Shape;2288;g3681a448973_2_152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89" name="Google Shape;2289;g3681a448973_2_15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0" name="Google Shape;2290;g3681a448973_2_15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755755454"/>
      </p:ext>
    </p:extLst>
  </p:cSld>
  <p:clrMapOvr>
    <a:masterClrMapping/>
  </p:clrMapOvr>
</p:sldLayout>
</file>

<file path=ppt/slideLayouts/slideLayout22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712456"/>
      </p:ext>
    </p:extLst>
  </p:cSld>
  <p:clrMapOvr>
    <a:masterClrMapping/>
  </p:clrMapOvr>
</p:sldLayout>
</file>

<file path=ppt/slideLayouts/slideLayout2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6173789"/>
      </p:ext>
    </p:extLst>
  </p:cSld>
  <p:clrMapOvr>
    <a:masterClrMapping/>
  </p:clrMapOvr>
</p:sldLayout>
</file>

<file path=ppt/slideLayouts/slideLayout2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949568"/>
      </p:ext>
    </p:extLst>
  </p:cSld>
  <p:clrMapOvr>
    <a:masterClrMapping/>
  </p:clrMapOvr>
</p:sldLayout>
</file>

<file path=ppt/slideLayouts/slideLayout2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269190"/>
      </p:ext>
    </p:extLst>
  </p:cSld>
  <p:clrMapOvr>
    <a:masterClrMapping/>
  </p:clrMapOvr>
</p:sldLayout>
</file>

<file path=ppt/slideLayouts/slideLayout2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81566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2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2" name="Google Shape;2292;g3681a448973_2_152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93" name="Google Shape;2293;g3681a448973_2_15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4" name="Google Shape;2294;g3681a448973_2_152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95" name="Google Shape;2295;g3681a448973_2_15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6" name="Google Shape;2296;g3681a448973_2_15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7" name="Google Shape;2297;g3681a448973_2_152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8" name="Google Shape;2298;g3681a448973_2_15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9" name="Google Shape;2299;g3681a448973_2_15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00" name="Google Shape;2300;g3681a448973_2_15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110337"/>
      </p:ext>
    </p:extLst>
  </p:cSld>
  <p:clrMapOvr>
    <a:masterClrMapping/>
  </p:clrMapOvr>
</p:sldLayout>
</file>

<file path=ppt/slideLayouts/slideLayout2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37410"/>
      </p:ext>
    </p:extLst>
  </p:cSld>
  <p:clrMapOvr>
    <a:masterClrMapping/>
  </p:clrMapOvr>
</p:sldLayout>
</file>

<file path=ppt/slideLayouts/slideLayout2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2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3681a448973_2_1322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g3681a448973_2_1322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g3681a448973_2_1322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6" name="Google Shape;246;g3681a448973_2_132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47" name="Google Shape;247;g3681a448973_2_1322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48" name="Google Shape;248;g3681a448973_2_132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g3681a448973_2_132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0" name="Google Shape;250;g3681a448973_2_13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2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2" name="Google Shape;2302;g3681a448973_2_1528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303" name="Google Shape;2303;g3681a448973_2_1528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4" name="Google Shape;2304;g3681a448973_2_1528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5" name="Google Shape;2305;g3681a448973_2_1528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06" name="Google Shape;2306;g3681a448973_2_1528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07" name="Google Shape;2307;g3681a448973_2_1528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308" name="Google Shape;2308;g3681a448973_2_15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309" name="Google Shape;2309;g3681a448973_2_152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28868"/>
      </p:ext>
    </p:extLst>
  </p:cSld>
  <p:clrMapOvr>
    <a:masterClrMapping/>
  </p:clrMapOvr>
</p:sldLayout>
</file>

<file path=ppt/slideLayouts/slideLayout2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202233"/>
      </p:ext>
    </p:extLst>
  </p:cSld>
  <p:clrMapOvr>
    <a:masterClrMapping/>
  </p:clrMapOvr>
</p:sldLayout>
</file>

<file path=ppt/slideLayouts/slideLayout2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88535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2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1" name="Google Shape;2311;g3681a448973_2_15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12" name="Google Shape;2312;g3681a448973_2_152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13" name="Google Shape;2313;g3681a448973_2_15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14" name="Google Shape;2314;g3681a448973_2_1529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15" name="Google Shape;2315;g3681a448973_2_152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16" name="Google Shape;2316;g3681a448973_2_152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17" name="Google Shape;2317;g3681a448973_2_152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8" name="Google Shape;2318;g3681a448973_2_152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2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2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0" name="Google Shape;2320;g3681a448973_2_1530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21" name="Google Shape;2321;g3681a448973_2_153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2" name="Google Shape;2322;g3681a448973_2_153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323" name="Google Shape;2323;g3681a448973_2_153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24" name="Google Shape;2324;g3681a448973_2_153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25" name="Google Shape;2325;g3681a448973_2_153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6" name="Google Shape;2326;g3681a448973_2_153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27" name="Google Shape;2327;g3681a448973_2_15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774447"/>
      </p:ext>
    </p:extLst>
  </p:cSld>
  <p:clrMapOvr>
    <a:masterClrMapping/>
  </p:clrMapOvr>
</p:sldLayout>
</file>

<file path=ppt/slideLayouts/slideLayout2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6819237"/>
      </p:ext>
    </p:extLst>
  </p:cSld>
  <p:clrMapOvr>
    <a:masterClrMapping/>
  </p:clrMapOvr>
</p:sldLayout>
</file>

<file path=ppt/slideLayouts/slideLayout2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0416834"/>
      </p:ext>
    </p:extLst>
  </p:cSld>
  <p:clrMapOvr>
    <a:masterClrMapping/>
  </p:clrMapOvr>
</p:sldLayout>
</file>

<file path=ppt/slideLayouts/slideLayout2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07786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9" name="Google Shape;2329;g3681a448973_2_153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330" name="Google Shape;2330;g3681a448973_2_153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1" name="Google Shape;2331;g3681a448973_2_15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2" name="Google Shape;2332;g3681a448973_2_153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3" name="Google Shape;2333;g3681a448973_2_15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334" name="Google Shape;2334;g3681a448973_2_153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5" name="Google Shape;2335;g3681a448973_2_153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516251"/>
      </p:ext>
    </p:extLst>
  </p:cSld>
  <p:clrMapOvr>
    <a:masterClrMapping/>
  </p:clrMapOvr>
</p:sldLayout>
</file>

<file path=ppt/slideLayouts/slideLayout2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702741"/>
      </p:ext>
    </p:extLst>
  </p:cSld>
  <p:clrMapOvr>
    <a:masterClrMapping/>
  </p:clrMapOvr>
</p:sldLayout>
</file>

<file path=ppt/slideLayouts/slideLayout2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2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7" name="Google Shape;2337;g3681a448973_2_153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38" name="Google Shape;2338;g3681a448973_2_1532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39" name="Google Shape;2339;g3681a448973_2_153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40" name="Google Shape;2340;g3681a448973_2_153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1" name="Google Shape;2341;g3681a448973_2_153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42" name="Google Shape;2342;g3681a448973_2_153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343" name="Google Shape;2343;g3681a448973_2_153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2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2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2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5" name="Google Shape;2345;g3681a448973_2_1533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46" name="Google Shape;2346;g3681a448973_2_15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7" name="Google Shape;2347;g3681a448973_2_15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8" name="Google Shape;2348;g3681a448973_2_15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49" name="Google Shape;2349;g3681a448973_2_15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0" name="Google Shape;2350;g3681a448973_2_15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51" name="Google Shape;2351;g3681a448973_2_1533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52" name="Google Shape;2352;g3681a448973_2_15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53" name="Google Shape;2353;g3681a448973_2_1533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54" name="Google Shape;2354;g3681a448973_2_15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5" name="Google Shape;2355;g3681a448973_2_15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356" name="Google Shape;2356;g3681a448973_2_153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2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24154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2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8" name="Google Shape;2358;g3681a448973_2_153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59" name="Google Shape;2359;g3681a448973_2_15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60" name="Google Shape;2360;g3681a448973_2_153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61" name="Google Shape;2361;g3681a448973_2_15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2" name="Google Shape;2362;g3681a448973_2_15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63" name="Google Shape;2363;g3681a448973_2_15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4" name="Google Shape;2364;g3681a448973_2_15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5" name="Google Shape;2365;g3681a448973_2_153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66" name="Google Shape;2366;g3681a448973_2_15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67" name="Google Shape;2367;g3681a448973_2_15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5046152"/>
      </p:ext>
    </p:extLst>
  </p:cSld>
  <p:clrMapOvr>
    <a:masterClrMapping/>
  </p:clrMapOvr>
</p:sldLayout>
</file>

<file path=ppt/slideLayouts/slideLayout2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1460102"/>
      </p:ext>
    </p:extLst>
  </p:cSld>
  <p:clrMapOvr>
    <a:masterClrMapping/>
  </p:clrMapOvr>
</p:sldLayout>
</file>

<file path=ppt/slideLayouts/slideLayout2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198218"/>
      </p:ext>
    </p:extLst>
  </p:cSld>
  <p:clrMapOvr>
    <a:masterClrMapping/>
  </p:clrMapOvr>
</p:sldLayout>
</file>

<file path=ppt/slideLayouts/slideLayout2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2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0981" indent="-380981">
              <a:buFont typeface="Wingdings" panose="05000000000000000000" pitchFamily="2" charset="2"/>
              <a:buChar char="§"/>
              <a:defRPr sz="1867" b="1"/>
            </a:lvl1pPr>
            <a:lvl2pPr marL="609570" indent="-296319">
              <a:buFont typeface="Arial" panose="020B0604020202020204" pitchFamily="34" charset="0"/>
              <a:buChar char="̶"/>
              <a:defRPr sz="1867"/>
            </a:lvl2pPr>
            <a:lvl3pPr marL="922821" indent="-313251">
              <a:buFont typeface="Arial" panose="020B0604020202020204" pitchFamily="34" charset="0"/>
              <a:buChar char="•"/>
              <a:defRPr sz="1867"/>
            </a:lvl3pPr>
            <a:lvl4pPr marL="1219140" indent="-296319">
              <a:buFont typeface="Wingdings" panose="05000000000000000000" pitchFamily="2" charset="2"/>
              <a:buChar char="ü"/>
              <a:defRPr sz="1867"/>
            </a:lvl4pPr>
            <a:lvl5pPr marL="1532390" indent="-313251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2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9" name="Google Shape;2369;g3681a448973_2_153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0" name="Google Shape;2370;g3681a448973_2_153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371" name="Google Shape;2371;g3681a448973_2_153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72" name="Google Shape;2372;g3681a448973_2_15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73" name="Google Shape;2373;g3681a448973_2_153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74" name="Google Shape;2374;g3681a448973_2_153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5" name="Google Shape;2375;g3681a448973_2_153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76" name="Google Shape;2376;g3681a448973_2_153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7" name="Google Shape;2377;g3681a448973_2_153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8" name="Google Shape;2378;g3681a448973_2_153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79" name="Google Shape;2379;g3681a448973_2_153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1056152"/>
      </p:ext>
    </p:extLst>
  </p:cSld>
  <p:clrMapOvr>
    <a:masterClrMapping/>
  </p:clrMapOvr>
</p:sldLayout>
</file>

<file path=ppt/slideLayouts/slideLayout2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14033423"/>
      </p:ext>
    </p:extLst>
  </p:cSld>
  <p:clrMapOvr>
    <a:masterClrMapping/>
  </p:clrMapOvr>
</p:sldLayout>
</file>

<file path=ppt/slideLayouts/slideLayout2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81" name="Google Shape;2381;g3681a448973_2_1536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82" name="Google Shape;2382;g3681a448973_2_15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83" name="Google Shape;2383;g3681a448973_2_153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84" name="Google Shape;2384;g3681a448973_2_15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5" name="Google Shape;2385;g3681a448973_2_15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86" name="Google Shape;2386;g3681a448973_2_15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7" name="Google Shape;2387;g3681a448973_2_153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88" name="Google Shape;2388;g3681a448973_2_153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9" name="Google Shape;2389;g3681a448973_2_153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0" name="Google Shape;2390;g3681a448973_2_153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1" name="Google Shape;2391;g3681a448973_2_153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92" name="Google Shape;2392;g3681a448973_2_15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93" name="Google Shape;2393;g3681a448973_2_15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2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95" name="Google Shape;2395;g3681a448973_2_153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96" name="Google Shape;2396;g3681a448973_2_15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97" name="Google Shape;2397;g3681a448973_2_153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98" name="Google Shape;2398;g3681a448973_2_153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9" name="Google Shape;2399;g3681a448973_2_153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00" name="Google Shape;2400;g3681a448973_2_153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g3681a448973_2_153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02" name="Google Shape;2402;g3681a448973_2_153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03" name="Google Shape;2403;g3681a448973_2_153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1459241"/>
      </p:ext>
    </p:extLst>
  </p:cSld>
  <p:clrMapOvr>
    <a:masterClrMapping/>
  </p:clrMapOvr>
</p:sldLayout>
</file>

<file path=ppt/slideLayouts/slideLayout2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oogle Shape;252;g3681a448973_2_1323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53" name="Google Shape;253;g3681a448973_2_132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g3681a448973_2_132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g3681a448973_2_132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" name="Google Shape;256;g3681a448973_2_13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7" name="Google Shape;257;g3681a448973_2_1323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g3681a448973_2_1323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2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5" name="Google Shape;2405;g3681a448973_2_153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406" name="Google Shape;2406;g3681a448973_2_153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7" name="Google Shape;2407;g3681a448973_2_153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8" name="Google Shape;2408;g3681a448973_2_1539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g3681a448973_2_153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0" name="Google Shape;2410;g3681a448973_2_153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11" name="Google Shape;2411;g3681a448973_2_153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412" name="Google Shape;2412;g3681a448973_2_153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4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4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5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21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90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1"/>
            <a:ext cx="10189827" cy="2278211"/>
          </a:xfrm>
        </p:spPr>
        <p:txBody>
          <a:bodyPr anchor="b"/>
          <a:lstStyle>
            <a:lvl1pPr marL="0" indent="0">
              <a:defRPr sz="5335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5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6" y="224842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6" y="917199"/>
            <a:ext cx="11715725" cy="4958671"/>
          </a:xfrm>
          <a:prstGeom prst="rect">
            <a:avLst/>
          </a:prstGeom>
        </p:spPr>
        <p:txBody>
          <a:bodyPr/>
          <a:lstStyle>
            <a:lvl1pPr marL="381000" indent="-381000">
              <a:buFont typeface="Wingdings" panose="05000000000000000000" pitchFamily="2" charset="2"/>
              <a:buChar char="§"/>
              <a:defRPr sz="1867" b="1"/>
            </a:lvl1pPr>
            <a:lvl2pPr marL="609601" indent="-296334">
              <a:buFont typeface="Arial" panose="020B0604020202020204" pitchFamily="34" charset="0"/>
              <a:buChar char="̶"/>
              <a:defRPr sz="1867"/>
            </a:lvl2pPr>
            <a:lvl3pPr marL="922868" indent="-313267">
              <a:buFont typeface="Arial" panose="020B0604020202020204" pitchFamily="34" charset="0"/>
              <a:buChar char="•"/>
              <a:defRPr sz="1867"/>
            </a:lvl3pPr>
            <a:lvl4pPr marL="1219200" indent="-296334">
              <a:buFont typeface="Wingdings" panose="05000000000000000000" pitchFamily="2" charset="2"/>
              <a:buChar char="ü"/>
              <a:defRPr sz="1867"/>
            </a:lvl4pPr>
            <a:lvl5pPr marL="1532467" indent="-31326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9" y="5969004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3" y="5969002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2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4" name="Google Shape;2414;g3681a448973_2_15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5" name="Google Shape;2415;g3681a448973_2_15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16" name="Google Shape;2416;g3681a448973_2_15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17" name="Google Shape;2417;g3681a448973_2_154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18" name="Google Shape;2418;g3681a448973_2_15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19" name="Google Shape;2419;g3681a448973_2_154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20" name="Google Shape;2420;g3681a448973_2_15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1" name="Google Shape;2421;g3681a448973_2_15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4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788354"/>
      </p:ext>
    </p:extLst>
  </p:cSld>
  <p:clrMapOvr>
    <a:masterClrMapping/>
  </p:clrMapOvr>
</p:sldLayout>
</file>

<file path=ppt/slideLayouts/slideLayout2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2279"/>
      </p:ext>
    </p:extLst>
  </p:cSld>
  <p:clrMapOvr>
    <a:masterClrMapping/>
  </p:clrMapOvr>
</p:sldLayout>
</file>

<file path=ppt/slideLayouts/slideLayout24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726915"/>
      </p:ext>
    </p:extLst>
  </p:cSld>
  <p:clrMapOvr>
    <a:masterClrMapping/>
  </p:clrMapOvr>
</p:sldLayout>
</file>

<file path=ppt/slideLayouts/slideLayout2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2842136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2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3" name="Google Shape;2423;g3681a448973_2_15409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4" name="Google Shape;2424;g3681a448973_2_154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5" name="Google Shape;2425;g3681a448973_2_154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26" name="Google Shape;2426;g3681a448973_2_154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427" name="Google Shape;2427;g3681a448973_2_154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428" name="Google Shape;2428;g3681a448973_2_154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9" name="Google Shape;2429;g3681a448973_2_154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430" name="Google Shape;2430;g3681a448973_2_15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4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0915307"/>
      </p:ext>
    </p:extLst>
  </p:cSld>
  <p:clrMapOvr>
    <a:masterClrMapping/>
  </p:clrMapOvr>
</p:sldLayout>
</file>

<file path=ppt/slideLayouts/slideLayout2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0188930"/>
      </p:ext>
    </p:extLst>
  </p:cSld>
  <p:clrMapOvr>
    <a:masterClrMapping/>
  </p:clrMapOvr>
</p:sldLayout>
</file>

<file path=ppt/slideLayouts/slideLayout2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6023266"/>
      </p:ext>
    </p:extLst>
  </p:cSld>
  <p:clrMapOvr>
    <a:masterClrMapping/>
  </p:clrMapOvr>
</p:sldLayout>
</file>

<file path=ppt/slideLayouts/slideLayout2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454517"/>
      </p:ext>
    </p:extLst>
  </p:cSld>
  <p:clrMapOvr>
    <a:masterClrMapping/>
  </p:clrMapOvr>
</p:sldLayout>
</file>

<file path=ppt/slideLayouts/slideLayout2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8562220"/>
      </p:ext>
    </p:extLst>
  </p:cSld>
  <p:clrMapOvr>
    <a:masterClrMapping/>
  </p:clrMapOvr>
</p:sldLayout>
</file>

<file path=ppt/slideLayouts/slideLayout2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00529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2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32" name="Google Shape;2432;g3681a448973_2_154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433" name="Google Shape;2433;g3681a448973_2_154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4" name="Google Shape;2434;g3681a448973_2_154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5" name="Google Shape;2435;g3681a448973_2_154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436" name="Google Shape;2436;g3681a448973_2_15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437" name="Google Shape;2437;g3681a448973_2_154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8" name="Google Shape;2438;g3681a448973_2_154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65979438"/>
      </p:ext>
    </p:extLst>
  </p:cSld>
  <p:clrMapOvr>
    <a:masterClrMapping/>
  </p:clrMapOvr>
</p:sldLayout>
</file>

<file path=ppt/slideLayouts/slideLayout2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232335"/>
      </p:ext>
    </p:extLst>
  </p:cSld>
  <p:clrMapOvr>
    <a:masterClrMapping/>
  </p:clrMapOvr>
</p:sldLayout>
</file>

<file path=ppt/slideLayouts/slideLayout2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8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2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138394"/>
      </p:ext>
    </p:extLst>
  </p:cSld>
  <p:clrMapOvr>
    <a:masterClrMapping/>
  </p:clrMapOvr>
</p:sldLayout>
</file>

<file path=ppt/slideLayouts/slideLayout2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0981" indent="-380981">
              <a:buFont typeface="Wingdings" panose="05000000000000000000" pitchFamily="2" charset="2"/>
              <a:buChar char="§"/>
              <a:defRPr sz="1867" b="1"/>
            </a:lvl1pPr>
            <a:lvl2pPr marL="609570" indent="-296319">
              <a:buFont typeface="Arial" panose="020B0604020202020204" pitchFamily="34" charset="0"/>
              <a:buChar char="̶"/>
              <a:defRPr sz="1867"/>
            </a:lvl2pPr>
            <a:lvl3pPr marL="922821" indent="-313251">
              <a:buFont typeface="Arial" panose="020B0604020202020204" pitchFamily="34" charset="0"/>
              <a:buChar char="•"/>
              <a:defRPr sz="1867"/>
            </a:lvl3pPr>
            <a:lvl4pPr marL="1219140" indent="-296319">
              <a:buFont typeface="Wingdings" panose="05000000000000000000" pitchFamily="2" charset="2"/>
              <a:buChar char="ü"/>
              <a:defRPr sz="1867"/>
            </a:lvl4pPr>
            <a:lvl5pPr marL="1532390" indent="-313251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6775696"/>
      </p:ext>
    </p:extLst>
  </p:cSld>
  <p:clrMapOvr>
    <a:masterClrMapping/>
  </p:clrMapOvr>
</p:sldLayout>
</file>

<file path=ppt/slideLayouts/slideLayout2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53069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9"/>
            <a:ext cx="10176933" cy="3812116"/>
          </a:xfrm>
          <a:prstGeom prst="rect">
            <a:avLst/>
          </a:prstGeom>
        </p:spPr>
        <p:txBody>
          <a:bodyPr/>
          <a:lstStyle>
            <a:lvl1pPr marL="380981" indent="-380981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776079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0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589148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2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0" name="Google Shape;2440;g3681a448973_2_1542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1" name="Google Shape;2441;g3681a448973_2_154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2" name="Google Shape;2442;g3681a448973_2_154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3" name="Google Shape;2443;g3681a448973_2_154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44" name="Google Shape;2444;g3681a448973_2_154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g3681a448973_2_154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46" name="Google Shape;2446;g3681a448973_2_154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47" name="Google Shape;2447;g3681a448973_2_154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48" name="Google Shape;2448;g3681a448973_2_154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49" name="Google Shape;2449;g3681a448973_2_154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0" name="Google Shape;2450;g3681a448973_2_154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1" name="Google Shape;2451;g3681a448973_2_154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4375194"/>
      </p:ext>
    </p:extLst>
  </p:cSld>
  <p:clrMapOvr>
    <a:masterClrMapping/>
  </p:clrMapOvr>
</p:sldLayout>
</file>

<file path=ppt/slideLayouts/slideLayout2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68812030"/>
      </p:ext>
    </p:extLst>
  </p:cSld>
  <p:clrMapOvr>
    <a:masterClrMapping/>
  </p:clrMapOvr>
</p:sldLayout>
</file>

<file path=ppt/slideLayouts/slideLayout2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2165322"/>
      </p:ext>
    </p:extLst>
  </p:cSld>
  <p:clrMapOvr>
    <a:masterClrMapping/>
  </p:clrMapOvr>
</p:sldLayout>
</file>

<file path=ppt/slideLayouts/slideLayout2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219023"/>
      </p:ext>
    </p:extLst>
  </p:cSld>
  <p:clrMapOvr>
    <a:masterClrMapping/>
  </p:clrMapOvr>
</p:sldLayout>
</file>

<file path=ppt/slideLayouts/slideLayout2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2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3" name="Google Shape;2453;g3681a448973_2_1543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54" name="Google Shape;2454;g3681a448973_2_1543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55" name="Google Shape;2455;g3681a448973_2_1543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56" name="Google Shape;2456;g3681a448973_2_1543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7" name="Google Shape;2457;g3681a448973_2_1543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58" name="Google Shape;2458;g3681a448973_2_1543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459" name="Google Shape;2459;g3681a448973_2_154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8" y="5564125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3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89" y="493920"/>
            <a:ext cx="11248619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099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pPr marL="38099">
                <a:lnSpc>
                  <a:spcPts val="1425"/>
                </a:lnSpc>
              </a:p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2388423"/>
      </p:ext>
    </p:extLst>
  </p:cSld>
  <p:clrMapOvr>
    <a:masterClrMapping/>
  </p:clrMapOvr>
</p:sldLayout>
</file>

<file path=ppt/slideLayouts/slideLayout2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4"/>
            <a:ext cx="2036763" cy="203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474784"/>
      </p:ext>
    </p:extLst>
  </p:cSld>
  <p:clrMapOvr>
    <a:masterClrMapping/>
  </p:clrMapOvr>
</p:sldLayout>
</file>

<file path=ppt/slideLayouts/slideLayout2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63644878"/>
      </p:ext>
    </p:extLst>
  </p:cSld>
  <p:clrMapOvr>
    <a:masterClrMapping/>
  </p:clrMapOvr>
</p:sldLayout>
</file>

<file path=ppt/slideLayouts/slideLayout2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8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379225"/>
      </p:ext>
    </p:extLst>
  </p:cSld>
  <p:clrMapOvr>
    <a:masterClrMapping/>
  </p:clrMapOvr>
</p:sldLayout>
</file>

<file path=ppt/slideLayouts/slideLayout2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666228"/>
      </p:ext>
    </p:extLst>
  </p:cSld>
  <p:clrMapOvr>
    <a:masterClrMapping/>
  </p:clrMapOvr>
</p:sldLayout>
</file>

<file path=ppt/slideLayouts/slideLayout2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61" name="Google Shape;2461;g3681a448973_2_154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62" name="Google Shape;2462;g3681a448973_2_15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3" name="Google Shape;2463;g3681a448973_2_154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64" name="Google Shape;2464;g3681a448973_2_15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5" name="Google Shape;2465;g3681a448973_2_15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66" name="Google Shape;2466;g3681a448973_2_154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7" name="Google Shape;2467;g3681a448973_2_154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8" name="Google Shape;2468;g3681a448973_2_15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69" name="Google Shape;2469;g3681a448973_2_15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70" name="Google Shape;2470;g3681a448973_2_15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57187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2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2" name="Google Shape;2472;g3681a448973_2_154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3" name="Google Shape;2473;g3681a448973_2_154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474" name="Google Shape;2474;g3681a448973_2_154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75" name="Google Shape;2475;g3681a448973_2_154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6" name="Google Shape;2476;g3681a448973_2_154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77" name="Google Shape;2477;g3681a448973_2_154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8" name="Google Shape;2478;g3681a448973_2_154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9" name="Google Shape;2479;g3681a448973_2_154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80" name="Google Shape;2480;g3681a448973_2_154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81" name="Google Shape;2481;g3681a448973_2_154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2" name="Google Shape;2482;g3681a448973_2_154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2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84" name="Google Shape;2484;g3681a448973_2_1547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85" name="Google Shape;2485;g3681a448973_2_154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86" name="Google Shape;2486;g3681a448973_2_154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87" name="Google Shape;2487;g3681a448973_2_154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8" name="Google Shape;2488;g3681a448973_2_154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89" name="Google Shape;2489;g3681a448973_2_154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0" name="Google Shape;2490;g3681a448973_2_154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91" name="Google Shape;2491;g3681a448973_2_154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2" name="Google Shape;2492;g3681a448973_2_154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93" name="Google Shape;2493;g3681a448973_2_154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4" name="Google Shape;2494;g3681a448973_2_154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95" name="Google Shape;2495;g3681a448973_2_154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6" name="Google Shape;2496;g3681a448973_2_154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274639"/>
      </p:ext>
    </p:extLst>
  </p:cSld>
  <p:clrMapOvr>
    <a:masterClrMapping/>
  </p:clrMapOvr>
</p:sldLayout>
</file>

<file path=ppt/slideLayouts/slideLayout2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2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2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116935"/>
      </p:ext>
    </p:extLst>
  </p:cSld>
  <p:clrMapOvr>
    <a:masterClrMapping/>
  </p:clrMapOvr>
</p:sldLayout>
</file>

<file path=ppt/slideLayouts/slideLayout24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51929480"/>
      </p:ext>
    </p:extLst>
  </p:cSld>
  <p:clrMapOvr>
    <a:masterClrMapping/>
  </p:clrMapOvr>
</p:sldLayout>
</file>

<file path=ppt/slideLayouts/slideLayout24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90916"/>
      </p:ext>
    </p:extLst>
  </p:cSld>
  <p:clrMapOvr>
    <a:masterClrMapping/>
  </p:clrMapOvr>
</p:sldLayout>
</file>

<file path=ppt/slideLayouts/slideLayout2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338083"/>
      </p:ext>
    </p:extLst>
  </p:cSld>
  <p:clrMapOvr>
    <a:masterClrMapping/>
  </p:clrMapOvr>
</p:sldLayout>
</file>

<file path=ppt/slideLayouts/slideLayout24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980447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2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98" name="Google Shape;2498;g3681a448973_2_1548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99" name="Google Shape;2499;g3681a448973_2_154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0" name="Google Shape;2500;g3681a448973_2_154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01" name="Google Shape;2501;g3681a448973_2_154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2" name="Google Shape;2502;g3681a448973_2_154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03" name="Google Shape;2503;g3681a448973_2_154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4" name="Google Shape;2504;g3681a448973_2_154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5" name="Google Shape;2505;g3681a448973_2_154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6" name="Google Shape;2506;g3681a448973_2_154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456427"/>
      </p:ext>
    </p:extLst>
  </p:cSld>
  <p:clrMapOvr>
    <a:masterClrMapping/>
  </p:clrMapOvr>
</p:sldLayout>
</file>

<file path=ppt/slideLayouts/slideLayout2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446146"/>
      </p:ext>
    </p:extLst>
  </p:cSld>
  <p:clrMapOvr>
    <a:masterClrMapping/>
  </p:clrMapOvr>
</p:sldLayout>
</file>

<file path=ppt/slideLayouts/slideLayout24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91716836"/>
      </p:ext>
    </p:extLst>
  </p:cSld>
  <p:clrMapOvr>
    <a:masterClrMapping/>
  </p:clrMapOvr>
</p:sldLayout>
</file>

<file path=ppt/slideLayouts/slideLayout24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413653"/>
      </p:ext>
    </p:extLst>
  </p:cSld>
  <p:clrMapOvr>
    <a:masterClrMapping/>
  </p:clrMapOvr>
</p:sldLayout>
</file>

<file path=ppt/slideLayouts/slideLayout2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975115"/>
      </p:ext>
    </p:extLst>
  </p:cSld>
  <p:clrMapOvr>
    <a:masterClrMapping/>
  </p:clrMapOvr>
</p:sldLayout>
</file>

<file path=ppt/slideLayouts/slideLayout24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g3681a448973_2_1324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1" name="Google Shape;261;g3681a448973_2_1324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2" name="Google Shape;262;g3681a448973_2_1324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63" name="Google Shape;263;g3681a448973_2_132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g3681a448973_2_132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5" name="Google Shape;265;g3681a448973_2_132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6" name="Google Shape;266;g3681a448973_2_13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2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8" name="Google Shape;2508;g3681a448973_2_1549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09" name="Google Shape;2509;g3681a448973_2_1549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0" name="Google Shape;2510;g3681a448973_2_1549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11" name="Google Shape;2511;g3681a448973_2_1549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2" name="Google Shape;2512;g3681a448973_2_1549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3" name="Google Shape;2513;g3681a448973_2_1549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14" name="Google Shape;2514;g3681a448973_2_154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15" name="Google Shape;2515;g3681a448973_2_154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881733"/>
      </p:ext>
    </p:extLst>
  </p:cSld>
  <p:clrMapOvr>
    <a:masterClrMapping/>
  </p:clrMapOvr>
</p:sldLayout>
</file>

<file path=ppt/slideLayouts/slideLayout25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150733"/>
      </p:ext>
    </p:extLst>
  </p:cSld>
  <p:clrMapOvr>
    <a:masterClrMapping/>
  </p:clrMapOvr>
</p:sldLayout>
</file>

<file path=ppt/slideLayouts/slideLayout2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2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2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2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7" name="Google Shape;2517;g3681a448973_2_155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8" name="Google Shape;2518;g3681a448973_2_155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9" name="Google Shape;2519;g3681a448973_2_155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20" name="Google Shape;2520;g3681a448973_2_155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21" name="Google Shape;2521;g3681a448973_2_155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2" name="Google Shape;2522;g3681a448973_2_155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23" name="Google Shape;2523;g3681a448973_2_155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4" name="Google Shape;2524;g3681a448973_2_155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91999"/>
      </p:ext>
    </p:extLst>
  </p:cSld>
  <p:clrMapOvr>
    <a:masterClrMapping/>
  </p:clrMapOvr>
</p:sldLayout>
</file>

<file path=ppt/slideLayouts/slideLayout2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2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381025478"/>
      </p:ext>
    </p:extLst>
  </p:cSld>
  <p:clrMapOvr>
    <a:masterClrMapping/>
  </p:clrMapOvr>
</p:sldLayout>
</file>

<file path=ppt/slideLayouts/slideLayout2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2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01055165"/>
      </p:ext>
    </p:extLst>
  </p:cSld>
  <p:clrMapOvr>
    <a:masterClrMapping/>
  </p:clrMapOvr>
</p:sldLayout>
</file>

<file path=ppt/slideLayouts/slideLayout2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4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7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3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67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949947788"/>
      </p:ext>
    </p:extLst>
  </p:cSld>
  <p:clrMapOvr>
    <a:masterClrMapping/>
  </p:clrMapOvr>
</p:sldLayout>
</file>

<file path=ppt/slideLayouts/slideLayout2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96454672"/>
      </p:ext>
    </p:extLst>
  </p:cSld>
  <p:clrMapOvr>
    <a:masterClrMapping/>
  </p:clrMapOvr>
</p:sldLayout>
</file>

<file path=ppt/slideLayouts/slideLayout2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4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7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3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67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2064535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g3681a448973_2_15512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g3681a448973_2_1551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g3681a448973_2_1551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29" name="Google Shape;2529;g3681a448973_2_155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30" name="Google Shape;2530;g3681a448973_2_1551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31" name="Google Shape;2531;g3681a448973_2_155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2" name="Google Shape;2532;g3681a448973_2_1551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33" name="Google Shape;2533;g3681a448973_2_15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2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2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2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2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25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25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2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2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2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22860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2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5" name="Google Shape;2535;g3681a448973_2_1552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6" name="Google Shape;2536;g3681a448973_2_1552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7" name="Google Shape;2537;g3681a448973_2_1552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8" name="Google Shape;2538;g3681a448973_2_1552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539" name="Google Shape;2539;g3681a448973_2_155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4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7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3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67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988489753"/>
      </p:ext>
    </p:extLst>
  </p:cSld>
  <p:clrMapOvr>
    <a:masterClrMapping/>
  </p:clrMapOvr>
</p:sldLayout>
</file>

<file path=ppt/slideLayouts/slideLayout2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5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21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90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1"/>
            <a:ext cx="10189827" cy="2278211"/>
          </a:xfrm>
        </p:spPr>
        <p:txBody>
          <a:bodyPr anchor="b"/>
          <a:lstStyle>
            <a:lvl1pPr marL="0" indent="0">
              <a:defRPr sz="5335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6980595"/>
      </p:ext>
    </p:extLst>
  </p:cSld>
  <p:clrMapOvr>
    <a:masterClrMapping/>
  </p:clrMapOvr>
</p:sldLayout>
</file>

<file path=ppt/slideLayouts/slideLayout2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5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6" y="224842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6" y="917199"/>
            <a:ext cx="11715725" cy="4958671"/>
          </a:xfrm>
          <a:prstGeom prst="rect">
            <a:avLst/>
          </a:prstGeom>
        </p:spPr>
        <p:txBody>
          <a:bodyPr/>
          <a:lstStyle>
            <a:lvl1pPr marL="381000" indent="-381000">
              <a:buFont typeface="Wingdings" panose="05000000000000000000" pitchFamily="2" charset="2"/>
              <a:buChar char="§"/>
              <a:defRPr sz="1867" b="1"/>
            </a:lvl1pPr>
            <a:lvl2pPr marL="609601" indent="-296334">
              <a:buFont typeface="Arial" panose="020B0604020202020204" pitchFamily="34" charset="0"/>
              <a:buChar char="̶"/>
              <a:defRPr sz="1867"/>
            </a:lvl2pPr>
            <a:lvl3pPr marL="922868" indent="-313267">
              <a:buFont typeface="Arial" panose="020B0604020202020204" pitchFamily="34" charset="0"/>
              <a:buChar char="•"/>
              <a:defRPr sz="1867"/>
            </a:lvl3pPr>
            <a:lvl4pPr marL="1219200" indent="-296334">
              <a:buFont typeface="Wingdings" panose="05000000000000000000" pitchFamily="2" charset="2"/>
              <a:buChar char="ü"/>
              <a:defRPr sz="1867"/>
            </a:lvl4pPr>
            <a:lvl5pPr marL="1532467" indent="-31326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9" y="5969004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3" y="5969002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162919"/>
      </p:ext>
    </p:extLst>
  </p:cSld>
  <p:clrMapOvr>
    <a:masterClrMapping/>
  </p:clrMapOvr>
</p:sldLayout>
</file>

<file path=ppt/slideLayouts/slideLayout2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05962"/>
      </p:ext>
    </p:extLst>
  </p:cSld>
  <p:clrMapOvr>
    <a:masterClrMapping/>
  </p:clrMapOvr>
</p:sldLayout>
</file>

<file path=ppt/slideLayouts/slideLayout25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27402814"/>
      </p:ext>
    </p:extLst>
  </p:cSld>
  <p:clrMapOvr>
    <a:masterClrMapping/>
  </p:clrMapOvr>
</p:sldLayout>
</file>

<file path=ppt/slideLayouts/slideLayout25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397299"/>
      </p:ext>
    </p:extLst>
  </p:cSld>
  <p:clrMapOvr>
    <a:masterClrMapping/>
  </p:clrMapOvr>
</p:sldLayout>
</file>

<file path=ppt/slideLayouts/slideLayout2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4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7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3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67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2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5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6" y="224842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6" y="917199"/>
            <a:ext cx="11715725" cy="4958671"/>
          </a:xfrm>
          <a:prstGeom prst="rect">
            <a:avLst/>
          </a:prstGeom>
        </p:spPr>
        <p:txBody>
          <a:bodyPr/>
          <a:lstStyle>
            <a:lvl1pPr marL="381000" indent="-381000">
              <a:buFont typeface="Wingdings" panose="05000000000000000000" pitchFamily="2" charset="2"/>
              <a:buChar char="§"/>
              <a:defRPr sz="1867" b="1"/>
            </a:lvl1pPr>
            <a:lvl2pPr marL="609601" indent="-296334">
              <a:buFont typeface="Arial" panose="020B0604020202020204" pitchFamily="34" charset="0"/>
              <a:buChar char="̶"/>
              <a:defRPr sz="1867"/>
            </a:lvl2pPr>
            <a:lvl3pPr marL="922868" indent="-313267">
              <a:buFont typeface="Arial" panose="020B0604020202020204" pitchFamily="34" charset="0"/>
              <a:buChar char="•"/>
              <a:defRPr sz="1867"/>
            </a:lvl3pPr>
            <a:lvl4pPr marL="1219200" indent="-296334">
              <a:buFont typeface="Wingdings" panose="05000000000000000000" pitchFamily="2" charset="2"/>
              <a:buChar char="ü"/>
              <a:defRPr sz="1867"/>
            </a:lvl4pPr>
            <a:lvl5pPr marL="1532467" indent="-31326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9" y="5969004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3" y="5969002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25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2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11" indent="0">
              <a:buNone/>
              <a:defRPr sz="1200"/>
            </a:lvl2pPr>
            <a:lvl3pPr marL="914424" indent="0">
              <a:buNone/>
              <a:defRPr sz="1000"/>
            </a:lvl3pPr>
            <a:lvl4pPr marL="1371635" indent="0">
              <a:buNone/>
              <a:defRPr sz="900"/>
            </a:lvl4pPr>
            <a:lvl5pPr marL="1828845" indent="0">
              <a:buNone/>
              <a:defRPr sz="900"/>
            </a:lvl5pPr>
            <a:lvl6pPr marL="2286058" indent="0">
              <a:buNone/>
              <a:defRPr sz="900"/>
            </a:lvl6pPr>
            <a:lvl7pPr marL="2743269" indent="0">
              <a:buNone/>
              <a:defRPr sz="900"/>
            </a:lvl7pPr>
            <a:lvl8pPr marL="3200480" indent="0">
              <a:buNone/>
              <a:defRPr sz="900"/>
            </a:lvl8pPr>
            <a:lvl9pPr marL="365769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2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1" name="Google Shape;2541;g3681a448973_2_1552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542" name="Google Shape;2542;g3681a448973_2_155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543" name="Google Shape;2543;g3681a448973_2_1552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4" name="Google Shape;2544;g3681a448973_2_155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5" name="Google Shape;2545;g3681a448973_2_155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91300059"/>
      </p:ext>
    </p:extLst>
  </p:cSld>
  <p:clrMapOvr>
    <a:masterClrMapping/>
  </p:clrMapOvr>
</p:sldLayout>
</file>

<file path=ppt/slideLayouts/slideLayout2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2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22860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2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22860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2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2" y="753070"/>
            <a:ext cx="10177757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6" y="1615019"/>
            <a:ext cx="10176933" cy="3812116"/>
          </a:xfrm>
          <a:prstGeom prst="rect">
            <a:avLst/>
          </a:prstGeom>
        </p:spPr>
        <p:txBody>
          <a:bodyPr/>
          <a:lstStyle>
            <a:lvl1pPr marL="381000" indent="-38100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0287"/>
      </p:ext>
    </p:extLst>
  </p:cSld>
  <p:clrMapOvr>
    <a:masterClrMapping/>
  </p:clrMapOvr>
</p:sldLayout>
</file>

<file path=ppt/slideLayouts/slideLayout25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76081"/>
            <a:ext cx="10156179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1" y="1637855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8946972"/>
      </p:ext>
    </p:extLst>
  </p:cSld>
  <p:clrMapOvr>
    <a:masterClrMapping/>
  </p:clrMapOvr>
</p:sldLayout>
</file>

<file path=ppt/slideLayouts/slideLayout25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9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7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4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7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7" y="1123751"/>
            <a:ext cx="5466561" cy="86177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62560"/>
      </p:ext>
    </p:extLst>
  </p:cSld>
  <p:clrMapOvr>
    <a:masterClrMapping/>
  </p:clrMapOvr>
</p:sldLayout>
</file>

<file path=ppt/slideLayouts/slideLayout2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11" lvl="0" indent="-22860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24" lvl="1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35" lvl="2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45" lvl="3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58" lvl="4" indent="-342909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69" lvl="5" indent="-34290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80" lvl="6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91" lvl="7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904" lvl="8" indent="-34290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2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6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3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8272717"/>
      </p:ext>
    </p:extLst>
  </p:cSld>
  <p:clrMapOvr>
    <a:masterClrMapping/>
  </p:clrMapOvr>
</p:sldLayout>
</file>

<file path=ppt/slideLayouts/slideLayout2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2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7" name="Google Shape;2547;g3681a448973_2_1553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8" name="Google Shape;2548;g3681a448973_2_1553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9" name="Google Shape;2549;g3681a448973_2_155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0" name="Google Shape;2550;g3681a448973_2_155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1" name="Google Shape;2551;g3681a448973_2_155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52" name="Google Shape;2552;g3681a448973_2_15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2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2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2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2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2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897484565"/>
      </p:ext>
    </p:extLst>
  </p:cSld>
  <p:clrMapOvr>
    <a:masterClrMapping/>
  </p:clrMapOvr>
</p:sldLayout>
</file>

<file path=ppt/slideLayouts/slideLayout25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25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2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2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2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4" name="Google Shape;2554;g3681a448973_2_15540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5" name="Google Shape;2555;g3681a448973_2_1554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6" name="Google Shape;2556;g3681a448973_2_1554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7" name="Google Shape;2557;g3681a448973_2_1554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8" name="Google Shape;2558;g3681a448973_2_155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559" name="Google Shape;2559;g3681a448973_2_1554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2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2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7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5191162"/>
      </p:ext>
    </p:extLst>
  </p:cSld>
  <p:clrMapOvr>
    <a:masterClrMapping/>
  </p:clrMapOvr>
</p:sldLayout>
</file>

<file path=ppt/slideLayouts/slideLayout2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2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2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2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2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0264799"/>
      </p:ext>
    </p:extLst>
  </p:cSld>
  <p:clrMapOvr>
    <a:masterClrMapping/>
  </p:clrMapOvr>
</p:sldLayout>
</file>

<file path=ppt/slideLayouts/slideLayout2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4180821"/>
      </p:ext>
    </p:extLst>
  </p:cSld>
  <p:clrMapOvr>
    <a:masterClrMapping/>
  </p:clrMapOvr>
</p:sldLayout>
</file>

<file path=ppt/slideLayouts/slideLayout2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36599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1" name="Google Shape;2561;g3681a448973_2_15547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2" name="Google Shape;2562;g3681a448973_2_15547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563" name="Google Shape;2563;g3681a448973_2_155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64" name="Google Shape;2564;g3681a448973_2_15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5" name="Google Shape;2565;g3681a448973_2_15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2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2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3" y="1561333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3" y="376686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2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2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2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2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2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25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25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7" name="Google Shape;2567;g3681a448973_2_15553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8" name="Google Shape;2568;g3681a448973_2_15553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569" name="Google Shape;2569;g3681a448973_2_15553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570" name="Google Shape;2570;g3681a448973_2_1555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71" name="Google Shape;2571;g3681a448973_2_155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2" name="Google Shape;2572;g3681a448973_2_155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5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8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25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25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2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196093"/>
      </p:ext>
    </p:extLst>
  </p:cSld>
  <p:clrMapOvr>
    <a:masterClrMapping/>
  </p:clrMapOvr>
</p:sldLayout>
</file>

<file path=ppt/slideLayouts/slideLayout2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11" indent="0" algn="ctr">
              <a:buNone/>
              <a:defRPr sz="2000"/>
            </a:lvl2pPr>
            <a:lvl3pPr marL="914424" indent="0" algn="ctr">
              <a:buNone/>
              <a:defRPr sz="1800"/>
            </a:lvl3pPr>
            <a:lvl4pPr marL="1371635" indent="0" algn="ctr">
              <a:buNone/>
              <a:defRPr sz="1600"/>
            </a:lvl4pPr>
            <a:lvl5pPr marL="1828845" indent="0" algn="ctr">
              <a:buNone/>
              <a:defRPr sz="1600"/>
            </a:lvl5pPr>
            <a:lvl6pPr marL="2286058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127139"/>
      </p:ext>
    </p:extLst>
  </p:cSld>
  <p:clrMapOvr>
    <a:masterClrMapping/>
  </p:clrMapOvr>
</p:sldLayout>
</file>

<file path=ppt/slideLayouts/slideLayout25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2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2971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9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4" name="Google Shape;2574;g3681a448973_2_15560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5" name="Google Shape;2575;g3681a448973_2_15560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76" name="Google Shape;2576;g3681a448973_2_1556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7" name="Google Shape;2577;g3681a448973_2_15560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78" name="Google Shape;2578;g3681a448973_2_1556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g3681a448973_2_1556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80" name="Google Shape;2580;g3681a448973_2_15560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1" name="Google Shape;2581;g3681a448973_2_1556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582" name="Google Shape;2582;g3681a448973_2_15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837559699"/>
      </p:ext>
    </p:extLst>
  </p:cSld>
  <p:clrMapOvr>
    <a:masterClrMapping/>
  </p:clrMapOvr>
</p:sldLayout>
</file>

<file path=ppt/slideLayouts/slideLayout2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5761912"/>
      </p:ext>
    </p:extLst>
  </p:cSld>
  <p:clrMapOvr>
    <a:masterClrMapping/>
  </p:clrMapOvr>
</p:sldLayout>
</file>

<file path=ppt/slideLayouts/slideLayout2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633923"/>
      </p:ext>
    </p:extLst>
  </p:cSld>
  <p:clrMapOvr>
    <a:masterClrMapping/>
  </p:clrMapOvr>
</p:sldLayout>
</file>

<file path=ppt/slideLayouts/slideLayout2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90839"/>
      </p:ext>
    </p:extLst>
  </p:cSld>
  <p:clrMapOvr>
    <a:masterClrMapping/>
  </p:clrMapOvr>
</p:sldLayout>
</file>

<file path=ppt/slideLayouts/slideLayout2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92031464"/>
      </p:ext>
    </p:extLst>
  </p:cSld>
  <p:clrMapOvr>
    <a:masterClrMapping/>
  </p:clrMapOvr>
</p:sldLayout>
</file>

<file path=ppt/slideLayouts/slideLayout2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2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5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g3681a448973_2_1325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g3681a448973_2_1325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g3681a448973_2_132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g3681a448973_2_1325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2" name="Google Shape;272;g3681a448973_2_132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3" name="Google Shape;273;g3681a448973_2_132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" name="Google Shape;274;g3681a448973_2_1325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75" name="Google Shape;275;g3681a448973_2_132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" name="Google Shape;276;g3681a448973_2_132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7" name="Google Shape;277;g3681a448973_2_132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278;g3681a448973_2_132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9" name="Google Shape;279;g3681a448973_2_132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2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84" name="Google Shape;2584;g3681a448973_2_1557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85" name="Google Shape;2585;g3681a448973_2_15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6" name="Google Shape;2586;g3681a448973_2_155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87" name="Google Shape;2587;g3681a448973_2_15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8" name="Google Shape;2588;g3681a448973_2_15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89" name="Google Shape;2589;g3681a448973_2_155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0" name="Google Shape;2590;g3681a448973_2_155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1" name="Google Shape;2591;g3681a448973_2_155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2" name="Google Shape;2592;g3681a448973_2_15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3" name="Google Shape;2593;g3681a448973_2_15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6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072017092"/>
      </p:ext>
    </p:extLst>
  </p:cSld>
  <p:clrMapOvr>
    <a:masterClrMapping/>
  </p:clrMapOvr>
</p:sldLayout>
</file>

<file path=ppt/slideLayouts/slideLayout2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5"/>
            <a:ext cx="938787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3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6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9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30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2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2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7"/>
            <a:ext cx="1312781" cy="56227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32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2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5" name="Google Shape;2595;g3681a448973_2_1558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96" name="Google Shape;2596;g3681a448973_2_1558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97" name="Google Shape;2597;g3681a448973_2_1558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98" name="Google Shape;2598;g3681a448973_2_1558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9" name="Google Shape;2599;g3681a448973_2_1558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00" name="Google Shape;2600;g3681a448973_2_1558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01" name="Google Shape;2601;g3681a448973_2_155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2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2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2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7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4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7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1"/>
            <a:ext cx="1606135" cy="2292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2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oogle Shape;90;p4"/>
          <p:cNvPicPr preferRelativeResize="0"/>
          <p:nvPr/>
        </p:nvPicPr>
        <p:blipFill>
          <a:blip r:embed="rId2" cstate="email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91;p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274968" flipH="1">
            <a:off x="-3041918" y="-1666733"/>
            <a:ext cx="6541100" cy="41587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2" name="Google Shape;92;p4"/>
          <p:cNvGrpSpPr/>
          <p:nvPr/>
        </p:nvGrpSpPr>
        <p:grpSpPr>
          <a:xfrm>
            <a:off x="368833" y="327135"/>
            <a:ext cx="11620267" cy="6395284"/>
            <a:chOff x="276625" y="245350"/>
            <a:chExt cx="8715200" cy="4796463"/>
          </a:xfrm>
        </p:grpSpPr>
        <p:grpSp>
          <p:nvGrpSpPr>
            <p:cNvPr id="93" name="Google Shape;93;p4"/>
            <p:cNvGrpSpPr/>
            <p:nvPr/>
          </p:nvGrpSpPr>
          <p:grpSpPr>
            <a:xfrm>
              <a:off x="276625" y="4598563"/>
              <a:ext cx="215150" cy="127925"/>
              <a:chOff x="2704925" y="411725"/>
              <a:chExt cx="215150" cy="127925"/>
            </a:xfrm>
          </p:grpSpPr>
          <p:sp>
            <p:nvSpPr>
              <p:cNvPr id="94" name="Google Shape;94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5" name="Google Shape;95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6" name="Google Shape;96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97" name="Google Shape;97;p4"/>
            <p:cNvGrpSpPr/>
            <p:nvPr/>
          </p:nvGrpSpPr>
          <p:grpSpPr>
            <a:xfrm>
              <a:off x="7131075" y="245350"/>
              <a:ext cx="215150" cy="127925"/>
              <a:chOff x="2704925" y="411725"/>
              <a:chExt cx="215150" cy="127925"/>
            </a:xfrm>
          </p:grpSpPr>
          <p:sp>
            <p:nvSpPr>
              <p:cNvPr id="98" name="Google Shape;98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9" name="Google Shape;99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0" name="Google Shape;100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1" name="Google Shape;101;p4"/>
            <p:cNvGrpSpPr/>
            <p:nvPr/>
          </p:nvGrpSpPr>
          <p:grpSpPr>
            <a:xfrm>
              <a:off x="4784050" y="4783138"/>
              <a:ext cx="313075" cy="258675"/>
              <a:chOff x="8623100" y="2827300"/>
              <a:chExt cx="313075" cy="258675"/>
            </a:xfrm>
          </p:grpSpPr>
          <p:sp>
            <p:nvSpPr>
              <p:cNvPr id="102" name="Google Shape;102;p4"/>
              <p:cNvSpPr/>
              <p:nvPr/>
            </p:nvSpPr>
            <p:spPr>
              <a:xfrm>
                <a:off x="8791675" y="30481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3" name="Google Shape;103;p4"/>
              <p:cNvSpPr/>
              <p:nvPr/>
            </p:nvSpPr>
            <p:spPr>
              <a:xfrm>
                <a:off x="8721025" y="29580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4" name="Google Shape;104;p4"/>
              <p:cNvSpPr/>
              <p:nvPr/>
            </p:nvSpPr>
            <p:spPr>
              <a:xfrm>
                <a:off x="8876175" y="29868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5" name="Google Shape;105;p4"/>
              <p:cNvSpPr/>
              <p:nvPr/>
            </p:nvSpPr>
            <p:spPr>
              <a:xfrm>
                <a:off x="8722650" y="282730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6" name="Google Shape;106;p4"/>
              <p:cNvSpPr/>
              <p:nvPr/>
            </p:nvSpPr>
            <p:spPr>
              <a:xfrm>
                <a:off x="8623100" y="30144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7" name="Google Shape;107;p4"/>
            <p:cNvGrpSpPr/>
            <p:nvPr/>
          </p:nvGrpSpPr>
          <p:grpSpPr>
            <a:xfrm>
              <a:off x="8652425" y="3037225"/>
              <a:ext cx="339400" cy="241250"/>
              <a:chOff x="6339775" y="4248825"/>
              <a:chExt cx="339400" cy="241250"/>
            </a:xfrm>
          </p:grpSpPr>
          <p:sp>
            <p:nvSpPr>
              <p:cNvPr id="108" name="Google Shape;108;p4"/>
              <p:cNvSpPr/>
              <p:nvPr/>
            </p:nvSpPr>
            <p:spPr>
              <a:xfrm>
                <a:off x="6410425" y="44522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9" name="Google Shape;109;p4"/>
              <p:cNvSpPr/>
              <p:nvPr/>
            </p:nvSpPr>
            <p:spPr>
              <a:xfrm>
                <a:off x="6339775" y="43621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0" name="Google Shape;110;p4"/>
              <p:cNvSpPr/>
              <p:nvPr/>
            </p:nvSpPr>
            <p:spPr>
              <a:xfrm>
                <a:off x="6494925" y="43909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1" name="Google Shape;111;p4"/>
              <p:cNvSpPr/>
              <p:nvPr/>
            </p:nvSpPr>
            <p:spPr>
              <a:xfrm>
                <a:off x="6582975" y="42866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2" name="Google Shape;112;p4"/>
              <p:cNvSpPr/>
              <p:nvPr/>
            </p:nvSpPr>
            <p:spPr>
              <a:xfrm>
                <a:off x="6619175" y="44323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3" name="Google Shape;113;p4"/>
              <p:cNvSpPr/>
              <p:nvPr/>
            </p:nvSpPr>
            <p:spPr>
              <a:xfrm>
                <a:off x="6427675" y="42488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</p:grpSp>
      <p:grpSp>
        <p:nvGrpSpPr>
          <p:cNvPr id="114" name="Google Shape;114;p4"/>
          <p:cNvGrpSpPr/>
          <p:nvPr/>
        </p:nvGrpSpPr>
        <p:grpSpPr>
          <a:xfrm>
            <a:off x="4049568" y="-94061"/>
            <a:ext cx="901400" cy="890799"/>
            <a:chOff x="149651" y="1139903"/>
            <a:chExt cx="676050" cy="668099"/>
          </a:xfrm>
        </p:grpSpPr>
        <p:sp>
          <p:nvSpPr>
            <p:cNvPr id="115" name="Google Shape;115;p4"/>
            <p:cNvSpPr/>
            <p:nvPr/>
          </p:nvSpPr>
          <p:spPr>
            <a:xfrm rot="-887204">
              <a:off x="264777" y="1281516"/>
              <a:ext cx="379873" cy="384866"/>
            </a:xfrm>
            <a:custGeom>
              <a:avLst/>
              <a:gdLst/>
              <a:ahLst/>
              <a:cxnLst/>
              <a:rect l="l" t="t" r="r" b="b"/>
              <a:pathLst>
                <a:path w="5783" h="5859" extrusionOk="0">
                  <a:moveTo>
                    <a:pt x="5764" y="3981"/>
                  </a:moveTo>
                  <a:lnTo>
                    <a:pt x="5764" y="3981"/>
                  </a:lnTo>
                  <a:cubicBezTo>
                    <a:pt x="5633" y="3531"/>
                    <a:pt x="5333" y="3123"/>
                    <a:pt x="4892" y="2873"/>
                  </a:cubicBezTo>
                  <a:cubicBezTo>
                    <a:pt x="4756" y="2795"/>
                    <a:pt x="4615" y="2737"/>
                    <a:pt x="4475" y="2693"/>
                  </a:cubicBezTo>
                  <a:cubicBezTo>
                    <a:pt x="4605" y="2625"/>
                    <a:pt x="4727" y="2538"/>
                    <a:pt x="4843" y="2431"/>
                  </a:cubicBezTo>
                  <a:cubicBezTo>
                    <a:pt x="5221" y="2092"/>
                    <a:pt x="5430" y="1631"/>
                    <a:pt x="5464" y="1161"/>
                  </a:cubicBezTo>
                  <a:cubicBezTo>
                    <a:pt x="5483" y="880"/>
                    <a:pt x="5260" y="633"/>
                    <a:pt x="4974" y="623"/>
                  </a:cubicBezTo>
                  <a:cubicBezTo>
                    <a:pt x="4503" y="608"/>
                    <a:pt x="4024" y="769"/>
                    <a:pt x="3646" y="1108"/>
                  </a:cubicBezTo>
                  <a:cubicBezTo>
                    <a:pt x="3534" y="1214"/>
                    <a:pt x="3432" y="1326"/>
                    <a:pt x="3350" y="1452"/>
                  </a:cubicBezTo>
                  <a:cubicBezTo>
                    <a:pt x="3321" y="1307"/>
                    <a:pt x="3277" y="1161"/>
                    <a:pt x="3214" y="1016"/>
                  </a:cubicBezTo>
                  <a:cubicBezTo>
                    <a:pt x="3006" y="555"/>
                    <a:pt x="2632" y="216"/>
                    <a:pt x="2196" y="37"/>
                  </a:cubicBezTo>
                  <a:cubicBezTo>
                    <a:pt x="1934" y="-70"/>
                    <a:pt x="1628" y="66"/>
                    <a:pt x="1532" y="332"/>
                  </a:cubicBezTo>
                  <a:cubicBezTo>
                    <a:pt x="1371" y="778"/>
                    <a:pt x="1377" y="1282"/>
                    <a:pt x="1585" y="1748"/>
                  </a:cubicBezTo>
                  <a:cubicBezTo>
                    <a:pt x="1648" y="1888"/>
                    <a:pt x="1726" y="2019"/>
                    <a:pt x="1818" y="2135"/>
                  </a:cubicBezTo>
                  <a:cubicBezTo>
                    <a:pt x="1672" y="2116"/>
                    <a:pt x="1517" y="2111"/>
                    <a:pt x="1362" y="2131"/>
                  </a:cubicBezTo>
                  <a:cubicBezTo>
                    <a:pt x="858" y="2184"/>
                    <a:pt x="422" y="2431"/>
                    <a:pt x="116" y="2795"/>
                  </a:cubicBezTo>
                  <a:cubicBezTo>
                    <a:pt x="4" y="2930"/>
                    <a:pt x="-25" y="3104"/>
                    <a:pt x="19" y="3259"/>
                  </a:cubicBezTo>
                  <a:cubicBezTo>
                    <a:pt x="33" y="3313"/>
                    <a:pt x="58" y="3356"/>
                    <a:pt x="87" y="3405"/>
                  </a:cubicBezTo>
                  <a:cubicBezTo>
                    <a:pt x="116" y="3444"/>
                    <a:pt x="150" y="3482"/>
                    <a:pt x="193" y="3516"/>
                  </a:cubicBezTo>
                  <a:cubicBezTo>
                    <a:pt x="567" y="3807"/>
                    <a:pt x="1047" y="3957"/>
                    <a:pt x="1556" y="3904"/>
                  </a:cubicBezTo>
                  <a:cubicBezTo>
                    <a:pt x="1706" y="3889"/>
                    <a:pt x="1856" y="3851"/>
                    <a:pt x="1997" y="3802"/>
                  </a:cubicBezTo>
                  <a:cubicBezTo>
                    <a:pt x="1929" y="3938"/>
                    <a:pt x="1881" y="4079"/>
                    <a:pt x="1851" y="4234"/>
                  </a:cubicBezTo>
                  <a:cubicBezTo>
                    <a:pt x="1745" y="4728"/>
                    <a:pt x="1847" y="5223"/>
                    <a:pt x="2099" y="5625"/>
                  </a:cubicBezTo>
                  <a:cubicBezTo>
                    <a:pt x="2249" y="5863"/>
                    <a:pt x="2574" y="5931"/>
                    <a:pt x="2812" y="5775"/>
                  </a:cubicBezTo>
                  <a:cubicBezTo>
                    <a:pt x="3199" y="5508"/>
                    <a:pt x="3490" y="5097"/>
                    <a:pt x="3597" y="4602"/>
                  </a:cubicBezTo>
                  <a:cubicBezTo>
                    <a:pt x="3631" y="4447"/>
                    <a:pt x="3641" y="4297"/>
                    <a:pt x="3636" y="4146"/>
                  </a:cubicBezTo>
                  <a:cubicBezTo>
                    <a:pt x="3742" y="4253"/>
                    <a:pt x="3869" y="4340"/>
                    <a:pt x="3999" y="4418"/>
                  </a:cubicBezTo>
                  <a:cubicBezTo>
                    <a:pt x="4441" y="4675"/>
                    <a:pt x="4945" y="4728"/>
                    <a:pt x="5400" y="4617"/>
                  </a:cubicBezTo>
                  <a:cubicBezTo>
                    <a:pt x="5677" y="4544"/>
                    <a:pt x="5842" y="4258"/>
                    <a:pt x="5764" y="3981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" name="Google Shape;116;p4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3521815">
              <a:off x="249041" y="1223448"/>
              <a:ext cx="477268" cy="50100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7" name="Google Shape;117;p4"/>
          <p:cNvGrpSpPr/>
          <p:nvPr/>
        </p:nvGrpSpPr>
        <p:grpSpPr>
          <a:xfrm>
            <a:off x="10538672" y="-648101"/>
            <a:ext cx="1450429" cy="1998903"/>
            <a:chOff x="7904004" y="-486077"/>
            <a:chExt cx="1087822" cy="1499177"/>
          </a:xfrm>
        </p:grpSpPr>
        <p:sp>
          <p:nvSpPr>
            <p:cNvPr id="118" name="Google Shape;118;p4"/>
            <p:cNvSpPr/>
            <p:nvPr/>
          </p:nvSpPr>
          <p:spPr>
            <a:xfrm rot="-5400000">
              <a:off x="7721092" y="-264460"/>
              <a:ext cx="1409172" cy="1043348"/>
            </a:xfrm>
            <a:custGeom>
              <a:avLst/>
              <a:gdLst/>
              <a:ahLst/>
              <a:cxnLst/>
              <a:rect l="l" t="t" r="r" b="b"/>
              <a:pathLst>
                <a:path w="5077" h="3759" extrusionOk="0">
                  <a:moveTo>
                    <a:pt x="4805" y="0"/>
                  </a:moveTo>
                  <a:lnTo>
                    <a:pt x="4805" y="0"/>
                  </a:lnTo>
                  <a:cubicBezTo>
                    <a:pt x="4334" y="241"/>
                    <a:pt x="4334" y="241"/>
                    <a:pt x="4334" y="241"/>
                  </a:cubicBezTo>
                  <a:lnTo>
                    <a:pt x="4334" y="241"/>
                  </a:lnTo>
                  <a:cubicBezTo>
                    <a:pt x="471" y="2199"/>
                    <a:pt x="471" y="2199"/>
                    <a:pt x="471" y="2199"/>
                  </a:cubicBezTo>
                  <a:lnTo>
                    <a:pt x="471" y="2199"/>
                  </a:lnTo>
                  <a:cubicBezTo>
                    <a:pt x="0" y="2434"/>
                    <a:pt x="0" y="2434"/>
                    <a:pt x="0" y="2434"/>
                  </a:cubicBezTo>
                  <a:cubicBezTo>
                    <a:pt x="256" y="2936"/>
                    <a:pt x="629" y="3299"/>
                    <a:pt x="1070" y="3514"/>
                  </a:cubicBezTo>
                  <a:cubicBezTo>
                    <a:pt x="1402" y="3678"/>
                    <a:pt x="1776" y="3759"/>
                    <a:pt x="2154" y="3759"/>
                  </a:cubicBezTo>
                  <a:cubicBezTo>
                    <a:pt x="2605" y="3759"/>
                    <a:pt x="3075" y="3642"/>
                    <a:pt x="3521" y="3417"/>
                  </a:cubicBezTo>
                  <a:cubicBezTo>
                    <a:pt x="4846" y="2747"/>
                    <a:pt x="5480" y="1325"/>
                    <a:pt x="4805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1" strike="noStrike">
                <a:solidFill>
                  <a:srgbClr val="000000"/>
                </a:solidFill>
              </a:endParaRPr>
            </a:p>
          </p:txBody>
        </p:sp>
        <p:pic>
          <p:nvPicPr>
            <p:cNvPr id="119" name="Google Shape;119;p4"/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-5400000">
              <a:off x="7705600" y="-273126"/>
              <a:ext cx="1499177" cy="10732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0" name="Google Shape;120;p4"/>
          <p:cNvGrpSpPr/>
          <p:nvPr/>
        </p:nvGrpSpPr>
        <p:grpSpPr>
          <a:xfrm rot="1941255">
            <a:off x="10978763" y="4947679"/>
            <a:ext cx="2593888" cy="2588960"/>
            <a:chOff x="8318302" y="1011963"/>
            <a:chExt cx="1708672" cy="1705426"/>
          </a:xfrm>
        </p:grpSpPr>
        <p:sp>
          <p:nvSpPr>
            <p:cNvPr id="121" name="Google Shape;121;p4"/>
            <p:cNvSpPr/>
            <p:nvPr/>
          </p:nvSpPr>
          <p:spPr>
            <a:xfrm>
              <a:off x="8617366" y="1337350"/>
              <a:ext cx="1059475" cy="1058821"/>
            </a:xfrm>
            <a:custGeom>
              <a:avLst/>
              <a:gdLst/>
              <a:ahLst/>
              <a:cxnLst/>
              <a:rect l="l" t="t" r="r" b="b"/>
              <a:pathLst>
                <a:path w="4954" h="4951" extrusionOk="0">
                  <a:moveTo>
                    <a:pt x="1437" y="1995"/>
                  </a:moveTo>
                  <a:lnTo>
                    <a:pt x="1437" y="1995"/>
                  </a:lnTo>
                  <a:cubicBezTo>
                    <a:pt x="1493" y="1872"/>
                    <a:pt x="1575" y="1754"/>
                    <a:pt x="1682" y="1652"/>
                  </a:cubicBezTo>
                  <a:lnTo>
                    <a:pt x="1682" y="1652"/>
                  </a:lnTo>
                  <a:cubicBezTo>
                    <a:pt x="1688" y="1647"/>
                    <a:pt x="1693" y="1637"/>
                    <a:pt x="1703" y="1632"/>
                  </a:cubicBezTo>
                  <a:cubicBezTo>
                    <a:pt x="1703" y="1627"/>
                    <a:pt x="1703" y="1627"/>
                    <a:pt x="1703" y="1627"/>
                  </a:cubicBezTo>
                  <a:cubicBezTo>
                    <a:pt x="1713" y="1621"/>
                    <a:pt x="1718" y="1616"/>
                    <a:pt x="1724" y="1611"/>
                  </a:cubicBezTo>
                  <a:cubicBezTo>
                    <a:pt x="1729" y="1606"/>
                    <a:pt x="1729" y="1606"/>
                    <a:pt x="1729" y="1606"/>
                  </a:cubicBezTo>
                  <a:lnTo>
                    <a:pt x="1729" y="1606"/>
                  </a:lnTo>
                  <a:cubicBezTo>
                    <a:pt x="1739" y="1601"/>
                    <a:pt x="1744" y="1596"/>
                    <a:pt x="1749" y="1591"/>
                  </a:cubicBezTo>
                  <a:cubicBezTo>
                    <a:pt x="1754" y="1585"/>
                    <a:pt x="1754" y="1585"/>
                    <a:pt x="1754" y="1585"/>
                  </a:cubicBezTo>
                  <a:cubicBezTo>
                    <a:pt x="1764" y="1581"/>
                    <a:pt x="1769" y="1575"/>
                    <a:pt x="1775" y="1570"/>
                  </a:cubicBezTo>
                  <a:lnTo>
                    <a:pt x="1775" y="1570"/>
                  </a:lnTo>
                  <a:cubicBezTo>
                    <a:pt x="1892" y="1478"/>
                    <a:pt x="2020" y="1417"/>
                    <a:pt x="2154" y="1376"/>
                  </a:cubicBezTo>
                  <a:lnTo>
                    <a:pt x="2154" y="1376"/>
                  </a:lnTo>
                  <a:cubicBezTo>
                    <a:pt x="2158" y="1376"/>
                    <a:pt x="2169" y="1371"/>
                    <a:pt x="2174" y="1371"/>
                  </a:cubicBezTo>
                  <a:cubicBezTo>
                    <a:pt x="2179" y="1371"/>
                    <a:pt x="2179" y="1371"/>
                    <a:pt x="2179" y="1371"/>
                  </a:cubicBezTo>
                  <a:cubicBezTo>
                    <a:pt x="2276" y="1345"/>
                    <a:pt x="2379" y="1330"/>
                    <a:pt x="2476" y="1330"/>
                  </a:cubicBezTo>
                  <a:cubicBezTo>
                    <a:pt x="2681" y="1330"/>
                    <a:pt x="2885" y="1386"/>
                    <a:pt x="3064" y="1494"/>
                  </a:cubicBezTo>
                  <a:lnTo>
                    <a:pt x="3064" y="1494"/>
                  </a:lnTo>
                  <a:cubicBezTo>
                    <a:pt x="3151" y="1545"/>
                    <a:pt x="3238" y="1611"/>
                    <a:pt x="3310" y="1688"/>
                  </a:cubicBezTo>
                  <a:cubicBezTo>
                    <a:pt x="3315" y="1693"/>
                    <a:pt x="3315" y="1693"/>
                    <a:pt x="3315" y="1693"/>
                  </a:cubicBezTo>
                  <a:cubicBezTo>
                    <a:pt x="3325" y="1703"/>
                    <a:pt x="3335" y="1714"/>
                    <a:pt x="3346" y="1724"/>
                  </a:cubicBezTo>
                  <a:lnTo>
                    <a:pt x="3346" y="1724"/>
                  </a:lnTo>
                  <a:cubicBezTo>
                    <a:pt x="3346" y="1729"/>
                    <a:pt x="3346" y="1729"/>
                    <a:pt x="3346" y="1729"/>
                  </a:cubicBezTo>
                  <a:cubicBezTo>
                    <a:pt x="3351" y="1734"/>
                    <a:pt x="3356" y="1744"/>
                    <a:pt x="3366" y="1750"/>
                  </a:cubicBezTo>
                  <a:cubicBezTo>
                    <a:pt x="3366" y="1754"/>
                    <a:pt x="3366" y="1754"/>
                    <a:pt x="3371" y="1759"/>
                  </a:cubicBezTo>
                  <a:cubicBezTo>
                    <a:pt x="3376" y="1765"/>
                    <a:pt x="3382" y="1770"/>
                    <a:pt x="3386" y="1780"/>
                  </a:cubicBezTo>
                  <a:cubicBezTo>
                    <a:pt x="3392" y="1785"/>
                    <a:pt x="3392" y="1785"/>
                    <a:pt x="3392" y="1785"/>
                  </a:cubicBezTo>
                  <a:cubicBezTo>
                    <a:pt x="3397" y="1790"/>
                    <a:pt x="3402" y="1801"/>
                    <a:pt x="3407" y="1806"/>
                  </a:cubicBezTo>
                  <a:lnTo>
                    <a:pt x="3407" y="1806"/>
                  </a:lnTo>
                  <a:cubicBezTo>
                    <a:pt x="3494" y="1928"/>
                    <a:pt x="3555" y="2061"/>
                    <a:pt x="3586" y="2199"/>
                  </a:cubicBezTo>
                  <a:cubicBezTo>
                    <a:pt x="3591" y="2199"/>
                    <a:pt x="3591" y="2199"/>
                    <a:pt x="3591" y="2199"/>
                  </a:cubicBezTo>
                  <a:cubicBezTo>
                    <a:pt x="3653" y="2450"/>
                    <a:pt x="3627" y="2716"/>
                    <a:pt x="3520" y="2951"/>
                  </a:cubicBezTo>
                  <a:cubicBezTo>
                    <a:pt x="3515" y="2961"/>
                    <a:pt x="3509" y="2971"/>
                    <a:pt x="3504" y="2981"/>
                  </a:cubicBezTo>
                  <a:lnTo>
                    <a:pt x="3504" y="2981"/>
                  </a:lnTo>
                  <a:cubicBezTo>
                    <a:pt x="3499" y="2992"/>
                    <a:pt x="3494" y="3007"/>
                    <a:pt x="3484" y="3017"/>
                  </a:cubicBezTo>
                  <a:lnTo>
                    <a:pt x="3484" y="3017"/>
                  </a:lnTo>
                  <a:cubicBezTo>
                    <a:pt x="3427" y="3125"/>
                    <a:pt x="3356" y="3222"/>
                    <a:pt x="3264" y="3303"/>
                  </a:cubicBezTo>
                  <a:lnTo>
                    <a:pt x="3264" y="3303"/>
                  </a:lnTo>
                  <a:cubicBezTo>
                    <a:pt x="3259" y="3314"/>
                    <a:pt x="3253" y="3319"/>
                    <a:pt x="3248" y="3324"/>
                  </a:cubicBezTo>
                  <a:cubicBezTo>
                    <a:pt x="3238" y="3329"/>
                    <a:pt x="3233" y="3334"/>
                    <a:pt x="3228" y="3339"/>
                  </a:cubicBezTo>
                  <a:lnTo>
                    <a:pt x="3228" y="3339"/>
                  </a:lnTo>
                  <a:cubicBezTo>
                    <a:pt x="3223" y="3345"/>
                    <a:pt x="3223" y="3345"/>
                    <a:pt x="3223" y="3345"/>
                  </a:cubicBezTo>
                  <a:cubicBezTo>
                    <a:pt x="3218" y="3350"/>
                    <a:pt x="3213" y="3355"/>
                    <a:pt x="3208" y="3360"/>
                  </a:cubicBezTo>
                  <a:cubicBezTo>
                    <a:pt x="3197" y="3365"/>
                    <a:pt x="3192" y="3370"/>
                    <a:pt x="3187" y="3375"/>
                  </a:cubicBezTo>
                  <a:lnTo>
                    <a:pt x="3187" y="3375"/>
                  </a:lnTo>
                  <a:cubicBezTo>
                    <a:pt x="3084" y="3452"/>
                    <a:pt x="2982" y="3508"/>
                    <a:pt x="2870" y="3549"/>
                  </a:cubicBezTo>
                  <a:lnTo>
                    <a:pt x="2870" y="3549"/>
                  </a:lnTo>
                  <a:cubicBezTo>
                    <a:pt x="2793" y="3580"/>
                    <a:pt x="2716" y="3595"/>
                    <a:pt x="2639" y="3610"/>
                  </a:cubicBezTo>
                  <a:cubicBezTo>
                    <a:pt x="2588" y="3616"/>
                    <a:pt x="2532" y="3621"/>
                    <a:pt x="2476" y="3621"/>
                  </a:cubicBezTo>
                  <a:cubicBezTo>
                    <a:pt x="2327" y="3621"/>
                    <a:pt x="2184" y="3590"/>
                    <a:pt x="2046" y="3534"/>
                  </a:cubicBezTo>
                  <a:lnTo>
                    <a:pt x="2046" y="3534"/>
                  </a:lnTo>
                  <a:cubicBezTo>
                    <a:pt x="1913" y="3483"/>
                    <a:pt x="1790" y="3401"/>
                    <a:pt x="1682" y="3299"/>
                  </a:cubicBezTo>
                  <a:lnTo>
                    <a:pt x="1682" y="3299"/>
                  </a:lnTo>
                  <a:cubicBezTo>
                    <a:pt x="1673" y="3293"/>
                    <a:pt x="1667" y="3283"/>
                    <a:pt x="1662" y="3278"/>
                  </a:cubicBezTo>
                  <a:cubicBezTo>
                    <a:pt x="1657" y="3273"/>
                    <a:pt x="1657" y="3273"/>
                    <a:pt x="1657" y="3273"/>
                  </a:cubicBezTo>
                  <a:cubicBezTo>
                    <a:pt x="1647" y="3268"/>
                    <a:pt x="1642" y="3258"/>
                    <a:pt x="1637" y="3252"/>
                  </a:cubicBezTo>
                  <a:lnTo>
                    <a:pt x="1631" y="3247"/>
                  </a:lnTo>
                  <a:cubicBezTo>
                    <a:pt x="1626" y="3242"/>
                    <a:pt x="1616" y="3232"/>
                    <a:pt x="1611" y="3222"/>
                  </a:cubicBezTo>
                  <a:lnTo>
                    <a:pt x="1611" y="3222"/>
                  </a:lnTo>
                  <a:cubicBezTo>
                    <a:pt x="1606" y="3217"/>
                    <a:pt x="1601" y="3212"/>
                    <a:pt x="1591" y="3201"/>
                  </a:cubicBezTo>
                  <a:cubicBezTo>
                    <a:pt x="1591" y="3201"/>
                    <a:pt x="1591" y="3196"/>
                    <a:pt x="1585" y="3196"/>
                  </a:cubicBezTo>
                  <a:cubicBezTo>
                    <a:pt x="1585" y="3191"/>
                    <a:pt x="1580" y="3186"/>
                    <a:pt x="1575" y="3186"/>
                  </a:cubicBezTo>
                  <a:cubicBezTo>
                    <a:pt x="1575" y="3181"/>
                    <a:pt x="1570" y="3176"/>
                    <a:pt x="1565" y="3170"/>
                  </a:cubicBezTo>
                  <a:cubicBezTo>
                    <a:pt x="1565" y="3165"/>
                    <a:pt x="1565" y="3165"/>
                    <a:pt x="1565" y="3165"/>
                  </a:cubicBezTo>
                  <a:cubicBezTo>
                    <a:pt x="1504" y="3089"/>
                    <a:pt x="1457" y="3002"/>
                    <a:pt x="1422" y="2916"/>
                  </a:cubicBezTo>
                  <a:cubicBezTo>
                    <a:pt x="1417" y="2916"/>
                    <a:pt x="1417" y="2916"/>
                    <a:pt x="1417" y="2916"/>
                  </a:cubicBezTo>
                  <a:cubicBezTo>
                    <a:pt x="1360" y="2773"/>
                    <a:pt x="1330" y="2624"/>
                    <a:pt x="1330" y="2476"/>
                  </a:cubicBezTo>
                  <a:cubicBezTo>
                    <a:pt x="1330" y="2373"/>
                    <a:pt x="1345" y="2271"/>
                    <a:pt x="1371" y="2174"/>
                  </a:cubicBezTo>
                  <a:cubicBezTo>
                    <a:pt x="1375" y="2169"/>
                    <a:pt x="1375" y="2159"/>
                    <a:pt x="1381" y="2148"/>
                  </a:cubicBezTo>
                  <a:cubicBezTo>
                    <a:pt x="1391" y="2112"/>
                    <a:pt x="1401" y="2077"/>
                    <a:pt x="1417" y="2046"/>
                  </a:cubicBezTo>
                  <a:cubicBezTo>
                    <a:pt x="1422" y="2026"/>
                    <a:pt x="1427" y="2010"/>
                    <a:pt x="1437" y="1995"/>
                  </a:cubicBezTo>
                  <a:moveTo>
                    <a:pt x="2476" y="0"/>
                  </a:moveTo>
                  <a:lnTo>
                    <a:pt x="2476" y="0"/>
                  </a:lnTo>
                  <a:cubicBezTo>
                    <a:pt x="1985" y="0"/>
                    <a:pt x="1488" y="143"/>
                    <a:pt x="1064" y="440"/>
                  </a:cubicBezTo>
                  <a:cubicBezTo>
                    <a:pt x="1064" y="445"/>
                    <a:pt x="1064" y="445"/>
                    <a:pt x="1064" y="445"/>
                  </a:cubicBezTo>
                  <a:cubicBezTo>
                    <a:pt x="1048" y="455"/>
                    <a:pt x="1033" y="465"/>
                    <a:pt x="1012" y="476"/>
                  </a:cubicBezTo>
                  <a:cubicBezTo>
                    <a:pt x="1007" y="480"/>
                    <a:pt x="1007" y="480"/>
                    <a:pt x="1007" y="480"/>
                  </a:cubicBezTo>
                  <a:cubicBezTo>
                    <a:pt x="997" y="491"/>
                    <a:pt x="981" y="501"/>
                    <a:pt x="966" y="511"/>
                  </a:cubicBezTo>
                  <a:cubicBezTo>
                    <a:pt x="961" y="516"/>
                    <a:pt x="961" y="516"/>
                    <a:pt x="956" y="522"/>
                  </a:cubicBezTo>
                  <a:cubicBezTo>
                    <a:pt x="946" y="532"/>
                    <a:pt x="930" y="542"/>
                    <a:pt x="915" y="552"/>
                  </a:cubicBezTo>
                  <a:cubicBezTo>
                    <a:pt x="915" y="552"/>
                    <a:pt x="910" y="558"/>
                    <a:pt x="905" y="558"/>
                  </a:cubicBezTo>
                  <a:cubicBezTo>
                    <a:pt x="890" y="573"/>
                    <a:pt x="874" y="588"/>
                    <a:pt x="859" y="603"/>
                  </a:cubicBezTo>
                  <a:cubicBezTo>
                    <a:pt x="839" y="614"/>
                    <a:pt x="823" y="629"/>
                    <a:pt x="808" y="644"/>
                  </a:cubicBezTo>
                  <a:cubicBezTo>
                    <a:pt x="808" y="649"/>
                    <a:pt x="803" y="649"/>
                    <a:pt x="797" y="654"/>
                  </a:cubicBezTo>
                  <a:cubicBezTo>
                    <a:pt x="787" y="665"/>
                    <a:pt x="772" y="675"/>
                    <a:pt x="761" y="690"/>
                  </a:cubicBezTo>
                  <a:cubicBezTo>
                    <a:pt x="757" y="690"/>
                    <a:pt x="757" y="696"/>
                    <a:pt x="752" y="696"/>
                  </a:cubicBezTo>
                  <a:cubicBezTo>
                    <a:pt x="741" y="711"/>
                    <a:pt x="726" y="721"/>
                    <a:pt x="716" y="736"/>
                  </a:cubicBezTo>
                  <a:cubicBezTo>
                    <a:pt x="710" y="742"/>
                    <a:pt x="710" y="742"/>
                    <a:pt x="710" y="742"/>
                  </a:cubicBezTo>
                  <a:cubicBezTo>
                    <a:pt x="695" y="752"/>
                    <a:pt x="685" y="767"/>
                    <a:pt x="670" y="782"/>
                  </a:cubicBezTo>
                  <a:lnTo>
                    <a:pt x="670" y="782"/>
                  </a:lnTo>
                  <a:cubicBezTo>
                    <a:pt x="-108" y="1611"/>
                    <a:pt x="-221" y="2870"/>
                    <a:pt x="393" y="3815"/>
                  </a:cubicBezTo>
                  <a:cubicBezTo>
                    <a:pt x="398" y="3820"/>
                    <a:pt x="398" y="3820"/>
                    <a:pt x="403" y="3826"/>
                  </a:cubicBezTo>
                  <a:cubicBezTo>
                    <a:pt x="409" y="3836"/>
                    <a:pt x="419" y="3851"/>
                    <a:pt x="424" y="3861"/>
                  </a:cubicBezTo>
                  <a:cubicBezTo>
                    <a:pt x="429" y="3866"/>
                    <a:pt x="434" y="3872"/>
                    <a:pt x="434" y="3877"/>
                  </a:cubicBezTo>
                  <a:cubicBezTo>
                    <a:pt x="445" y="3887"/>
                    <a:pt x="449" y="3897"/>
                    <a:pt x="454" y="3907"/>
                  </a:cubicBezTo>
                  <a:cubicBezTo>
                    <a:pt x="460" y="3912"/>
                    <a:pt x="465" y="3923"/>
                    <a:pt x="470" y="3928"/>
                  </a:cubicBezTo>
                  <a:cubicBezTo>
                    <a:pt x="475" y="3938"/>
                    <a:pt x="485" y="3943"/>
                    <a:pt x="490" y="3953"/>
                  </a:cubicBezTo>
                  <a:cubicBezTo>
                    <a:pt x="496" y="3964"/>
                    <a:pt x="501" y="3968"/>
                    <a:pt x="511" y="3979"/>
                  </a:cubicBezTo>
                  <a:cubicBezTo>
                    <a:pt x="516" y="3984"/>
                    <a:pt x="521" y="3995"/>
                    <a:pt x="526" y="3999"/>
                  </a:cubicBezTo>
                  <a:cubicBezTo>
                    <a:pt x="536" y="4010"/>
                    <a:pt x="541" y="4020"/>
                    <a:pt x="552" y="4030"/>
                  </a:cubicBezTo>
                  <a:cubicBezTo>
                    <a:pt x="552" y="4035"/>
                    <a:pt x="557" y="4040"/>
                    <a:pt x="562" y="4046"/>
                  </a:cubicBezTo>
                  <a:cubicBezTo>
                    <a:pt x="577" y="4061"/>
                    <a:pt x="588" y="4076"/>
                    <a:pt x="603" y="4091"/>
                  </a:cubicBezTo>
                  <a:cubicBezTo>
                    <a:pt x="618" y="4112"/>
                    <a:pt x="634" y="4127"/>
                    <a:pt x="649" y="4143"/>
                  </a:cubicBezTo>
                  <a:cubicBezTo>
                    <a:pt x="649" y="4148"/>
                    <a:pt x="654" y="4153"/>
                    <a:pt x="659" y="4158"/>
                  </a:cubicBezTo>
                  <a:cubicBezTo>
                    <a:pt x="670" y="4168"/>
                    <a:pt x="680" y="4179"/>
                    <a:pt x="695" y="4194"/>
                  </a:cubicBezTo>
                  <a:cubicBezTo>
                    <a:pt x="695" y="4199"/>
                    <a:pt x="700" y="4199"/>
                    <a:pt x="705" y="4204"/>
                  </a:cubicBezTo>
                  <a:cubicBezTo>
                    <a:pt x="716" y="4219"/>
                    <a:pt x="731" y="4230"/>
                    <a:pt x="741" y="4240"/>
                  </a:cubicBezTo>
                  <a:cubicBezTo>
                    <a:pt x="746" y="4245"/>
                    <a:pt x="746" y="4245"/>
                    <a:pt x="752" y="4250"/>
                  </a:cubicBezTo>
                  <a:cubicBezTo>
                    <a:pt x="761" y="4266"/>
                    <a:pt x="777" y="4275"/>
                    <a:pt x="787" y="4286"/>
                  </a:cubicBezTo>
                  <a:cubicBezTo>
                    <a:pt x="792" y="4291"/>
                    <a:pt x="792" y="4291"/>
                    <a:pt x="797" y="4296"/>
                  </a:cubicBezTo>
                  <a:cubicBezTo>
                    <a:pt x="813" y="4306"/>
                    <a:pt x="828" y="4322"/>
                    <a:pt x="839" y="4332"/>
                  </a:cubicBezTo>
                  <a:cubicBezTo>
                    <a:pt x="843" y="4337"/>
                    <a:pt x="843" y="4337"/>
                    <a:pt x="843" y="4337"/>
                  </a:cubicBezTo>
                  <a:cubicBezTo>
                    <a:pt x="1309" y="4741"/>
                    <a:pt x="1892" y="4951"/>
                    <a:pt x="2476" y="4951"/>
                  </a:cubicBezTo>
                  <a:cubicBezTo>
                    <a:pt x="2977" y="4951"/>
                    <a:pt x="3479" y="4802"/>
                    <a:pt x="3903" y="4495"/>
                  </a:cubicBezTo>
                  <a:cubicBezTo>
                    <a:pt x="3909" y="4495"/>
                    <a:pt x="3909" y="4495"/>
                    <a:pt x="3914" y="4491"/>
                  </a:cubicBezTo>
                  <a:cubicBezTo>
                    <a:pt x="3924" y="4480"/>
                    <a:pt x="3939" y="4470"/>
                    <a:pt x="3954" y="4465"/>
                  </a:cubicBezTo>
                  <a:cubicBezTo>
                    <a:pt x="3960" y="4460"/>
                    <a:pt x="3965" y="4455"/>
                    <a:pt x="3970" y="4450"/>
                  </a:cubicBezTo>
                  <a:cubicBezTo>
                    <a:pt x="3980" y="4444"/>
                    <a:pt x="3990" y="4434"/>
                    <a:pt x="4001" y="4424"/>
                  </a:cubicBezTo>
                  <a:cubicBezTo>
                    <a:pt x="4011" y="4419"/>
                    <a:pt x="4016" y="4414"/>
                    <a:pt x="4026" y="4404"/>
                  </a:cubicBezTo>
                  <a:cubicBezTo>
                    <a:pt x="4031" y="4398"/>
                    <a:pt x="4041" y="4393"/>
                    <a:pt x="4047" y="4388"/>
                  </a:cubicBezTo>
                  <a:cubicBezTo>
                    <a:pt x="4067" y="4373"/>
                    <a:pt x="4083" y="4363"/>
                    <a:pt x="4098" y="4347"/>
                  </a:cubicBezTo>
                  <a:cubicBezTo>
                    <a:pt x="4113" y="4332"/>
                    <a:pt x="4129" y="4322"/>
                    <a:pt x="4144" y="4306"/>
                  </a:cubicBezTo>
                  <a:cubicBezTo>
                    <a:pt x="4149" y="4301"/>
                    <a:pt x="4159" y="4291"/>
                    <a:pt x="4164" y="4286"/>
                  </a:cubicBezTo>
                  <a:cubicBezTo>
                    <a:pt x="4174" y="4281"/>
                    <a:pt x="4180" y="4271"/>
                    <a:pt x="4190" y="4266"/>
                  </a:cubicBezTo>
                  <a:cubicBezTo>
                    <a:pt x="4200" y="4255"/>
                    <a:pt x="4205" y="4245"/>
                    <a:pt x="4216" y="4235"/>
                  </a:cubicBezTo>
                  <a:cubicBezTo>
                    <a:pt x="4221" y="4230"/>
                    <a:pt x="4225" y="4230"/>
                    <a:pt x="4231" y="4224"/>
                  </a:cubicBezTo>
                  <a:cubicBezTo>
                    <a:pt x="4241" y="4209"/>
                    <a:pt x="4256" y="4199"/>
                    <a:pt x="4267" y="4189"/>
                  </a:cubicBezTo>
                  <a:cubicBezTo>
                    <a:pt x="4267" y="4184"/>
                    <a:pt x="4272" y="4184"/>
                    <a:pt x="4272" y="4179"/>
                  </a:cubicBezTo>
                  <a:cubicBezTo>
                    <a:pt x="5060" y="3355"/>
                    <a:pt x="5177" y="2087"/>
                    <a:pt x="4558" y="1136"/>
                  </a:cubicBezTo>
                  <a:cubicBezTo>
                    <a:pt x="4558" y="1130"/>
                    <a:pt x="4553" y="1125"/>
                    <a:pt x="4553" y="1125"/>
                  </a:cubicBezTo>
                  <a:cubicBezTo>
                    <a:pt x="4548" y="1115"/>
                    <a:pt x="4538" y="1105"/>
                    <a:pt x="4533" y="1094"/>
                  </a:cubicBezTo>
                  <a:cubicBezTo>
                    <a:pt x="4528" y="1084"/>
                    <a:pt x="4523" y="1074"/>
                    <a:pt x="4512" y="1069"/>
                  </a:cubicBezTo>
                  <a:cubicBezTo>
                    <a:pt x="4507" y="1058"/>
                    <a:pt x="4507" y="1054"/>
                    <a:pt x="4502" y="1049"/>
                  </a:cubicBezTo>
                  <a:cubicBezTo>
                    <a:pt x="4492" y="1033"/>
                    <a:pt x="4481" y="1023"/>
                    <a:pt x="4477" y="1013"/>
                  </a:cubicBezTo>
                  <a:cubicBezTo>
                    <a:pt x="4471" y="1007"/>
                    <a:pt x="4466" y="1003"/>
                    <a:pt x="4466" y="997"/>
                  </a:cubicBezTo>
                  <a:cubicBezTo>
                    <a:pt x="4456" y="987"/>
                    <a:pt x="4446" y="972"/>
                    <a:pt x="4436" y="956"/>
                  </a:cubicBezTo>
                  <a:cubicBezTo>
                    <a:pt x="4430" y="956"/>
                    <a:pt x="4430" y="951"/>
                    <a:pt x="4425" y="951"/>
                  </a:cubicBezTo>
                  <a:cubicBezTo>
                    <a:pt x="4415" y="936"/>
                    <a:pt x="4405" y="920"/>
                    <a:pt x="4394" y="905"/>
                  </a:cubicBezTo>
                  <a:cubicBezTo>
                    <a:pt x="4390" y="900"/>
                    <a:pt x="4390" y="900"/>
                    <a:pt x="4390" y="900"/>
                  </a:cubicBezTo>
                  <a:cubicBezTo>
                    <a:pt x="4379" y="885"/>
                    <a:pt x="4364" y="869"/>
                    <a:pt x="4348" y="854"/>
                  </a:cubicBezTo>
                  <a:cubicBezTo>
                    <a:pt x="4338" y="838"/>
                    <a:pt x="4323" y="823"/>
                    <a:pt x="4313" y="808"/>
                  </a:cubicBezTo>
                  <a:cubicBezTo>
                    <a:pt x="4308" y="803"/>
                    <a:pt x="4303" y="798"/>
                    <a:pt x="4297" y="793"/>
                  </a:cubicBezTo>
                  <a:cubicBezTo>
                    <a:pt x="4287" y="787"/>
                    <a:pt x="4277" y="777"/>
                    <a:pt x="4272" y="767"/>
                  </a:cubicBezTo>
                  <a:cubicBezTo>
                    <a:pt x="4261" y="762"/>
                    <a:pt x="4256" y="752"/>
                    <a:pt x="4252" y="747"/>
                  </a:cubicBezTo>
                  <a:cubicBezTo>
                    <a:pt x="4241" y="742"/>
                    <a:pt x="4236" y="731"/>
                    <a:pt x="4231" y="726"/>
                  </a:cubicBezTo>
                  <a:cubicBezTo>
                    <a:pt x="4221" y="716"/>
                    <a:pt x="4216" y="711"/>
                    <a:pt x="4205" y="700"/>
                  </a:cubicBezTo>
                  <a:cubicBezTo>
                    <a:pt x="4200" y="696"/>
                    <a:pt x="4195" y="690"/>
                    <a:pt x="4190" y="685"/>
                  </a:cubicBezTo>
                  <a:cubicBezTo>
                    <a:pt x="4180" y="675"/>
                    <a:pt x="4169" y="665"/>
                    <a:pt x="4159" y="660"/>
                  </a:cubicBezTo>
                  <a:cubicBezTo>
                    <a:pt x="4154" y="654"/>
                    <a:pt x="4149" y="649"/>
                    <a:pt x="4149" y="644"/>
                  </a:cubicBezTo>
                  <a:cubicBezTo>
                    <a:pt x="4134" y="634"/>
                    <a:pt x="4123" y="629"/>
                    <a:pt x="4113" y="619"/>
                  </a:cubicBezTo>
                  <a:cubicBezTo>
                    <a:pt x="4113" y="614"/>
                    <a:pt x="4108" y="614"/>
                    <a:pt x="4108" y="609"/>
                  </a:cubicBezTo>
                  <a:cubicBezTo>
                    <a:pt x="3642" y="204"/>
                    <a:pt x="3059" y="0"/>
                    <a:pt x="2476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" name="Google Shape;122;p4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05365">
              <a:off x="8553711" y="1251469"/>
              <a:ext cx="1237854" cy="122641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3" name="Google Shape;123;p4"/>
          <p:cNvGrpSpPr/>
          <p:nvPr/>
        </p:nvGrpSpPr>
        <p:grpSpPr>
          <a:xfrm rot="895619">
            <a:off x="6033328" y="86507"/>
            <a:ext cx="652537" cy="652325"/>
            <a:chOff x="4733989" y="511904"/>
            <a:chExt cx="489380" cy="489221"/>
          </a:xfrm>
        </p:grpSpPr>
        <p:sp>
          <p:nvSpPr>
            <p:cNvPr id="124" name="Google Shape;124;p4"/>
            <p:cNvSpPr/>
            <p:nvPr/>
          </p:nvSpPr>
          <p:spPr>
            <a:xfrm rot="-2016437">
              <a:off x="4863019" y="615874"/>
              <a:ext cx="283909" cy="283692"/>
            </a:xfrm>
            <a:custGeom>
              <a:avLst/>
              <a:gdLst/>
              <a:ahLst/>
              <a:cxnLst/>
              <a:rect l="l" t="t" r="r" b="b"/>
              <a:pathLst>
                <a:path w="6037" h="6033" extrusionOk="0">
                  <a:moveTo>
                    <a:pt x="3361" y="6033"/>
                  </a:moveTo>
                  <a:lnTo>
                    <a:pt x="3361" y="6033"/>
                  </a:lnTo>
                  <a:cubicBezTo>
                    <a:pt x="3337" y="6033"/>
                    <a:pt x="3313" y="6033"/>
                    <a:pt x="3289" y="6033"/>
                  </a:cubicBezTo>
                  <a:cubicBezTo>
                    <a:pt x="3177" y="6018"/>
                    <a:pt x="3100" y="5950"/>
                    <a:pt x="3056" y="5848"/>
                  </a:cubicBezTo>
                  <a:cubicBezTo>
                    <a:pt x="2949" y="5586"/>
                    <a:pt x="2838" y="5329"/>
                    <a:pt x="2731" y="5072"/>
                  </a:cubicBezTo>
                  <a:cubicBezTo>
                    <a:pt x="2624" y="4821"/>
                    <a:pt x="2518" y="4564"/>
                    <a:pt x="2406" y="4312"/>
                  </a:cubicBezTo>
                  <a:cubicBezTo>
                    <a:pt x="2338" y="4142"/>
                    <a:pt x="2169" y="4059"/>
                    <a:pt x="1989" y="4098"/>
                  </a:cubicBezTo>
                  <a:cubicBezTo>
                    <a:pt x="1553" y="4200"/>
                    <a:pt x="1116" y="4297"/>
                    <a:pt x="680" y="4394"/>
                  </a:cubicBezTo>
                  <a:cubicBezTo>
                    <a:pt x="559" y="4423"/>
                    <a:pt x="448" y="4457"/>
                    <a:pt x="326" y="4472"/>
                  </a:cubicBezTo>
                  <a:cubicBezTo>
                    <a:pt x="215" y="4491"/>
                    <a:pt x="123" y="4447"/>
                    <a:pt x="55" y="4355"/>
                  </a:cubicBezTo>
                  <a:cubicBezTo>
                    <a:pt x="-37" y="4224"/>
                    <a:pt x="-13" y="4064"/>
                    <a:pt x="108" y="3963"/>
                  </a:cubicBezTo>
                  <a:cubicBezTo>
                    <a:pt x="253" y="3836"/>
                    <a:pt x="394" y="3710"/>
                    <a:pt x="540" y="3589"/>
                  </a:cubicBezTo>
                  <a:cubicBezTo>
                    <a:pt x="719" y="3434"/>
                    <a:pt x="898" y="3274"/>
                    <a:pt x="1078" y="3119"/>
                  </a:cubicBezTo>
                  <a:cubicBezTo>
                    <a:pt x="1141" y="3070"/>
                    <a:pt x="1199" y="3017"/>
                    <a:pt x="1257" y="2965"/>
                  </a:cubicBezTo>
                  <a:cubicBezTo>
                    <a:pt x="1359" y="2868"/>
                    <a:pt x="1417" y="2752"/>
                    <a:pt x="1431" y="2611"/>
                  </a:cubicBezTo>
                  <a:cubicBezTo>
                    <a:pt x="1451" y="2471"/>
                    <a:pt x="1407" y="2344"/>
                    <a:pt x="1335" y="2228"/>
                  </a:cubicBezTo>
                  <a:cubicBezTo>
                    <a:pt x="1088" y="1811"/>
                    <a:pt x="840" y="1394"/>
                    <a:pt x="588" y="977"/>
                  </a:cubicBezTo>
                  <a:cubicBezTo>
                    <a:pt x="496" y="812"/>
                    <a:pt x="554" y="623"/>
                    <a:pt x="719" y="551"/>
                  </a:cubicBezTo>
                  <a:cubicBezTo>
                    <a:pt x="797" y="517"/>
                    <a:pt x="879" y="517"/>
                    <a:pt x="952" y="556"/>
                  </a:cubicBezTo>
                  <a:cubicBezTo>
                    <a:pt x="1044" y="599"/>
                    <a:pt x="1126" y="657"/>
                    <a:pt x="1213" y="710"/>
                  </a:cubicBezTo>
                  <a:cubicBezTo>
                    <a:pt x="1567" y="924"/>
                    <a:pt x="1921" y="1137"/>
                    <a:pt x="2275" y="1350"/>
                  </a:cubicBezTo>
                  <a:cubicBezTo>
                    <a:pt x="2503" y="1486"/>
                    <a:pt x="2794" y="1448"/>
                    <a:pt x="2973" y="1258"/>
                  </a:cubicBezTo>
                  <a:cubicBezTo>
                    <a:pt x="3061" y="1171"/>
                    <a:pt x="3138" y="1074"/>
                    <a:pt x="3216" y="987"/>
                  </a:cubicBezTo>
                  <a:cubicBezTo>
                    <a:pt x="3323" y="866"/>
                    <a:pt x="3424" y="744"/>
                    <a:pt x="3531" y="628"/>
                  </a:cubicBezTo>
                  <a:cubicBezTo>
                    <a:pt x="3652" y="483"/>
                    <a:pt x="3778" y="342"/>
                    <a:pt x="3904" y="202"/>
                  </a:cubicBezTo>
                  <a:cubicBezTo>
                    <a:pt x="3948" y="153"/>
                    <a:pt x="3982" y="100"/>
                    <a:pt x="4035" y="61"/>
                  </a:cubicBezTo>
                  <a:cubicBezTo>
                    <a:pt x="4127" y="-12"/>
                    <a:pt x="4229" y="-16"/>
                    <a:pt x="4331" y="32"/>
                  </a:cubicBezTo>
                  <a:cubicBezTo>
                    <a:pt x="4438" y="80"/>
                    <a:pt x="4496" y="168"/>
                    <a:pt x="4496" y="284"/>
                  </a:cubicBezTo>
                  <a:cubicBezTo>
                    <a:pt x="4501" y="347"/>
                    <a:pt x="4476" y="405"/>
                    <a:pt x="4462" y="468"/>
                  </a:cubicBezTo>
                  <a:cubicBezTo>
                    <a:pt x="4374" y="851"/>
                    <a:pt x="4282" y="1234"/>
                    <a:pt x="4200" y="1617"/>
                  </a:cubicBezTo>
                  <a:cubicBezTo>
                    <a:pt x="4137" y="1893"/>
                    <a:pt x="4210" y="2141"/>
                    <a:pt x="4389" y="2354"/>
                  </a:cubicBezTo>
                  <a:cubicBezTo>
                    <a:pt x="4481" y="2461"/>
                    <a:pt x="4597" y="2529"/>
                    <a:pt x="4724" y="2587"/>
                  </a:cubicBezTo>
                  <a:cubicBezTo>
                    <a:pt x="5102" y="2747"/>
                    <a:pt x="5480" y="2907"/>
                    <a:pt x="5863" y="3070"/>
                  </a:cubicBezTo>
                  <a:cubicBezTo>
                    <a:pt x="5975" y="3119"/>
                    <a:pt x="6037" y="3211"/>
                    <a:pt x="6037" y="3337"/>
                  </a:cubicBezTo>
                  <a:cubicBezTo>
                    <a:pt x="6037" y="3351"/>
                    <a:pt x="6037" y="3361"/>
                    <a:pt x="6037" y="3376"/>
                  </a:cubicBezTo>
                  <a:cubicBezTo>
                    <a:pt x="6013" y="3526"/>
                    <a:pt x="5911" y="3613"/>
                    <a:pt x="5761" y="3628"/>
                  </a:cubicBezTo>
                  <a:cubicBezTo>
                    <a:pt x="5586" y="3642"/>
                    <a:pt x="5417" y="3657"/>
                    <a:pt x="5242" y="3672"/>
                  </a:cubicBezTo>
                  <a:cubicBezTo>
                    <a:pt x="5107" y="3686"/>
                    <a:pt x="4971" y="3696"/>
                    <a:pt x="4830" y="3706"/>
                  </a:cubicBezTo>
                  <a:cubicBezTo>
                    <a:pt x="4695" y="3720"/>
                    <a:pt x="4559" y="3730"/>
                    <a:pt x="4423" y="3744"/>
                  </a:cubicBezTo>
                  <a:cubicBezTo>
                    <a:pt x="4350" y="3749"/>
                    <a:pt x="4273" y="3754"/>
                    <a:pt x="4195" y="3774"/>
                  </a:cubicBezTo>
                  <a:cubicBezTo>
                    <a:pt x="3967" y="3841"/>
                    <a:pt x="3778" y="4059"/>
                    <a:pt x="3754" y="4302"/>
                  </a:cubicBezTo>
                  <a:cubicBezTo>
                    <a:pt x="3734" y="4433"/>
                    <a:pt x="3725" y="4573"/>
                    <a:pt x="3715" y="4709"/>
                  </a:cubicBezTo>
                  <a:cubicBezTo>
                    <a:pt x="3700" y="4835"/>
                    <a:pt x="3691" y="4961"/>
                    <a:pt x="3676" y="5087"/>
                  </a:cubicBezTo>
                  <a:cubicBezTo>
                    <a:pt x="3667" y="5218"/>
                    <a:pt x="3657" y="5344"/>
                    <a:pt x="3642" y="5470"/>
                  </a:cubicBezTo>
                  <a:cubicBezTo>
                    <a:pt x="3633" y="5577"/>
                    <a:pt x="3628" y="5688"/>
                    <a:pt x="3613" y="5795"/>
                  </a:cubicBezTo>
                  <a:cubicBezTo>
                    <a:pt x="3594" y="5926"/>
                    <a:pt x="3492" y="6018"/>
                    <a:pt x="3361" y="6033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5" name="Google Shape;125;p4"/>
            <p:cNvPicPr preferRelativeResize="0"/>
            <p:nvPr/>
          </p:nvPicPr>
          <p:blipFill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-2016466">
              <a:off x="4802209" y="580054"/>
              <a:ext cx="352940" cy="3529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6" name="Google Shape;126;p4"/>
          <p:cNvSpPr txBox="1">
            <a:spLocks noGrp="1"/>
          </p:cNvSpPr>
          <p:nvPr>
            <p:ph type="title"/>
          </p:nvPr>
        </p:nvSpPr>
        <p:spPr>
          <a:xfrm>
            <a:off x="960000" y="719333"/>
            <a:ext cx="10272000" cy="763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8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70" lvl="0" indent="-423312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40" lvl="1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2pPr>
            <a:lvl3pPr marL="1828709" lvl="2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3pPr>
            <a:lvl4pPr marL="2438278" lvl="3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4pPr>
            <a:lvl5pPr marL="3047848" lvl="4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5pPr>
            <a:lvl6pPr marL="3657418" lvl="5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6pPr>
            <a:lvl7pPr marL="4266987" lvl="6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7pPr>
            <a:lvl8pPr marL="4876557" lvl="7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8pPr>
            <a:lvl9pPr marL="5486126" lvl="8" indent="-42331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0128653"/>
      </p:ext>
    </p:extLst>
  </p:cSld>
  <p:clrMapOvr>
    <a:masterClrMapping/>
  </p:clrMapOvr>
</p:sldLayout>
</file>

<file path=ppt/slideLayouts/slideLayout2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4982105"/>
      </p:ext>
    </p:extLst>
  </p:cSld>
  <p:clrMapOvr>
    <a:masterClrMapping/>
  </p:clrMapOvr>
</p:sldLayout>
</file>

<file path=ppt/slideLayouts/slideLayout2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480609"/>
      </p:ext>
    </p:extLst>
  </p:cSld>
  <p:clrMapOvr>
    <a:masterClrMapping/>
  </p:clrMapOvr>
</p:sldLayout>
</file>

<file path=ppt/slideLayouts/slideLayout26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201" y="1825625"/>
            <a:ext cx="5410199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377" lvl="1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566" lvl="2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754" lvl="3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9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2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3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1" y="533970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891" indent="0">
              <a:buNone/>
              <a:defRPr b="1">
                <a:solidFill>
                  <a:srgbClr val="8C2347"/>
                </a:solidFill>
              </a:defRPr>
            </a:lvl2pPr>
            <a:lvl3pPr marL="685783" indent="0">
              <a:buNone/>
              <a:defRPr b="1">
                <a:solidFill>
                  <a:srgbClr val="8C2347"/>
                </a:solidFill>
              </a:defRPr>
            </a:lvl3pPr>
            <a:lvl4pPr marL="1028674" indent="0">
              <a:buNone/>
              <a:defRPr b="1">
                <a:solidFill>
                  <a:srgbClr val="8C2347"/>
                </a:solidFill>
              </a:defRPr>
            </a:lvl4pPr>
            <a:lvl5pPr marL="1371566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5" y="5955180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5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9" y="317115"/>
            <a:ext cx="1653863" cy="57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 2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g3681a448973_2_155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04" name="Google Shape;2604;g3681a448973_2_1558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05" name="Google Shape;2605;g3681a448973_2_155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06" name="Google Shape;2606;g3681a448973_2_155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7" name="Google Shape;2607;g3681a448973_2_155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08" name="Google Shape;2608;g3681a448973_2_155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09" name="Google Shape;2609;g3681a448973_2_15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3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1" y="533970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891" indent="0">
              <a:buNone/>
              <a:defRPr b="1">
                <a:solidFill>
                  <a:srgbClr val="8C2347"/>
                </a:solidFill>
              </a:defRPr>
            </a:lvl2pPr>
            <a:lvl3pPr marL="685783" indent="0">
              <a:buNone/>
              <a:defRPr b="1">
                <a:solidFill>
                  <a:srgbClr val="8C2347"/>
                </a:solidFill>
              </a:defRPr>
            </a:lvl3pPr>
            <a:lvl4pPr marL="1028674" indent="0">
              <a:buNone/>
              <a:defRPr b="1">
                <a:solidFill>
                  <a:srgbClr val="8C2347"/>
                </a:solidFill>
              </a:defRPr>
            </a:lvl4pPr>
            <a:lvl5pPr marL="1371566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5" y="5955180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5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9" y="317115"/>
            <a:ext cx="1653863" cy="57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28493"/>
      </p:ext>
    </p:extLst>
  </p:cSld>
  <p:clrMapOvr>
    <a:masterClrMapping/>
  </p:clrMapOvr>
</p:sldLayout>
</file>

<file path=ppt/slideLayouts/slideLayout2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3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1" y="533970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891" indent="0">
              <a:buNone/>
              <a:defRPr b="1">
                <a:solidFill>
                  <a:srgbClr val="8C2347"/>
                </a:solidFill>
              </a:defRPr>
            </a:lvl2pPr>
            <a:lvl3pPr marL="685783" indent="0">
              <a:buNone/>
              <a:defRPr b="1">
                <a:solidFill>
                  <a:srgbClr val="8C2347"/>
                </a:solidFill>
              </a:defRPr>
            </a:lvl3pPr>
            <a:lvl4pPr marL="1028674" indent="0">
              <a:buNone/>
              <a:defRPr b="1">
                <a:solidFill>
                  <a:srgbClr val="8C2347"/>
                </a:solidFill>
              </a:defRPr>
            </a:lvl4pPr>
            <a:lvl5pPr marL="1371566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5" y="5955180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5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9" y="317115"/>
            <a:ext cx="1653863" cy="57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2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189" indent="0">
              <a:buNone/>
              <a:defRPr b="1">
                <a:solidFill>
                  <a:srgbClr val="8C2347"/>
                </a:solidFill>
              </a:defRPr>
            </a:lvl2pPr>
            <a:lvl3pPr marL="914377" indent="0">
              <a:buNone/>
              <a:defRPr b="1">
                <a:solidFill>
                  <a:srgbClr val="8C2347"/>
                </a:solidFill>
              </a:defRPr>
            </a:lvl3pPr>
            <a:lvl4pPr marL="1371566" indent="0">
              <a:buNone/>
              <a:defRPr b="1">
                <a:solidFill>
                  <a:srgbClr val="8C2347"/>
                </a:solidFill>
              </a:defRPr>
            </a:lvl4pPr>
            <a:lvl5pPr marL="1828754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7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189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377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566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754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2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7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5"/>
          <p:cNvSpPr txBox="1">
            <a:spLocks noGrp="1"/>
          </p:cNvSpPr>
          <p:nvPr>
            <p:ph type="subTitle" idx="1"/>
          </p:nvPr>
        </p:nvSpPr>
        <p:spPr>
          <a:xfrm>
            <a:off x="1330348" y="2407295"/>
            <a:ext cx="4312800" cy="27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5"/>
          <p:cNvSpPr txBox="1">
            <a:spLocks noGrp="1"/>
          </p:cNvSpPr>
          <p:nvPr>
            <p:ph type="subTitle" idx="2"/>
          </p:nvPr>
        </p:nvSpPr>
        <p:spPr>
          <a:xfrm>
            <a:off x="6548852" y="2407295"/>
            <a:ext cx="4312800" cy="27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" name="Google Shape;123;p5"/>
          <p:cNvGrpSpPr/>
          <p:nvPr/>
        </p:nvGrpSpPr>
        <p:grpSpPr>
          <a:xfrm>
            <a:off x="276037" y="750384"/>
            <a:ext cx="11917184" cy="6788104"/>
            <a:chOff x="207028" y="562788"/>
            <a:chExt cx="8937888" cy="5091078"/>
          </a:xfrm>
        </p:grpSpPr>
        <p:grpSp>
          <p:nvGrpSpPr>
            <p:cNvPr id="124" name="Google Shape;124;p5"/>
            <p:cNvGrpSpPr/>
            <p:nvPr/>
          </p:nvGrpSpPr>
          <p:grpSpPr>
            <a:xfrm>
              <a:off x="207028" y="4350788"/>
              <a:ext cx="1276625" cy="1303078"/>
              <a:chOff x="207028" y="4350788"/>
              <a:chExt cx="1276625" cy="1303078"/>
            </a:xfrm>
          </p:grpSpPr>
          <p:sp>
            <p:nvSpPr>
              <p:cNvPr id="125" name="Google Shape;125;p5"/>
              <p:cNvSpPr/>
              <p:nvPr/>
            </p:nvSpPr>
            <p:spPr>
              <a:xfrm>
                <a:off x="207028" y="4350788"/>
                <a:ext cx="506201" cy="507674"/>
              </a:xfrm>
              <a:custGeom>
                <a:avLst/>
                <a:gdLst/>
                <a:ahLst/>
                <a:cxnLst/>
                <a:rect l="l" t="t" r="r" b="b"/>
                <a:pathLst>
                  <a:path w="19187" h="19241" extrusionOk="0">
                    <a:moveTo>
                      <a:pt x="1" y="1"/>
                    </a:moveTo>
                    <a:lnTo>
                      <a:pt x="1" y="19241"/>
                    </a:lnTo>
                    <a:lnTo>
                      <a:pt x="19186" y="19241"/>
                    </a:lnTo>
                    <a:lnTo>
                      <a:pt x="1918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grpSp>
            <p:nvGrpSpPr>
              <p:cNvPr id="126" name="Google Shape;126;p5"/>
              <p:cNvGrpSpPr/>
              <p:nvPr/>
            </p:nvGrpSpPr>
            <p:grpSpPr>
              <a:xfrm>
                <a:off x="428604" y="4604634"/>
                <a:ext cx="1055049" cy="1049232"/>
                <a:chOff x="7802183" y="2347253"/>
                <a:chExt cx="713981" cy="710044"/>
              </a:xfrm>
            </p:grpSpPr>
            <p:sp>
              <p:nvSpPr>
                <p:cNvPr id="127" name="Google Shape;127;p5"/>
                <p:cNvSpPr/>
                <p:nvPr/>
              </p:nvSpPr>
              <p:spPr>
                <a:xfrm>
                  <a:off x="8144797" y="3032138"/>
                  <a:ext cx="29067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82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48"/>
                      </a:cubicBezTo>
                      <a:cubicBezTo>
                        <a:pt x="363" y="840"/>
                        <a:pt x="475" y="882"/>
                        <a:pt x="584" y="882"/>
                      </a:cubicBezTo>
                      <a:cubicBezTo>
                        <a:pt x="808" y="882"/>
                        <a:pt x="1019" y="707"/>
                        <a:pt x="1019" y="445"/>
                      </a:cubicBezTo>
                      <a:cubicBezTo>
                        <a:pt x="1019" y="195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28" name="Google Shape;128;p5"/>
                <p:cNvSpPr/>
                <p:nvPr/>
              </p:nvSpPr>
              <p:spPr>
                <a:xfrm>
                  <a:off x="8230115" y="3032138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0"/>
                      </a:moveTo>
                      <a:cubicBezTo>
                        <a:pt x="196" y="0"/>
                        <a:pt x="1" y="477"/>
                        <a:pt x="283" y="748"/>
                      </a:cubicBezTo>
                      <a:cubicBezTo>
                        <a:pt x="371" y="840"/>
                        <a:pt x="482" y="882"/>
                        <a:pt x="591" y="882"/>
                      </a:cubicBezTo>
                      <a:cubicBezTo>
                        <a:pt x="815" y="882"/>
                        <a:pt x="1031" y="707"/>
                        <a:pt x="1031" y="445"/>
                      </a:cubicBezTo>
                      <a:cubicBezTo>
                        <a:pt x="1031" y="195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29" name="Google Shape;129;p5"/>
                <p:cNvSpPr/>
                <p:nvPr/>
              </p:nvSpPr>
              <p:spPr>
                <a:xfrm>
                  <a:off x="8315776" y="3032138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86" y="0"/>
                      </a:moveTo>
                      <a:cubicBezTo>
                        <a:pt x="195" y="0"/>
                        <a:pt x="0" y="477"/>
                        <a:pt x="282" y="748"/>
                      </a:cubicBezTo>
                      <a:cubicBezTo>
                        <a:pt x="371" y="840"/>
                        <a:pt x="481" y="882"/>
                        <a:pt x="590" y="882"/>
                      </a:cubicBezTo>
                      <a:cubicBezTo>
                        <a:pt x="814" y="882"/>
                        <a:pt x="1030" y="707"/>
                        <a:pt x="1030" y="445"/>
                      </a:cubicBezTo>
                      <a:cubicBezTo>
                        <a:pt x="1030" y="195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0" name="Google Shape;130;p5"/>
                <p:cNvSpPr/>
                <p:nvPr/>
              </p:nvSpPr>
              <p:spPr>
                <a:xfrm>
                  <a:off x="8401123" y="3032138"/>
                  <a:ext cx="29381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2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82" y="748"/>
                      </a:cubicBezTo>
                      <a:cubicBezTo>
                        <a:pt x="370" y="840"/>
                        <a:pt x="481" y="882"/>
                        <a:pt x="590" y="882"/>
                      </a:cubicBezTo>
                      <a:cubicBezTo>
                        <a:pt x="814" y="882"/>
                        <a:pt x="1030" y="707"/>
                        <a:pt x="1030" y="445"/>
                      </a:cubicBezTo>
                      <a:cubicBezTo>
                        <a:pt x="1030" y="195"/>
                        <a:pt x="835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1" name="Google Shape;131;p5"/>
                <p:cNvSpPr/>
                <p:nvPr/>
              </p:nvSpPr>
              <p:spPr>
                <a:xfrm>
                  <a:off x="8486755" y="3032138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2" y="748"/>
                      </a:cubicBezTo>
                      <a:cubicBezTo>
                        <a:pt x="375" y="840"/>
                        <a:pt x="486" y="882"/>
                        <a:pt x="595" y="882"/>
                      </a:cubicBezTo>
                      <a:cubicBezTo>
                        <a:pt x="819" y="882"/>
                        <a:pt x="1030" y="707"/>
                        <a:pt x="1030" y="445"/>
                      </a:cubicBezTo>
                      <a:cubicBezTo>
                        <a:pt x="1030" y="195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2" name="Google Shape;132;p5"/>
                <p:cNvSpPr/>
                <p:nvPr/>
              </p:nvSpPr>
              <p:spPr>
                <a:xfrm>
                  <a:off x="8144883" y="2946792"/>
                  <a:ext cx="289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" h="875" extrusionOk="0">
                      <a:moveTo>
                        <a:pt x="569" y="0"/>
                      </a:moveTo>
                      <a:cubicBezTo>
                        <a:pt x="188" y="0"/>
                        <a:pt x="0" y="470"/>
                        <a:pt x="268" y="749"/>
                      </a:cubicBezTo>
                      <a:cubicBezTo>
                        <a:pt x="358" y="835"/>
                        <a:pt x="468" y="874"/>
                        <a:pt x="575" y="874"/>
                      </a:cubicBezTo>
                      <a:cubicBezTo>
                        <a:pt x="801" y="874"/>
                        <a:pt x="1016" y="699"/>
                        <a:pt x="1016" y="434"/>
                      </a:cubicBezTo>
                      <a:cubicBezTo>
                        <a:pt x="1016" y="196"/>
                        <a:pt x="821" y="1"/>
                        <a:pt x="582" y="1"/>
                      </a:cubicBezTo>
                      <a:cubicBezTo>
                        <a:pt x="578" y="1"/>
                        <a:pt x="574" y="0"/>
                        <a:pt x="569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3" name="Google Shape;133;p5"/>
                <p:cNvSpPr/>
                <p:nvPr/>
              </p:nvSpPr>
              <p:spPr>
                <a:xfrm>
                  <a:off x="8230115" y="2946792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1"/>
                      </a:moveTo>
                      <a:cubicBezTo>
                        <a:pt x="196" y="1"/>
                        <a:pt x="1" y="467"/>
                        <a:pt x="283" y="749"/>
                      </a:cubicBezTo>
                      <a:cubicBezTo>
                        <a:pt x="370" y="835"/>
                        <a:pt x="478" y="874"/>
                        <a:pt x="584" y="874"/>
                      </a:cubicBezTo>
                      <a:cubicBezTo>
                        <a:pt x="810" y="874"/>
                        <a:pt x="1031" y="699"/>
                        <a:pt x="1031" y="434"/>
                      </a:cubicBezTo>
                      <a:cubicBezTo>
                        <a:pt x="1031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4" name="Google Shape;134;p5"/>
                <p:cNvSpPr/>
                <p:nvPr/>
              </p:nvSpPr>
              <p:spPr>
                <a:xfrm>
                  <a:off x="8315776" y="2946792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1"/>
                      </a:moveTo>
                      <a:cubicBezTo>
                        <a:pt x="195" y="1"/>
                        <a:pt x="0" y="467"/>
                        <a:pt x="282" y="749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5" name="Google Shape;135;p5"/>
                <p:cNvSpPr/>
                <p:nvPr/>
              </p:nvSpPr>
              <p:spPr>
                <a:xfrm>
                  <a:off x="8401123" y="2946792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1"/>
                      </a:moveTo>
                      <a:cubicBezTo>
                        <a:pt x="195" y="1"/>
                        <a:pt x="0" y="467"/>
                        <a:pt x="282" y="749"/>
                      </a:cubicBezTo>
                      <a:cubicBezTo>
                        <a:pt x="369" y="835"/>
                        <a:pt x="477" y="874"/>
                        <a:pt x="583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6" name="Google Shape;136;p5"/>
                <p:cNvSpPr/>
                <p:nvPr/>
              </p:nvSpPr>
              <p:spPr>
                <a:xfrm>
                  <a:off x="8486755" y="2946792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1"/>
                      </a:moveTo>
                      <a:cubicBezTo>
                        <a:pt x="207" y="1"/>
                        <a:pt x="1" y="467"/>
                        <a:pt x="282" y="749"/>
                      </a:cubicBezTo>
                      <a:cubicBezTo>
                        <a:pt x="373" y="835"/>
                        <a:pt x="482" y="874"/>
                        <a:pt x="589" y="874"/>
                      </a:cubicBezTo>
                      <a:cubicBezTo>
                        <a:pt x="815" y="874"/>
                        <a:pt x="1030" y="699"/>
                        <a:pt x="1030" y="434"/>
                      </a:cubicBezTo>
                      <a:cubicBezTo>
                        <a:pt x="1030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7" name="Google Shape;137;p5"/>
                <p:cNvSpPr/>
                <p:nvPr/>
              </p:nvSpPr>
              <p:spPr>
                <a:xfrm>
                  <a:off x="8144797" y="2860846"/>
                  <a:ext cx="29067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59"/>
                      </a:cubicBezTo>
                      <a:cubicBezTo>
                        <a:pt x="361" y="846"/>
                        <a:pt x="471" y="885"/>
                        <a:pt x="578" y="885"/>
                      </a:cubicBezTo>
                      <a:cubicBezTo>
                        <a:pt x="804" y="885"/>
                        <a:pt x="1019" y="710"/>
                        <a:pt x="1019" y="445"/>
                      </a:cubicBezTo>
                      <a:cubicBezTo>
                        <a:pt x="1019" y="20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8" name="Google Shape;138;p5"/>
                <p:cNvSpPr/>
                <p:nvPr/>
              </p:nvSpPr>
              <p:spPr>
                <a:xfrm>
                  <a:off x="8230115" y="2860846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196" y="0"/>
                        <a:pt x="1" y="477"/>
                        <a:pt x="283" y="759"/>
                      </a:cubicBezTo>
                      <a:cubicBezTo>
                        <a:pt x="370" y="846"/>
                        <a:pt x="478" y="885"/>
                        <a:pt x="584" y="885"/>
                      </a:cubicBezTo>
                      <a:cubicBezTo>
                        <a:pt x="810" y="885"/>
                        <a:pt x="1031" y="710"/>
                        <a:pt x="1031" y="445"/>
                      </a:cubicBezTo>
                      <a:cubicBezTo>
                        <a:pt x="1031" y="20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39" name="Google Shape;139;p5"/>
                <p:cNvSpPr/>
                <p:nvPr/>
              </p:nvSpPr>
              <p:spPr>
                <a:xfrm>
                  <a:off x="8315776" y="2860846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86" y="0"/>
                      </a:moveTo>
                      <a:cubicBezTo>
                        <a:pt x="195" y="0"/>
                        <a:pt x="0" y="477"/>
                        <a:pt x="282" y="759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0" name="Google Shape;140;p5"/>
                <p:cNvSpPr/>
                <p:nvPr/>
              </p:nvSpPr>
              <p:spPr>
                <a:xfrm>
                  <a:off x="8401123" y="2860846"/>
                  <a:ext cx="29381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82" y="759"/>
                      </a:cubicBezTo>
                      <a:cubicBezTo>
                        <a:pt x="369" y="846"/>
                        <a:pt x="477" y="885"/>
                        <a:pt x="583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1" name="Google Shape;141;p5"/>
                <p:cNvSpPr/>
                <p:nvPr/>
              </p:nvSpPr>
              <p:spPr>
                <a:xfrm>
                  <a:off x="8486755" y="2860846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2" y="759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5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2" name="Google Shape;142;p5"/>
                <p:cNvSpPr/>
                <p:nvPr/>
              </p:nvSpPr>
              <p:spPr>
                <a:xfrm>
                  <a:off x="8144797" y="2775185"/>
                  <a:ext cx="29067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86" extrusionOk="0">
                      <a:moveTo>
                        <a:pt x="585" y="1"/>
                      </a:moveTo>
                      <a:cubicBezTo>
                        <a:pt x="195" y="1"/>
                        <a:pt x="0" y="478"/>
                        <a:pt x="271" y="760"/>
                      </a:cubicBezTo>
                      <a:cubicBezTo>
                        <a:pt x="361" y="846"/>
                        <a:pt x="471" y="885"/>
                        <a:pt x="578" y="885"/>
                      </a:cubicBezTo>
                      <a:cubicBezTo>
                        <a:pt x="804" y="885"/>
                        <a:pt x="1019" y="710"/>
                        <a:pt x="1019" y="445"/>
                      </a:cubicBezTo>
                      <a:cubicBezTo>
                        <a:pt x="1019" y="207"/>
                        <a:pt x="824" y="12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3" name="Google Shape;143;p5"/>
                <p:cNvSpPr/>
                <p:nvPr/>
              </p:nvSpPr>
              <p:spPr>
                <a:xfrm>
                  <a:off x="8230115" y="2775185"/>
                  <a:ext cx="29409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6" extrusionOk="0">
                      <a:moveTo>
                        <a:pt x="597" y="1"/>
                      </a:moveTo>
                      <a:cubicBezTo>
                        <a:pt x="196" y="1"/>
                        <a:pt x="1" y="478"/>
                        <a:pt x="283" y="760"/>
                      </a:cubicBezTo>
                      <a:cubicBezTo>
                        <a:pt x="370" y="846"/>
                        <a:pt x="478" y="885"/>
                        <a:pt x="584" y="885"/>
                      </a:cubicBezTo>
                      <a:cubicBezTo>
                        <a:pt x="810" y="885"/>
                        <a:pt x="1031" y="710"/>
                        <a:pt x="1031" y="445"/>
                      </a:cubicBezTo>
                      <a:cubicBezTo>
                        <a:pt x="1031" y="207"/>
                        <a:pt x="835" y="12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4" name="Google Shape;144;p5"/>
                <p:cNvSpPr/>
                <p:nvPr/>
              </p:nvSpPr>
              <p:spPr>
                <a:xfrm>
                  <a:off x="8315776" y="2775185"/>
                  <a:ext cx="29409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6" extrusionOk="0">
                      <a:moveTo>
                        <a:pt x="586" y="1"/>
                      </a:moveTo>
                      <a:cubicBezTo>
                        <a:pt x="195" y="12"/>
                        <a:pt x="0" y="478"/>
                        <a:pt x="282" y="760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7"/>
                        <a:pt x="835" y="12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5" name="Google Shape;145;p5"/>
                <p:cNvSpPr/>
                <p:nvPr/>
              </p:nvSpPr>
              <p:spPr>
                <a:xfrm>
                  <a:off x="8401123" y="2775185"/>
                  <a:ext cx="29381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6" extrusionOk="0">
                      <a:moveTo>
                        <a:pt x="585" y="1"/>
                      </a:moveTo>
                      <a:cubicBezTo>
                        <a:pt x="195" y="1"/>
                        <a:pt x="0" y="478"/>
                        <a:pt x="282" y="760"/>
                      </a:cubicBezTo>
                      <a:cubicBezTo>
                        <a:pt x="369" y="846"/>
                        <a:pt x="477" y="885"/>
                        <a:pt x="583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7"/>
                        <a:pt x="835" y="12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6" name="Google Shape;146;p5"/>
                <p:cNvSpPr/>
                <p:nvPr/>
              </p:nvSpPr>
              <p:spPr>
                <a:xfrm>
                  <a:off x="8486755" y="2775185"/>
                  <a:ext cx="29409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6" extrusionOk="0">
                      <a:moveTo>
                        <a:pt x="597" y="1"/>
                      </a:moveTo>
                      <a:cubicBezTo>
                        <a:pt x="207" y="1"/>
                        <a:pt x="1" y="478"/>
                        <a:pt x="282" y="760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5" y="885"/>
                        <a:pt x="1030" y="710"/>
                        <a:pt x="1030" y="445"/>
                      </a:cubicBezTo>
                      <a:cubicBezTo>
                        <a:pt x="1030" y="207"/>
                        <a:pt x="835" y="12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7" name="Google Shape;147;p5"/>
                <p:cNvSpPr/>
                <p:nvPr/>
              </p:nvSpPr>
              <p:spPr>
                <a:xfrm>
                  <a:off x="8144797" y="2689867"/>
                  <a:ext cx="29067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74" extrusionOk="0">
                      <a:moveTo>
                        <a:pt x="585" y="0"/>
                      </a:moveTo>
                      <a:cubicBezTo>
                        <a:pt x="195" y="0"/>
                        <a:pt x="0" y="466"/>
                        <a:pt x="271" y="748"/>
                      </a:cubicBezTo>
                      <a:cubicBezTo>
                        <a:pt x="361" y="835"/>
                        <a:pt x="471" y="874"/>
                        <a:pt x="578" y="874"/>
                      </a:cubicBezTo>
                      <a:cubicBezTo>
                        <a:pt x="804" y="874"/>
                        <a:pt x="1019" y="699"/>
                        <a:pt x="1019" y="434"/>
                      </a:cubicBezTo>
                      <a:cubicBezTo>
                        <a:pt x="1019" y="195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8" name="Google Shape;148;p5"/>
                <p:cNvSpPr/>
                <p:nvPr/>
              </p:nvSpPr>
              <p:spPr>
                <a:xfrm>
                  <a:off x="8230115" y="2689867"/>
                  <a:ext cx="29409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4" extrusionOk="0">
                      <a:moveTo>
                        <a:pt x="597" y="0"/>
                      </a:moveTo>
                      <a:cubicBezTo>
                        <a:pt x="196" y="0"/>
                        <a:pt x="1" y="466"/>
                        <a:pt x="283" y="748"/>
                      </a:cubicBezTo>
                      <a:cubicBezTo>
                        <a:pt x="370" y="835"/>
                        <a:pt x="478" y="874"/>
                        <a:pt x="584" y="874"/>
                      </a:cubicBezTo>
                      <a:cubicBezTo>
                        <a:pt x="810" y="874"/>
                        <a:pt x="1031" y="699"/>
                        <a:pt x="1031" y="434"/>
                      </a:cubicBezTo>
                      <a:cubicBezTo>
                        <a:pt x="1031" y="195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49" name="Google Shape;149;p5"/>
                <p:cNvSpPr/>
                <p:nvPr/>
              </p:nvSpPr>
              <p:spPr>
                <a:xfrm>
                  <a:off x="8315776" y="2689867"/>
                  <a:ext cx="29409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4" extrusionOk="0">
                      <a:moveTo>
                        <a:pt x="586" y="0"/>
                      </a:moveTo>
                      <a:cubicBezTo>
                        <a:pt x="195" y="0"/>
                        <a:pt x="0" y="466"/>
                        <a:pt x="282" y="748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5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0" name="Google Shape;150;p5"/>
                <p:cNvSpPr/>
                <p:nvPr/>
              </p:nvSpPr>
              <p:spPr>
                <a:xfrm>
                  <a:off x="8401123" y="2689867"/>
                  <a:ext cx="29381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4" extrusionOk="0">
                      <a:moveTo>
                        <a:pt x="585" y="0"/>
                      </a:moveTo>
                      <a:cubicBezTo>
                        <a:pt x="195" y="0"/>
                        <a:pt x="0" y="466"/>
                        <a:pt x="282" y="748"/>
                      </a:cubicBezTo>
                      <a:cubicBezTo>
                        <a:pt x="369" y="835"/>
                        <a:pt x="477" y="874"/>
                        <a:pt x="583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5"/>
                        <a:pt x="835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1" name="Google Shape;151;p5"/>
                <p:cNvSpPr/>
                <p:nvPr/>
              </p:nvSpPr>
              <p:spPr>
                <a:xfrm>
                  <a:off x="8486755" y="2689867"/>
                  <a:ext cx="29409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4" extrusionOk="0">
                      <a:moveTo>
                        <a:pt x="597" y="0"/>
                      </a:moveTo>
                      <a:cubicBezTo>
                        <a:pt x="207" y="0"/>
                        <a:pt x="1" y="466"/>
                        <a:pt x="282" y="748"/>
                      </a:cubicBezTo>
                      <a:cubicBezTo>
                        <a:pt x="373" y="835"/>
                        <a:pt x="482" y="874"/>
                        <a:pt x="589" y="874"/>
                      </a:cubicBezTo>
                      <a:cubicBezTo>
                        <a:pt x="815" y="874"/>
                        <a:pt x="1030" y="699"/>
                        <a:pt x="1030" y="434"/>
                      </a:cubicBezTo>
                      <a:cubicBezTo>
                        <a:pt x="1030" y="195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2" name="Google Shape;152;p5"/>
                <p:cNvSpPr/>
                <p:nvPr/>
              </p:nvSpPr>
              <p:spPr>
                <a:xfrm>
                  <a:off x="8144483" y="2603893"/>
                  <a:ext cx="29381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2" extrusionOk="0">
                      <a:moveTo>
                        <a:pt x="596" y="1"/>
                      </a:moveTo>
                      <a:cubicBezTo>
                        <a:pt x="195" y="1"/>
                        <a:pt x="0" y="478"/>
                        <a:pt x="282" y="749"/>
                      </a:cubicBezTo>
                      <a:cubicBezTo>
                        <a:pt x="374" y="841"/>
                        <a:pt x="486" y="882"/>
                        <a:pt x="595" y="882"/>
                      </a:cubicBezTo>
                      <a:cubicBezTo>
                        <a:pt x="819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9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3" name="Google Shape;153;p5"/>
                <p:cNvSpPr/>
                <p:nvPr/>
              </p:nvSpPr>
              <p:spPr>
                <a:xfrm>
                  <a:off x="8230115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1"/>
                      </a:moveTo>
                      <a:cubicBezTo>
                        <a:pt x="196" y="1"/>
                        <a:pt x="1" y="478"/>
                        <a:pt x="283" y="749"/>
                      </a:cubicBezTo>
                      <a:cubicBezTo>
                        <a:pt x="371" y="841"/>
                        <a:pt x="482" y="882"/>
                        <a:pt x="591" y="882"/>
                      </a:cubicBezTo>
                      <a:cubicBezTo>
                        <a:pt x="815" y="882"/>
                        <a:pt x="1031" y="708"/>
                        <a:pt x="1031" y="445"/>
                      </a:cubicBezTo>
                      <a:cubicBezTo>
                        <a:pt x="1031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4" name="Google Shape;154;p5"/>
                <p:cNvSpPr/>
                <p:nvPr/>
              </p:nvSpPr>
              <p:spPr>
                <a:xfrm>
                  <a:off x="8315776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86" y="1"/>
                      </a:moveTo>
                      <a:cubicBezTo>
                        <a:pt x="195" y="1"/>
                        <a:pt x="0" y="478"/>
                        <a:pt x="271" y="749"/>
                      </a:cubicBezTo>
                      <a:cubicBezTo>
                        <a:pt x="363" y="841"/>
                        <a:pt x="477" y="882"/>
                        <a:pt x="587" y="882"/>
                      </a:cubicBezTo>
                      <a:cubicBezTo>
                        <a:pt x="814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5" name="Google Shape;155;p5"/>
                <p:cNvSpPr/>
                <p:nvPr/>
              </p:nvSpPr>
              <p:spPr>
                <a:xfrm>
                  <a:off x="8401123" y="2603893"/>
                  <a:ext cx="29381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2" extrusionOk="0">
                      <a:moveTo>
                        <a:pt x="585" y="1"/>
                      </a:moveTo>
                      <a:cubicBezTo>
                        <a:pt x="195" y="1"/>
                        <a:pt x="0" y="478"/>
                        <a:pt x="282" y="749"/>
                      </a:cubicBezTo>
                      <a:cubicBezTo>
                        <a:pt x="370" y="841"/>
                        <a:pt x="481" y="882"/>
                        <a:pt x="590" y="882"/>
                      </a:cubicBezTo>
                      <a:cubicBezTo>
                        <a:pt x="814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6" name="Google Shape;156;p5"/>
                <p:cNvSpPr/>
                <p:nvPr/>
              </p:nvSpPr>
              <p:spPr>
                <a:xfrm>
                  <a:off x="8486755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1"/>
                      </a:moveTo>
                      <a:cubicBezTo>
                        <a:pt x="196" y="1"/>
                        <a:pt x="1" y="478"/>
                        <a:pt x="282" y="749"/>
                      </a:cubicBezTo>
                      <a:cubicBezTo>
                        <a:pt x="371" y="841"/>
                        <a:pt x="482" y="882"/>
                        <a:pt x="590" y="882"/>
                      </a:cubicBezTo>
                      <a:cubicBezTo>
                        <a:pt x="814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7" name="Google Shape;157;p5"/>
                <p:cNvSpPr/>
                <p:nvPr/>
              </p:nvSpPr>
              <p:spPr>
                <a:xfrm>
                  <a:off x="8144797" y="2518261"/>
                  <a:ext cx="29067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59"/>
                      </a:cubicBezTo>
                      <a:cubicBezTo>
                        <a:pt x="361" y="846"/>
                        <a:pt x="471" y="885"/>
                        <a:pt x="578" y="885"/>
                      </a:cubicBezTo>
                      <a:cubicBezTo>
                        <a:pt x="804" y="885"/>
                        <a:pt x="1019" y="710"/>
                        <a:pt x="1019" y="445"/>
                      </a:cubicBezTo>
                      <a:cubicBezTo>
                        <a:pt x="1019" y="20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8" name="Google Shape;158;p5"/>
                <p:cNvSpPr/>
                <p:nvPr/>
              </p:nvSpPr>
              <p:spPr>
                <a:xfrm>
                  <a:off x="8230115" y="2518261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196" y="0"/>
                        <a:pt x="1" y="477"/>
                        <a:pt x="283" y="759"/>
                      </a:cubicBezTo>
                      <a:cubicBezTo>
                        <a:pt x="370" y="846"/>
                        <a:pt x="478" y="885"/>
                        <a:pt x="584" y="885"/>
                      </a:cubicBezTo>
                      <a:cubicBezTo>
                        <a:pt x="810" y="885"/>
                        <a:pt x="1031" y="710"/>
                        <a:pt x="1031" y="445"/>
                      </a:cubicBezTo>
                      <a:cubicBezTo>
                        <a:pt x="1031" y="20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59" name="Google Shape;159;p5"/>
                <p:cNvSpPr/>
                <p:nvPr/>
              </p:nvSpPr>
              <p:spPr>
                <a:xfrm>
                  <a:off x="8315776" y="2518261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86" y="0"/>
                      </a:moveTo>
                      <a:cubicBezTo>
                        <a:pt x="195" y="0"/>
                        <a:pt x="0" y="477"/>
                        <a:pt x="282" y="759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0" name="Google Shape;160;p5"/>
                <p:cNvSpPr/>
                <p:nvPr/>
              </p:nvSpPr>
              <p:spPr>
                <a:xfrm>
                  <a:off x="8401123" y="2518261"/>
                  <a:ext cx="29381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82" y="759"/>
                      </a:cubicBezTo>
                      <a:cubicBezTo>
                        <a:pt x="369" y="846"/>
                        <a:pt x="477" y="885"/>
                        <a:pt x="583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1" name="Google Shape;161;p5"/>
                <p:cNvSpPr/>
                <p:nvPr/>
              </p:nvSpPr>
              <p:spPr>
                <a:xfrm>
                  <a:off x="8486755" y="2518261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2" y="759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5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2" name="Google Shape;162;p5"/>
                <p:cNvSpPr/>
                <p:nvPr/>
              </p:nvSpPr>
              <p:spPr>
                <a:xfrm>
                  <a:off x="8144797" y="2432914"/>
                  <a:ext cx="29067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75" extrusionOk="0">
                      <a:moveTo>
                        <a:pt x="585" y="0"/>
                      </a:moveTo>
                      <a:cubicBezTo>
                        <a:pt x="195" y="0"/>
                        <a:pt x="0" y="467"/>
                        <a:pt x="271" y="748"/>
                      </a:cubicBezTo>
                      <a:cubicBezTo>
                        <a:pt x="361" y="835"/>
                        <a:pt x="471" y="874"/>
                        <a:pt x="578" y="874"/>
                      </a:cubicBezTo>
                      <a:cubicBezTo>
                        <a:pt x="804" y="874"/>
                        <a:pt x="1019" y="699"/>
                        <a:pt x="1019" y="434"/>
                      </a:cubicBezTo>
                      <a:cubicBezTo>
                        <a:pt x="1019" y="19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3" name="Google Shape;163;p5"/>
                <p:cNvSpPr/>
                <p:nvPr/>
              </p:nvSpPr>
              <p:spPr>
                <a:xfrm>
                  <a:off x="8230115" y="2432914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0"/>
                      </a:moveTo>
                      <a:cubicBezTo>
                        <a:pt x="196" y="0"/>
                        <a:pt x="1" y="467"/>
                        <a:pt x="283" y="748"/>
                      </a:cubicBezTo>
                      <a:cubicBezTo>
                        <a:pt x="370" y="835"/>
                        <a:pt x="478" y="874"/>
                        <a:pt x="584" y="874"/>
                      </a:cubicBezTo>
                      <a:cubicBezTo>
                        <a:pt x="810" y="874"/>
                        <a:pt x="1031" y="699"/>
                        <a:pt x="1031" y="434"/>
                      </a:cubicBezTo>
                      <a:cubicBezTo>
                        <a:pt x="1031" y="19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4" name="Google Shape;164;p5"/>
                <p:cNvSpPr/>
                <p:nvPr/>
              </p:nvSpPr>
              <p:spPr>
                <a:xfrm>
                  <a:off x="8315776" y="2432914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0"/>
                      </a:moveTo>
                      <a:cubicBezTo>
                        <a:pt x="195" y="0"/>
                        <a:pt x="0" y="467"/>
                        <a:pt x="282" y="748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5" name="Google Shape;165;p5"/>
                <p:cNvSpPr/>
                <p:nvPr/>
              </p:nvSpPr>
              <p:spPr>
                <a:xfrm>
                  <a:off x="8401123" y="2432914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0"/>
                      </a:moveTo>
                      <a:cubicBezTo>
                        <a:pt x="195" y="0"/>
                        <a:pt x="0" y="467"/>
                        <a:pt x="282" y="748"/>
                      </a:cubicBezTo>
                      <a:cubicBezTo>
                        <a:pt x="369" y="835"/>
                        <a:pt x="477" y="874"/>
                        <a:pt x="583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6" name="Google Shape;166;p5"/>
                <p:cNvSpPr/>
                <p:nvPr/>
              </p:nvSpPr>
              <p:spPr>
                <a:xfrm>
                  <a:off x="8486755" y="2432914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0"/>
                      </a:moveTo>
                      <a:cubicBezTo>
                        <a:pt x="207" y="0"/>
                        <a:pt x="1" y="467"/>
                        <a:pt x="282" y="748"/>
                      </a:cubicBezTo>
                      <a:cubicBezTo>
                        <a:pt x="373" y="835"/>
                        <a:pt x="482" y="874"/>
                        <a:pt x="589" y="874"/>
                      </a:cubicBezTo>
                      <a:cubicBezTo>
                        <a:pt x="815" y="874"/>
                        <a:pt x="1030" y="699"/>
                        <a:pt x="1030" y="434"/>
                      </a:cubicBezTo>
                      <a:cubicBezTo>
                        <a:pt x="1030" y="196"/>
                        <a:pt x="835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7" name="Google Shape;167;p5"/>
                <p:cNvSpPr/>
                <p:nvPr/>
              </p:nvSpPr>
              <p:spPr>
                <a:xfrm>
                  <a:off x="8144797" y="2347253"/>
                  <a:ext cx="29067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9" h="875" extrusionOk="0">
                      <a:moveTo>
                        <a:pt x="585" y="1"/>
                      </a:moveTo>
                      <a:cubicBezTo>
                        <a:pt x="195" y="1"/>
                        <a:pt x="0" y="467"/>
                        <a:pt x="271" y="749"/>
                      </a:cubicBezTo>
                      <a:cubicBezTo>
                        <a:pt x="361" y="836"/>
                        <a:pt x="471" y="875"/>
                        <a:pt x="578" y="875"/>
                      </a:cubicBezTo>
                      <a:cubicBezTo>
                        <a:pt x="804" y="875"/>
                        <a:pt x="1019" y="700"/>
                        <a:pt x="1019" y="435"/>
                      </a:cubicBezTo>
                      <a:cubicBezTo>
                        <a:pt x="1019" y="196"/>
                        <a:pt x="824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8" name="Google Shape;168;p5"/>
                <p:cNvSpPr/>
                <p:nvPr/>
              </p:nvSpPr>
              <p:spPr>
                <a:xfrm>
                  <a:off x="8230115" y="2347253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1"/>
                      </a:moveTo>
                      <a:cubicBezTo>
                        <a:pt x="196" y="1"/>
                        <a:pt x="1" y="467"/>
                        <a:pt x="283" y="749"/>
                      </a:cubicBezTo>
                      <a:cubicBezTo>
                        <a:pt x="370" y="836"/>
                        <a:pt x="478" y="875"/>
                        <a:pt x="584" y="875"/>
                      </a:cubicBezTo>
                      <a:cubicBezTo>
                        <a:pt x="810" y="875"/>
                        <a:pt x="1031" y="700"/>
                        <a:pt x="1031" y="435"/>
                      </a:cubicBezTo>
                      <a:cubicBezTo>
                        <a:pt x="1031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69" name="Google Shape;169;p5"/>
                <p:cNvSpPr/>
                <p:nvPr/>
              </p:nvSpPr>
              <p:spPr>
                <a:xfrm>
                  <a:off x="8315776" y="2347253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1"/>
                      </a:moveTo>
                      <a:cubicBezTo>
                        <a:pt x="195" y="1"/>
                        <a:pt x="0" y="467"/>
                        <a:pt x="282" y="749"/>
                      </a:cubicBezTo>
                      <a:cubicBezTo>
                        <a:pt x="369" y="836"/>
                        <a:pt x="477" y="875"/>
                        <a:pt x="584" y="875"/>
                      </a:cubicBezTo>
                      <a:cubicBezTo>
                        <a:pt x="810" y="875"/>
                        <a:pt x="1030" y="700"/>
                        <a:pt x="1030" y="435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0" name="Google Shape;170;p5"/>
                <p:cNvSpPr/>
                <p:nvPr/>
              </p:nvSpPr>
              <p:spPr>
                <a:xfrm>
                  <a:off x="8401123" y="2347253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1"/>
                      </a:moveTo>
                      <a:cubicBezTo>
                        <a:pt x="195" y="1"/>
                        <a:pt x="0" y="467"/>
                        <a:pt x="282" y="749"/>
                      </a:cubicBezTo>
                      <a:cubicBezTo>
                        <a:pt x="369" y="836"/>
                        <a:pt x="477" y="875"/>
                        <a:pt x="583" y="875"/>
                      </a:cubicBezTo>
                      <a:cubicBezTo>
                        <a:pt x="810" y="875"/>
                        <a:pt x="1030" y="700"/>
                        <a:pt x="1030" y="435"/>
                      </a:cubicBezTo>
                      <a:cubicBezTo>
                        <a:pt x="1030" y="196"/>
                        <a:pt x="835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1" name="Google Shape;171;p5"/>
                <p:cNvSpPr/>
                <p:nvPr/>
              </p:nvSpPr>
              <p:spPr>
                <a:xfrm>
                  <a:off x="8486755" y="2347253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1"/>
                      </a:moveTo>
                      <a:cubicBezTo>
                        <a:pt x="207" y="1"/>
                        <a:pt x="1" y="467"/>
                        <a:pt x="282" y="749"/>
                      </a:cubicBezTo>
                      <a:cubicBezTo>
                        <a:pt x="373" y="836"/>
                        <a:pt x="482" y="875"/>
                        <a:pt x="589" y="875"/>
                      </a:cubicBezTo>
                      <a:cubicBezTo>
                        <a:pt x="815" y="875"/>
                        <a:pt x="1030" y="700"/>
                        <a:pt x="1030" y="435"/>
                      </a:cubicBezTo>
                      <a:cubicBezTo>
                        <a:pt x="1030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2" name="Google Shape;172;p5"/>
                <p:cNvSpPr/>
                <p:nvPr/>
              </p:nvSpPr>
              <p:spPr>
                <a:xfrm>
                  <a:off x="7802183" y="3032138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3" y="748"/>
                      </a:cubicBezTo>
                      <a:cubicBezTo>
                        <a:pt x="375" y="840"/>
                        <a:pt x="487" y="882"/>
                        <a:pt x="596" y="882"/>
                      </a:cubicBezTo>
                      <a:cubicBezTo>
                        <a:pt x="820" y="882"/>
                        <a:pt x="1031" y="707"/>
                        <a:pt x="1031" y="445"/>
                      </a:cubicBezTo>
                      <a:cubicBezTo>
                        <a:pt x="1031" y="195"/>
                        <a:pt x="836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3" name="Google Shape;173;p5"/>
                <p:cNvSpPr/>
                <p:nvPr/>
              </p:nvSpPr>
              <p:spPr>
                <a:xfrm>
                  <a:off x="7887844" y="3032138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82" y="748"/>
                      </a:cubicBezTo>
                      <a:cubicBezTo>
                        <a:pt x="371" y="840"/>
                        <a:pt x="482" y="882"/>
                        <a:pt x="590" y="882"/>
                      </a:cubicBezTo>
                      <a:cubicBezTo>
                        <a:pt x="814" y="882"/>
                        <a:pt x="1030" y="707"/>
                        <a:pt x="1030" y="445"/>
                      </a:cubicBezTo>
                      <a:cubicBezTo>
                        <a:pt x="1030" y="195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4" name="Google Shape;174;p5"/>
                <p:cNvSpPr/>
                <p:nvPr/>
              </p:nvSpPr>
              <p:spPr>
                <a:xfrm>
                  <a:off x="7973504" y="3032138"/>
                  <a:ext cx="29381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2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48"/>
                      </a:cubicBezTo>
                      <a:cubicBezTo>
                        <a:pt x="363" y="840"/>
                        <a:pt x="476" y="882"/>
                        <a:pt x="587" y="882"/>
                      </a:cubicBezTo>
                      <a:cubicBezTo>
                        <a:pt x="814" y="882"/>
                        <a:pt x="1030" y="707"/>
                        <a:pt x="1030" y="445"/>
                      </a:cubicBezTo>
                      <a:cubicBezTo>
                        <a:pt x="1030" y="195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5" name="Google Shape;175;p5"/>
                <p:cNvSpPr/>
                <p:nvPr/>
              </p:nvSpPr>
              <p:spPr>
                <a:xfrm>
                  <a:off x="8059136" y="3032138"/>
                  <a:ext cx="29096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82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72" y="748"/>
                      </a:cubicBezTo>
                      <a:cubicBezTo>
                        <a:pt x="364" y="840"/>
                        <a:pt x="476" y="882"/>
                        <a:pt x="584" y="882"/>
                      </a:cubicBezTo>
                      <a:cubicBezTo>
                        <a:pt x="808" y="882"/>
                        <a:pt x="1019" y="707"/>
                        <a:pt x="1019" y="445"/>
                      </a:cubicBezTo>
                      <a:cubicBezTo>
                        <a:pt x="1019" y="195"/>
                        <a:pt x="824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6" name="Google Shape;176;p5"/>
                <p:cNvSpPr/>
                <p:nvPr/>
              </p:nvSpPr>
              <p:spPr>
                <a:xfrm>
                  <a:off x="7802297" y="2946792"/>
                  <a:ext cx="29295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" h="875" extrusionOk="0">
                      <a:moveTo>
                        <a:pt x="580" y="0"/>
                      </a:moveTo>
                      <a:cubicBezTo>
                        <a:pt x="198" y="0"/>
                        <a:pt x="0" y="470"/>
                        <a:pt x="279" y="749"/>
                      </a:cubicBezTo>
                      <a:cubicBezTo>
                        <a:pt x="369" y="835"/>
                        <a:pt x="478" y="874"/>
                        <a:pt x="585" y="874"/>
                      </a:cubicBezTo>
                      <a:cubicBezTo>
                        <a:pt x="812" y="874"/>
                        <a:pt x="1027" y="699"/>
                        <a:pt x="1027" y="434"/>
                      </a:cubicBezTo>
                      <a:cubicBezTo>
                        <a:pt x="1027" y="196"/>
                        <a:pt x="832" y="1"/>
                        <a:pt x="593" y="1"/>
                      </a:cubicBezTo>
                      <a:cubicBezTo>
                        <a:pt x="589" y="1"/>
                        <a:pt x="584" y="0"/>
                        <a:pt x="580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7" name="Google Shape;177;p5"/>
                <p:cNvSpPr/>
                <p:nvPr/>
              </p:nvSpPr>
              <p:spPr>
                <a:xfrm>
                  <a:off x="7887844" y="2946792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1"/>
                      </a:moveTo>
                      <a:cubicBezTo>
                        <a:pt x="196" y="1"/>
                        <a:pt x="1" y="467"/>
                        <a:pt x="282" y="749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8" name="Google Shape;178;p5"/>
                <p:cNvSpPr/>
                <p:nvPr/>
              </p:nvSpPr>
              <p:spPr>
                <a:xfrm>
                  <a:off x="7973504" y="2946792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1"/>
                      </a:moveTo>
                      <a:cubicBezTo>
                        <a:pt x="195" y="1"/>
                        <a:pt x="0" y="467"/>
                        <a:pt x="271" y="749"/>
                      </a:cubicBezTo>
                      <a:cubicBezTo>
                        <a:pt x="361" y="835"/>
                        <a:pt x="472" y="874"/>
                        <a:pt x="580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24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79" name="Google Shape;179;p5"/>
                <p:cNvSpPr/>
                <p:nvPr/>
              </p:nvSpPr>
              <p:spPr>
                <a:xfrm>
                  <a:off x="8059222" y="2946792"/>
                  <a:ext cx="29010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7" h="875" extrusionOk="0">
                      <a:moveTo>
                        <a:pt x="570" y="0"/>
                      </a:moveTo>
                      <a:cubicBezTo>
                        <a:pt x="188" y="0"/>
                        <a:pt x="1" y="470"/>
                        <a:pt x="269" y="749"/>
                      </a:cubicBezTo>
                      <a:cubicBezTo>
                        <a:pt x="359" y="835"/>
                        <a:pt x="468" y="874"/>
                        <a:pt x="575" y="874"/>
                      </a:cubicBezTo>
                      <a:cubicBezTo>
                        <a:pt x="801" y="874"/>
                        <a:pt x="1016" y="699"/>
                        <a:pt x="1016" y="434"/>
                      </a:cubicBezTo>
                      <a:cubicBezTo>
                        <a:pt x="1016" y="196"/>
                        <a:pt x="821" y="1"/>
                        <a:pt x="583" y="1"/>
                      </a:cubicBezTo>
                      <a:cubicBezTo>
                        <a:pt x="579" y="1"/>
                        <a:pt x="574" y="0"/>
                        <a:pt x="570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0" name="Google Shape;180;p5"/>
                <p:cNvSpPr/>
                <p:nvPr/>
              </p:nvSpPr>
              <p:spPr>
                <a:xfrm>
                  <a:off x="7802183" y="2860846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3" y="759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6" y="885"/>
                        <a:pt x="1031" y="710"/>
                        <a:pt x="1031" y="445"/>
                      </a:cubicBezTo>
                      <a:cubicBezTo>
                        <a:pt x="1031" y="206"/>
                        <a:pt x="836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1" name="Google Shape;181;p5"/>
                <p:cNvSpPr/>
                <p:nvPr/>
              </p:nvSpPr>
              <p:spPr>
                <a:xfrm>
                  <a:off x="7887844" y="2860846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82" y="759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2" name="Google Shape;182;p5"/>
                <p:cNvSpPr/>
                <p:nvPr/>
              </p:nvSpPr>
              <p:spPr>
                <a:xfrm>
                  <a:off x="7973504" y="2860846"/>
                  <a:ext cx="29381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59"/>
                      </a:cubicBezTo>
                      <a:cubicBezTo>
                        <a:pt x="361" y="846"/>
                        <a:pt x="472" y="885"/>
                        <a:pt x="580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3" name="Google Shape;183;p5"/>
                <p:cNvSpPr/>
                <p:nvPr/>
              </p:nvSpPr>
              <p:spPr>
                <a:xfrm>
                  <a:off x="8059136" y="2860846"/>
                  <a:ext cx="29096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82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72" y="748"/>
                      </a:cubicBezTo>
                      <a:cubicBezTo>
                        <a:pt x="364" y="840"/>
                        <a:pt x="476" y="882"/>
                        <a:pt x="584" y="882"/>
                      </a:cubicBezTo>
                      <a:cubicBezTo>
                        <a:pt x="808" y="882"/>
                        <a:pt x="1019" y="707"/>
                        <a:pt x="1019" y="445"/>
                      </a:cubicBezTo>
                      <a:cubicBezTo>
                        <a:pt x="1019" y="206"/>
                        <a:pt x="824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4" name="Google Shape;184;p5"/>
                <p:cNvSpPr/>
                <p:nvPr/>
              </p:nvSpPr>
              <p:spPr>
                <a:xfrm>
                  <a:off x="7802183" y="2775185"/>
                  <a:ext cx="29409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6" extrusionOk="0">
                      <a:moveTo>
                        <a:pt x="597" y="1"/>
                      </a:moveTo>
                      <a:cubicBezTo>
                        <a:pt x="207" y="1"/>
                        <a:pt x="1" y="478"/>
                        <a:pt x="283" y="760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6" y="885"/>
                        <a:pt x="1031" y="710"/>
                        <a:pt x="1031" y="445"/>
                      </a:cubicBezTo>
                      <a:cubicBezTo>
                        <a:pt x="1031" y="207"/>
                        <a:pt x="836" y="12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5" name="Google Shape;185;p5"/>
                <p:cNvSpPr/>
                <p:nvPr/>
              </p:nvSpPr>
              <p:spPr>
                <a:xfrm>
                  <a:off x="7887844" y="2775185"/>
                  <a:ext cx="29409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6" extrusionOk="0">
                      <a:moveTo>
                        <a:pt x="586" y="1"/>
                      </a:moveTo>
                      <a:cubicBezTo>
                        <a:pt x="196" y="12"/>
                        <a:pt x="1" y="478"/>
                        <a:pt x="282" y="760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7"/>
                        <a:pt x="835" y="12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6" name="Google Shape;186;p5"/>
                <p:cNvSpPr/>
                <p:nvPr/>
              </p:nvSpPr>
              <p:spPr>
                <a:xfrm>
                  <a:off x="7973504" y="2775185"/>
                  <a:ext cx="29381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6" extrusionOk="0">
                      <a:moveTo>
                        <a:pt x="585" y="1"/>
                      </a:moveTo>
                      <a:cubicBezTo>
                        <a:pt x="195" y="12"/>
                        <a:pt x="0" y="478"/>
                        <a:pt x="271" y="760"/>
                      </a:cubicBezTo>
                      <a:cubicBezTo>
                        <a:pt x="361" y="846"/>
                        <a:pt x="472" y="885"/>
                        <a:pt x="580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7"/>
                        <a:pt x="824" y="12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7" name="Google Shape;187;p5"/>
                <p:cNvSpPr/>
                <p:nvPr/>
              </p:nvSpPr>
              <p:spPr>
                <a:xfrm>
                  <a:off x="8059136" y="2775185"/>
                  <a:ext cx="29096" cy="25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86" extrusionOk="0">
                      <a:moveTo>
                        <a:pt x="586" y="1"/>
                      </a:moveTo>
                      <a:cubicBezTo>
                        <a:pt x="196" y="1"/>
                        <a:pt x="1" y="478"/>
                        <a:pt x="272" y="760"/>
                      </a:cubicBezTo>
                      <a:cubicBezTo>
                        <a:pt x="362" y="846"/>
                        <a:pt x="471" y="885"/>
                        <a:pt x="578" y="885"/>
                      </a:cubicBezTo>
                      <a:cubicBezTo>
                        <a:pt x="804" y="885"/>
                        <a:pt x="1019" y="710"/>
                        <a:pt x="1019" y="445"/>
                      </a:cubicBezTo>
                      <a:cubicBezTo>
                        <a:pt x="1019" y="207"/>
                        <a:pt x="824" y="12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8" name="Google Shape;188;p5"/>
                <p:cNvSpPr/>
                <p:nvPr/>
              </p:nvSpPr>
              <p:spPr>
                <a:xfrm>
                  <a:off x="7802183" y="2689867"/>
                  <a:ext cx="29409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4" extrusionOk="0">
                      <a:moveTo>
                        <a:pt x="597" y="0"/>
                      </a:moveTo>
                      <a:cubicBezTo>
                        <a:pt x="207" y="0"/>
                        <a:pt x="1" y="466"/>
                        <a:pt x="283" y="748"/>
                      </a:cubicBezTo>
                      <a:cubicBezTo>
                        <a:pt x="373" y="835"/>
                        <a:pt x="482" y="874"/>
                        <a:pt x="589" y="874"/>
                      </a:cubicBezTo>
                      <a:cubicBezTo>
                        <a:pt x="816" y="874"/>
                        <a:pt x="1031" y="699"/>
                        <a:pt x="1031" y="434"/>
                      </a:cubicBezTo>
                      <a:cubicBezTo>
                        <a:pt x="1031" y="195"/>
                        <a:pt x="836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89" name="Google Shape;189;p5"/>
                <p:cNvSpPr/>
                <p:nvPr/>
              </p:nvSpPr>
              <p:spPr>
                <a:xfrm>
                  <a:off x="7887844" y="2689867"/>
                  <a:ext cx="29409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4" extrusionOk="0">
                      <a:moveTo>
                        <a:pt x="586" y="0"/>
                      </a:moveTo>
                      <a:cubicBezTo>
                        <a:pt x="196" y="0"/>
                        <a:pt x="1" y="466"/>
                        <a:pt x="282" y="748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5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0" name="Google Shape;190;p5"/>
                <p:cNvSpPr/>
                <p:nvPr/>
              </p:nvSpPr>
              <p:spPr>
                <a:xfrm>
                  <a:off x="7973504" y="2689867"/>
                  <a:ext cx="29381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4" extrusionOk="0">
                      <a:moveTo>
                        <a:pt x="585" y="0"/>
                      </a:moveTo>
                      <a:cubicBezTo>
                        <a:pt x="195" y="0"/>
                        <a:pt x="0" y="466"/>
                        <a:pt x="271" y="748"/>
                      </a:cubicBezTo>
                      <a:cubicBezTo>
                        <a:pt x="361" y="835"/>
                        <a:pt x="472" y="874"/>
                        <a:pt x="580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5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1" name="Google Shape;191;p5"/>
                <p:cNvSpPr/>
                <p:nvPr/>
              </p:nvSpPr>
              <p:spPr>
                <a:xfrm>
                  <a:off x="8059136" y="2689867"/>
                  <a:ext cx="29096" cy="24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74" extrusionOk="0">
                      <a:moveTo>
                        <a:pt x="586" y="0"/>
                      </a:moveTo>
                      <a:cubicBezTo>
                        <a:pt x="196" y="0"/>
                        <a:pt x="1" y="466"/>
                        <a:pt x="272" y="748"/>
                      </a:cubicBezTo>
                      <a:cubicBezTo>
                        <a:pt x="362" y="835"/>
                        <a:pt x="471" y="874"/>
                        <a:pt x="578" y="874"/>
                      </a:cubicBezTo>
                      <a:cubicBezTo>
                        <a:pt x="804" y="874"/>
                        <a:pt x="1019" y="699"/>
                        <a:pt x="1019" y="434"/>
                      </a:cubicBezTo>
                      <a:cubicBezTo>
                        <a:pt x="1019" y="195"/>
                        <a:pt x="824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2" name="Google Shape;192;p5"/>
                <p:cNvSpPr/>
                <p:nvPr/>
              </p:nvSpPr>
              <p:spPr>
                <a:xfrm>
                  <a:off x="7802183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1"/>
                      </a:moveTo>
                      <a:cubicBezTo>
                        <a:pt x="196" y="1"/>
                        <a:pt x="1" y="478"/>
                        <a:pt x="283" y="749"/>
                      </a:cubicBezTo>
                      <a:cubicBezTo>
                        <a:pt x="371" y="841"/>
                        <a:pt x="482" y="882"/>
                        <a:pt x="591" y="882"/>
                      </a:cubicBezTo>
                      <a:cubicBezTo>
                        <a:pt x="815" y="882"/>
                        <a:pt x="1031" y="708"/>
                        <a:pt x="1031" y="445"/>
                      </a:cubicBezTo>
                      <a:cubicBezTo>
                        <a:pt x="1031" y="196"/>
                        <a:pt x="836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3" name="Google Shape;193;p5"/>
                <p:cNvSpPr/>
                <p:nvPr/>
              </p:nvSpPr>
              <p:spPr>
                <a:xfrm>
                  <a:off x="7887844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86" y="1"/>
                      </a:moveTo>
                      <a:cubicBezTo>
                        <a:pt x="196" y="1"/>
                        <a:pt x="1" y="478"/>
                        <a:pt x="282" y="749"/>
                      </a:cubicBezTo>
                      <a:cubicBezTo>
                        <a:pt x="371" y="841"/>
                        <a:pt x="482" y="882"/>
                        <a:pt x="590" y="882"/>
                      </a:cubicBezTo>
                      <a:cubicBezTo>
                        <a:pt x="814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4" name="Google Shape;194;p5"/>
                <p:cNvSpPr/>
                <p:nvPr/>
              </p:nvSpPr>
              <p:spPr>
                <a:xfrm>
                  <a:off x="7973504" y="2603893"/>
                  <a:ext cx="29381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2" extrusionOk="0">
                      <a:moveTo>
                        <a:pt x="585" y="1"/>
                      </a:moveTo>
                      <a:cubicBezTo>
                        <a:pt x="195" y="1"/>
                        <a:pt x="0" y="478"/>
                        <a:pt x="271" y="749"/>
                      </a:cubicBezTo>
                      <a:cubicBezTo>
                        <a:pt x="363" y="841"/>
                        <a:pt x="476" y="882"/>
                        <a:pt x="587" y="882"/>
                      </a:cubicBezTo>
                      <a:cubicBezTo>
                        <a:pt x="814" y="882"/>
                        <a:pt x="1030" y="708"/>
                        <a:pt x="1030" y="445"/>
                      </a:cubicBezTo>
                      <a:cubicBezTo>
                        <a:pt x="1030" y="196"/>
                        <a:pt x="824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5" name="Google Shape;195;p5"/>
                <p:cNvSpPr/>
                <p:nvPr/>
              </p:nvSpPr>
              <p:spPr>
                <a:xfrm>
                  <a:off x="8058823" y="2603893"/>
                  <a:ext cx="29409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2" extrusionOk="0">
                      <a:moveTo>
                        <a:pt x="597" y="1"/>
                      </a:moveTo>
                      <a:cubicBezTo>
                        <a:pt x="207" y="1"/>
                        <a:pt x="1" y="478"/>
                        <a:pt x="283" y="749"/>
                      </a:cubicBezTo>
                      <a:cubicBezTo>
                        <a:pt x="371" y="841"/>
                        <a:pt x="482" y="882"/>
                        <a:pt x="591" y="882"/>
                      </a:cubicBezTo>
                      <a:cubicBezTo>
                        <a:pt x="815" y="882"/>
                        <a:pt x="1030" y="708"/>
                        <a:pt x="1030" y="445"/>
                      </a:cubicBezTo>
                      <a:cubicBezTo>
                        <a:pt x="1030" y="196"/>
                        <a:pt x="835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6" name="Google Shape;196;p5"/>
                <p:cNvSpPr/>
                <p:nvPr/>
              </p:nvSpPr>
              <p:spPr>
                <a:xfrm>
                  <a:off x="7802183" y="2518261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97" y="0"/>
                      </a:moveTo>
                      <a:cubicBezTo>
                        <a:pt x="207" y="0"/>
                        <a:pt x="1" y="477"/>
                        <a:pt x="283" y="759"/>
                      </a:cubicBezTo>
                      <a:cubicBezTo>
                        <a:pt x="373" y="846"/>
                        <a:pt x="482" y="885"/>
                        <a:pt x="589" y="885"/>
                      </a:cubicBezTo>
                      <a:cubicBezTo>
                        <a:pt x="816" y="885"/>
                        <a:pt x="1031" y="710"/>
                        <a:pt x="1031" y="445"/>
                      </a:cubicBezTo>
                      <a:cubicBezTo>
                        <a:pt x="1031" y="206"/>
                        <a:pt x="836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7" name="Google Shape;197;p5"/>
                <p:cNvSpPr/>
                <p:nvPr/>
              </p:nvSpPr>
              <p:spPr>
                <a:xfrm>
                  <a:off x="7887844" y="2518261"/>
                  <a:ext cx="29409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85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82" y="759"/>
                      </a:cubicBezTo>
                      <a:cubicBezTo>
                        <a:pt x="369" y="846"/>
                        <a:pt x="477" y="885"/>
                        <a:pt x="584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8" name="Google Shape;198;p5"/>
                <p:cNvSpPr/>
                <p:nvPr/>
              </p:nvSpPr>
              <p:spPr>
                <a:xfrm>
                  <a:off x="7973504" y="2518261"/>
                  <a:ext cx="29381" cy="25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85" extrusionOk="0">
                      <a:moveTo>
                        <a:pt x="585" y="0"/>
                      </a:moveTo>
                      <a:cubicBezTo>
                        <a:pt x="195" y="0"/>
                        <a:pt x="0" y="477"/>
                        <a:pt x="271" y="759"/>
                      </a:cubicBezTo>
                      <a:cubicBezTo>
                        <a:pt x="361" y="846"/>
                        <a:pt x="472" y="885"/>
                        <a:pt x="580" y="885"/>
                      </a:cubicBezTo>
                      <a:cubicBezTo>
                        <a:pt x="810" y="885"/>
                        <a:pt x="1030" y="710"/>
                        <a:pt x="1030" y="445"/>
                      </a:cubicBezTo>
                      <a:cubicBezTo>
                        <a:pt x="1030" y="20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199" name="Google Shape;199;p5"/>
                <p:cNvSpPr/>
                <p:nvPr/>
              </p:nvSpPr>
              <p:spPr>
                <a:xfrm>
                  <a:off x="8059136" y="2518261"/>
                  <a:ext cx="29096" cy="25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82" extrusionOk="0">
                      <a:moveTo>
                        <a:pt x="586" y="0"/>
                      </a:moveTo>
                      <a:cubicBezTo>
                        <a:pt x="196" y="0"/>
                        <a:pt x="1" y="477"/>
                        <a:pt x="272" y="748"/>
                      </a:cubicBezTo>
                      <a:cubicBezTo>
                        <a:pt x="364" y="840"/>
                        <a:pt x="476" y="881"/>
                        <a:pt x="584" y="881"/>
                      </a:cubicBezTo>
                      <a:cubicBezTo>
                        <a:pt x="808" y="881"/>
                        <a:pt x="1019" y="707"/>
                        <a:pt x="1019" y="445"/>
                      </a:cubicBezTo>
                      <a:cubicBezTo>
                        <a:pt x="1019" y="206"/>
                        <a:pt x="824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0" name="Google Shape;200;p5"/>
                <p:cNvSpPr/>
                <p:nvPr/>
              </p:nvSpPr>
              <p:spPr>
                <a:xfrm>
                  <a:off x="7802183" y="2432914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0"/>
                      </a:moveTo>
                      <a:cubicBezTo>
                        <a:pt x="207" y="0"/>
                        <a:pt x="1" y="467"/>
                        <a:pt x="283" y="748"/>
                      </a:cubicBezTo>
                      <a:cubicBezTo>
                        <a:pt x="373" y="835"/>
                        <a:pt x="482" y="874"/>
                        <a:pt x="589" y="874"/>
                      </a:cubicBezTo>
                      <a:cubicBezTo>
                        <a:pt x="816" y="874"/>
                        <a:pt x="1031" y="699"/>
                        <a:pt x="1031" y="434"/>
                      </a:cubicBezTo>
                      <a:cubicBezTo>
                        <a:pt x="1031" y="196"/>
                        <a:pt x="836" y="0"/>
                        <a:pt x="597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1" name="Google Shape;201;p5"/>
                <p:cNvSpPr/>
                <p:nvPr/>
              </p:nvSpPr>
              <p:spPr>
                <a:xfrm>
                  <a:off x="7887844" y="2432914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0"/>
                      </a:moveTo>
                      <a:cubicBezTo>
                        <a:pt x="196" y="0"/>
                        <a:pt x="1" y="467"/>
                        <a:pt x="282" y="748"/>
                      </a:cubicBezTo>
                      <a:cubicBezTo>
                        <a:pt x="369" y="835"/>
                        <a:pt x="477" y="874"/>
                        <a:pt x="584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35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2" name="Google Shape;202;p5"/>
                <p:cNvSpPr/>
                <p:nvPr/>
              </p:nvSpPr>
              <p:spPr>
                <a:xfrm>
                  <a:off x="7973504" y="2432914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0"/>
                      </a:moveTo>
                      <a:cubicBezTo>
                        <a:pt x="195" y="0"/>
                        <a:pt x="0" y="467"/>
                        <a:pt x="271" y="748"/>
                      </a:cubicBezTo>
                      <a:cubicBezTo>
                        <a:pt x="361" y="835"/>
                        <a:pt x="472" y="874"/>
                        <a:pt x="580" y="874"/>
                      </a:cubicBezTo>
                      <a:cubicBezTo>
                        <a:pt x="810" y="874"/>
                        <a:pt x="1030" y="699"/>
                        <a:pt x="1030" y="434"/>
                      </a:cubicBezTo>
                      <a:cubicBezTo>
                        <a:pt x="1030" y="196"/>
                        <a:pt x="824" y="0"/>
                        <a:pt x="58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3" name="Google Shape;203;p5"/>
                <p:cNvSpPr/>
                <p:nvPr/>
              </p:nvSpPr>
              <p:spPr>
                <a:xfrm>
                  <a:off x="8059136" y="2432914"/>
                  <a:ext cx="29096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75" extrusionOk="0">
                      <a:moveTo>
                        <a:pt x="586" y="0"/>
                      </a:moveTo>
                      <a:cubicBezTo>
                        <a:pt x="196" y="0"/>
                        <a:pt x="1" y="467"/>
                        <a:pt x="272" y="748"/>
                      </a:cubicBezTo>
                      <a:cubicBezTo>
                        <a:pt x="362" y="835"/>
                        <a:pt x="471" y="874"/>
                        <a:pt x="578" y="874"/>
                      </a:cubicBezTo>
                      <a:cubicBezTo>
                        <a:pt x="804" y="874"/>
                        <a:pt x="1019" y="699"/>
                        <a:pt x="1019" y="434"/>
                      </a:cubicBezTo>
                      <a:cubicBezTo>
                        <a:pt x="1019" y="196"/>
                        <a:pt x="824" y="0"/>
                        <a:pt x="58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4" name="Google Shape;204;p5"/>
                <p:cNvSpPr/>
                <p:nvPr/>
              </p:nvSpPr>
              <p:spPr>
                <a:xfrm>
                  <a:off x="7802183" y="2347253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97" y="1"/>
                      </a:moveTo>
                      <a:cubicBezTo>
                        <a:pt x="207" y="1"/>
                        <a:pt x="1" y="467"/>
                        <a:pt x="283" y="749"/>
                      </a:cubicBezTo>
                      <a:cubicBezTo>
                        <a:pt x="373" y="836"/>
                        <a:pt x="482" y="875"/>
                        <a:pt x="589" y="875"/>
                      </a:cubicBezTo>
                      <a:cubicBezTo>
                        <a:pt x="816" y="875"/>
                        <a:pt x="1031" y="700"/>
                        <a:pt x="1031" y="435"/>
                      </a:cubicBezTo>
                      <a:cubicBezTo>
                        <a:pt x="1031" y="196"/>
                        <a:pt x="836" y="1"/>
                        <a:pt x="597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5" name="Google Shape;205;p5"/>
                <p:cNvSpPr/>
                <p:nvPr/>
              </p:nvSpPr>
              <p:spPr>
                <a:xfrm>
                  <a:off x="7887844" y="2347253"/>
                  <a:ext cx="29409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" h="875" extrusionOk="0">
                      <a:moveTo>
                        <a:pt x="586" y="1"/>
                      </a:moveTo>
                      <a:cubicBezTo>
                        <a:pt x="196" y="1"/>
                        <a:pt x="1" y="467"/>
                        <a:pt x="282" y="749"/>
                      </a:cubicBezTo>
                      <a:cubicBezTo>
                        <a:pt x="369" y="836"/>
                        <a:pt x="477" y="875"/>
                        <a:pt x="584" y="875"/>
                      </a:cubicBezTo>
                      <a:cubicBezTo>
                        <a:pt x="810" y="875"/>
                        <a:pt x="1030" y="700"/>
                        <a:pt x="1030" y="435"/>
                      </a:cubicBezTo>
                      <a:cubicBezTo>
                        <a:pt x="1030" y="196"/>
                        <a:pt x="835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6" name="Google Shape;206;p5"/>
                <p:cNvSpPr/>
                <p:nvPr/>
              </p:nvSpPr>
              <p:spPr>
                <a:xfrm>
                  <a:off x="7973504" y="2347253"/>
                  <a:ext cx="29381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" h="875" extrusionOk="0">
                      <a:moveTo>
                        <a:pt x="585" y="1"/>
                      </a:moveTo>
                      <a:cubicBezTo>
                        <a:pt x="195" y="1"/>
                        <a:pt x="0" y="467"/>
                        <a:pt x="271" y="749"/>
                      </a:cubicBezTo>
                      <a:cubicBezTo>
                        <a:pt x="361" y="836"/>
                        <a:pt x="472" y="875"/>
                        <a:pt x="580" y="875"/>
                      </a:cubicBezTo>
                      <a:cubicBezTo>
                        <a:pt x="810" y="875"/>
                        <a:pt x="1030" y="700"/>
                        <a:pt x="1030" y="435"/>
                      </a:cubicBezTo>
                      <a:cubicBezTo>
                        <a:pt x="1030" y="196"/>
                        <a:pt x="824" y="1"/>
                        <a:pt x="585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  <p:sp>
              <p:nvSpPr>
                <p:cNvPr id="207" name="Google Shape;207;p5"/>
                <p:cNvSpPr/>
                <p:nvPr/>
              </p:nvSpPr>
              <p:spPr>
                <a:xfrm>
                  <a:off x="8059136" y="2347253"/>
                  <a:ext cx="29096" cy="249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0" h="875" extrusionOk="0">
                      <a:moveTo>
                        <a:pt x="586" y="1"/>
                      </a:moveTo>
                      <a:cubicBezTo>
                        <a:pt x="196" y="1"/>
                        <a:pt x="1" y="467"/>
                        <a:pt x="272" y="749"/>
                      </a:cubicBezTo>
                      <a:cubicBezTo>
                        <a:pt x="362" y="836"/>
                        <a:pt x="471" y="875"/>
                        <a:pt x="578" y="875"/>
                      </a:cubicBezTo>
                      <a:cubicBezTo>
                        <a:pt x="804" y="875"/>
                        <a:pt x="1019" y="700"/>
                        <a:pt x="1019" y="435"/>
                      </a:cubicBezTo>
                      <a:cubicBezTo>
                        <a:pt x="1019" y="196"/>
                        <a:pt x="824" y="1"/>
                        <a:pt x="586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67"/>
                </a:p>
              </p:txBody>
            </p:sp>
          </p:grpSp>
        </p:grpSp>
        <p:sp>
          <p:nvSpPr>
            <p:cNvPr id="208" name="Google Shape;208;p5"/>
            <p:cNvSpPr/>
            <p:nvPr/>
          </p:nvSpPr>
          <p:spPr>
            <a:xfrm>
              <a:off x="8613755" y="562788"/>
              <a:ext cx="342015" cy="341986"/>
            </a:xfrm>
            <a:custGeom>
              <a:avLst/>
              <a:gdLst/>
              <a:ahLst/>
              <a:cxnLst/>
              <a:rect l="l" t="t" r="r" b="b"/>
              <a:pathLst>
                <a:path w="11990" h="11989" extrusionOk="0">
                  <a:moveTo>
                    <a:pt x="4098" y="0"/>
                  </a:moveTo>
                  <a:lnTo>
                    <a:pt x="4098" y="4108"/>
                  </a:lnTo>
                  <a:lnTo>
                    <a:pt x="1" y="4108"/>
                  </a:lnTo>
                  <a:lnTo>
                    <a:pt x="1" y="7891"/>
                  </a:lnTo>
                  <a:lnTo>
                    <a:pt x="4098" y="7891"/>
                  </a:lnTo>
                  <a:lnTo>
                    <a:pt x="4098" y="11989"/>
                  </a:lnTo>
                  <a:lnTo>
                    <a:pt x="7881" y="11989"/>
                  </a:lnTo>
                  <a:lnTo>
                    <a:pt x="7881" y="7891"/>
                  </a:lnTo>
                  <a:lnTo>
                    <a:pt x="11989" y="7891"/>
                  </a:lnTo>
                  <a:lnTo>
                    <a:pt x="11989" y="4108"/>
                  </a:lnTo>
                  <a:lnTo>
                    <a:pt x="7881" y="4108"/>
                  </a:lnTo>
                  <a:lnTo>
                    <a:pt x="7881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09" name="Google Shape;209;p5"/>
            <p:cNvGrpSpPr/>
            <p:nvPr/>
          </p:nvGrpSpPr>
          <p:grpSpPr>
            <a:xfrm rot="10800000">
              <a:off x="8424622" y="4350796"/>
              <a:ext cx="720294" cy="507663"/>
              <a:chOff x="713225" y="3372064"/>
              <a:chExt cx="5987479" cy="507663"/>
            </a:xfrm>
          </p:grpSpPr>
          <p:sp>
            <p:nvSpPr>
              <p:cNvPr id="210" name="Google Shape;210;p5"/>
              <p:cNvSpPr/>
              <p:nvPr/>
            </p:nvSpPr>
            <p:spPr>
              <a:xfrm>
                <a:off x="713398" y="3372064"/>
                <a:ext cx="5987306" cy="156377"/>
              </a:xfrm>
              <a:custGeom>
                <a:avLst/>
                <a:gdLst/>
                <a:ahLst/>
                <a:cxnLst/>
                <a:rect l="l" t="t" r="r" b="b"/>
                <a:pathLst>
                  <a:path w="260148" h="43803" extrusionOk="0">
                    <a:moveTo>
                      <a:pt x="0" y="0"/>
                    </a:moveTo>
                    <a:lnTo>
                      <a:pt x="0" y="43803"/>
                    </a:lnTo>
                    <a:lnTo>
                      <a:pt x="260148" y="43803"/>
                    </a:lnTo>
                    <a:lnTo>
                      <a:pt x="260148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11" name="Google Shape;211;p5"/>
              <p:cNvSpPr/>
              <p:nvPr/>
            </p:nvSpPr>
            <p:spPr>
              <a:xfrm>
                <a:off x="713225" y="3723350"/>
                <a:ext cx="3773447" cy="156377"/>
              </a:xfrm>
              <a:custGeom>
                <a:avLst/>
                <a:gdLst/>
                <a:ahLst/>
                <a:cxnLst/>
                <a:rect l="l" t="t" r="r" b="b"/>
                <a:pathLst>
                  <a:path w="260148" h="43803" extrusionOk="0">
                    <a:moveTo>
                      <a:pt x="0" y="0"/>
                    </a:moveTo>
                    <a:lnTo>
                      <a:pt x="0" y="43803"/>
                    </a:lnTo>
                    <a:lnTo>
                      <a:pt x="260148" y="43803"/>
                    </a:lnTo>
                    <a:lnTo>
                      <a:pt x="26014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1212064"/>
      </p:ext>
    </p:extLst>
  </p:cSld>
  <p:clrMapOvr>
    <a:masterClrMapping/>
  </p:clrMapOvr>
</p:sldLayout>
</file>

<file path=ppt/slideLayouts/slideLayout26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0355130"/>
      </p:ext>
    </p:extLst>
  </p:cSld>
  <p:clrMapOvr>
    <a:masterClrMapping/>
  </p:clrMapOvr>
</p:sldLayout>
</file>

<file path=ppt/slideLayouts/slideLayout2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7988740"/>
      </p:ext>
    </p:extLst>
  </p:cSld>
  <p:clrMapOvr>
    <a:masterClrMapping/>
  </p:clrMapOvr>
</p:sldLayout>
</file>

<file path=ppt/slideLayouts/slideLayout2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571792"/>
      </p:ext>
    </p:extLst>
  </p:cSld>
  <p:clrMapOvr>
    <a:masterClrMapping/>
  </p:clrMapOvr>
</p:sldLayout>
</file>

<file path=ppt/slideLayouts/slideLayout2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2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" name="Google Shape;2611;g3681a448973_2_1559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2" name="Google Shape;2612;g3681a448973_2_155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3" name="Google Shape;2613;g3681a448973_2_155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614" name="Google Shape;2614;g3681a448973_2_155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615" name="Google Shape;2615;g3681a448973_2_155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616" name="Google Shape;2616;g3681a448973_2_155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7" name="Google Shape;2617;g3681a448973_2_155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618" name="Google Shape;2618;g3681a448973_2_155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065319"/>
      </p:ext>
    </p:extLst>
  </p:cSld>
  <p:clrMapOvr>
    <a:masterClrMapping/>
  </p:clrMapOvr>
</p:sldLayout>
</file>

<file path=ppt/slideLayouts/slideLayout26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6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6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6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2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0" name="Google Shape;2620;g3681a448973_2_1560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21" name="Google Shape;2621;g3681a448973_2_1560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2" name="Google Shape;2622;g3681a448973_2_156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3" name="Google Shape;2623;g3681a448973_2_1560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624" name="Google Shape;2624;g3681a448973_2_156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625" name="Google Shape;2625;g3681a448973_2_1560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6" name="Google Shape;2626;g3681a448973_2_1560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691941"/>
      </p:ext>
    </p:extLst>
  </p:cSld>
  <p:clrMapOvr>
    <a:masterClrMapping/>
  </p:clrMapOvr>
</p:sldLayout>
</file>

<file path=ppt/slideLayouts/slideLayout26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2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" name="Google Shape;852;p178"/>
          <p:cNvSpPr/>
          <p:nvPr/>
        </p:nvSpPr>
        <p:spPr>
          <a:xfrm>
            <a:off x="0" y="-9600"/>
            <a:ext cx="304800" cy="6877200"/>
          </a:xfrm>
          <a:prstGeom prst="rect">
            <a:avLst/>
          </a:prstGeom>
          <a:solidFill>
            <a:srgbClr val="00ACC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110168804"/>
      </p:ext>
    </p:extLst>
  </p:cSld>
  <p:clrMapOvr>
    <a:masterClrMapping/>
  </p:clrMapOvr>
</p:sldLayout>
</file>

<file path=ppt/slideLayouts/slideLayout2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lide titl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D8FE6969-5F79-89C5-5A02-20946A4BB02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21126" y="1914717"/>
            <a:ext cx="5940441" cy="3468772"/>
          </a:xfrm>
        </p:spPr>
        <p:txBody>
          <a:bodyPr anchor="t"/>
          <a:lstStyle>
            <a:lvl1pPr marL="287338" indent="-287338"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context bullets</a:t>
            </a:r>
          </a:p>
        </p:txBody>
      </p:sp>
    </p:spTree>
    <p:extLst>
      <p:ext uri="{BB962C8B-B14F-4D97-AF65-F5344CB8AC3E}">
        <p14:creationId xmlns:p14="http://schemas.microsoft.com/office/powerpoint/2010/main" val="3884236417"/>
      </p:ext>
    </p:extLst>
  </p:cSld>
  <p:clrMapOvr>
    <a:masterClrMapping/>
  </p:clrMapOvr>
</p:sldLayout>
</file>

<file path=ppt/slideLayouts/slideLayout2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26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2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2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26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 3">
    <p:spTree>
      <p:nvGrpSpPr>
        <p:cNvPr id="1" name="Shape 2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8" name="Google Shape;2628;g3681a448973_2_1561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29" name="Google Shape;2629;g3681a448973_2_1561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30" name="Google Shape;2630;g3681a448973_2_1561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31" name="Google Shape;2631;g3681a448973_2_1561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2" name="Google Shape;2632;g3681a448973_2_1561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33" name="Google Shape;2633;g3681a448973_2_1561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34" name="Google Shape;2634;g3681a448973_2_156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8/2026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2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713923"/>
      </p:ext>
    </p:extLst>
  </p:cSld>
  <p:clrMapOvr>
    <a:masterClrMapping/>
  </p:clrMapOvr>
</p:sldLayout>
</file>

<file path=ppt/slideLayouts/slideLayout2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3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3963911"/>
      </p:ext>
    </p:extLst>
  </p:cSld>
  <p:clrMapOvr>
    <a:masterClrMapping/>
  </p:clrMapOvr>
</p:sldLayout>
</file>

<file path=ppt/slideLayouts/slideLayout2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oogle Shape;90;p4"/>
          <p:cNvPicPr preferRelativeResize="0"/>
          <p:nvPr/>
        </p:nvPicPr>
        <p:blipFill>
          <a:blip r:embed="rId2" cstate="email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91;p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274968" flipH="1">
            <a:off x="-3041918" y="-1666733"/>
            <a:ext cx="6541100" cy="41587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2" name="Google Shape;92;p4"/>
          <p:cNvGrpSpPr/>
          <p:nvPr/>
        </p:nvGrpSpPr>
        <p:grpSpPr>
          <a:xfrm>
            <a:off x="368833" y="327134"/>
            <a:ext cx="11620267" cy="6395284"/>
            <a:chOff x="276625" y="245350"/>
            <a:chExt cx="8715200" cy="4796463"/>
          </a:xfrm>
        </p:grpSpPr>
        <p:grpSp>
          <p:nvGrpSpPr>
            <p:cNvPr id="93" name="Google Shape;93;p4"/>
            <p:cNvGrpSpPr/>
            <p:nvPr/>
          </p:nvGrpSpPr>
          <p:grpSpPr>
            <a:xfrm>
              <a:off x="276625" y="4598563"/>
              <a:ext cx="215150" cy="127925"/>
              <a:chOff x="2704925" y="411725"/>
              <a:chExt cx="215150" cy="127925"/>
            </a:xfrm>
          </p:grpSpPr>
          <p:sp>
            <p:nvSpPr>
              <p:cNvPr id="94" name="Google Shape;94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5" name="Google Shape;95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6" name="Google Shape;96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97" name="Google Shape;97;p4"/>
            <p:cNvGrpSpPr/>
            <p:nvPr/>
          </p:nvGrpSpPr>
          <p:grpSpPr>
            <a:xfrm>
              <a:off x="7131075" y="245350"/>
              <a:ext cx="215150" cy="127925"/>
              <a:chOff x="2704925" y="411725"/>
              <a:chExt cx="215150" cy="127925"/>
            </a:xfrm>
          </p:grpSpPr>
          <p:sp>
            <p:nvSpPr>
              <p:cNvPr id="98" name="Google Shape;98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9" name="Google Shape;99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0" name="Google Shape;100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1" name="Google Shape;101;p4"/>
            <p:cNvGrpSpPr/>
            <p:nvPr/>
          </p:nvGrpSpPr>
          <p:grpSpPr>
            <a:xfrm>
              <a:off x="4784050" y="4783138"/>
              <a:ext cx="313075" cy="258675"/>
              <a:chOff x="8623100" y="2827300"/>
              <a:chExt cx="313075" cy="258675"/>
            </a:xfrm>
          </p:grpSpPr>
          <p:sp>
            <p:nvSpPr>
              <p:cNvPr id="102" name="Google Shape;102;p4"/>
              <p:cNvSpPr/>
              <p:nvPr/>
            </p:nvSpPr>
            <p:spPr>
              <a:xfrm>
                <a:off x="8791675" y="30481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3" name="Google Shape;103;p4"/>
              <p:cNvSpPr/>
              <p:nvPr/>
            </p:nvSpPr>
            <p:spPr>
              <a:xfrm>
                <a:off x="8721025" y="29580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4" name="Google Shape;104;p4"/>
              <p:cNvSpPr/>
              <p:nvPr/>
            </p:nvSpPr>
            <p:spPr>
              <a:xfrm>
                <a:off x="8876175" y="29868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5" name="Google Shape;105;p4"/>
              <p:cNvSpPr/>
              <p:nvPr/>
            </p:nvSpPr>
            <p:spPr>
              <a:xfrm>
                <a:off x="8722650" y="282730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6" name="Google Shape;106;p4"/>
              <p:cNvSpPr/>
              <p:nvPr/>
            </p:nvSpPr>
            <p:spPr>
              <a:xfrm>
                <a:off x="8623100" y="30144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7" name="Google Shape;107;p4"/>
            <p:cNvGrpSpPr/>
            <p:nvPr/>
          </p:nvGrpSpPr>
          <p:grpSpPr>
            <a:xfrm>
              <a:off x="8652425" y="3037225"/>
              <a:ext cx="339400" cy="241250"/>
              <a:chOff x="6339775" y="4248825"/>
              <a:chExt cx="339400" cy="241250"/>
            </a:xfrm>
          </p:grpSpPr>
          <p:sp>
            <p:nvSpPr>
              <p:cNvPr id="108" name="Google Shape;108;p4"/>
              <p:cNvSpPr/>
              <p:nvPr/>
            </p:nvSpPr>
            <p:spPr>
              <a:xfrm>
                <a:off x="6410425" y="44522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9" name="Google Shape;109;p4"/>
              <p:cNvSpPr/>
              <p:nvPr/>
            </p:nvSpPr>
            <p:spPr>
              <a:xfrm>
                <a:off x="6339775" y="43621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0" name="Google Shape;110;p4"/>
              <p:cNvSpPr/>
              <p:nvPr/>
            </p:nvSpPr>
            <p:spPr>
              <a:xfrm>
                <a:off x="6494925" y="43909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1" name="Google Shape;111;p4"/>
              <p:cNvSpPr/>
              <p:nvPr/>
            </p:nvSpPr>
            <p:spPr>
              <a:xfrm>
                <a:off x="6582975" y="42866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2" name="Google Shape;112;p4"/>
              <p:cNvSpPr/>
              <p:nvPr/>
            </p:nvSpPr>
            <p:spPr>
              <a:xfrm>
                <a:off x="6619175" y="44323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3" name="Google Shape;113;p4"/>
              <p:cNvSpPr/>
              <p:nvPr/>
            </p:nvSpPr>
            <p:spPr>
              <a:xfrm>
                <a:off x="6427675" y="42488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</p:grpSp>
      <p:grpSp>
        <p:nvGrpSpPr>
          <p:cNvPr id="114" name="Google Shape;114;p4"/>
          <p:cNvGrpSpPr/>
          <p:nvPr/>
        </p:nvGrpSpPr>
        <p:grpSpPr>
          <a:xfrm>
            <a:off x="4049568" y="-94062"/>
            <a:ext cx="901400" cy="890799"/>
            <a:chOff x="149651" y="1139903"/>
            <a:chExt cx="676050" cy="668099"/>
          </a:xfrm>
        </p:grpSpPr>
        <p:sp>
          <p:nvSpPr>
            <p:cNvPr id="115" name="Google Shape;115;p4"/>
            <p:cNvSpPr/>
            <p:nvPr/>
          </p:nvSpPr>
          <p:spPr>
            <a:xfrm rot="-887204">
              <a:off x="264777" y="1281516"/>
              <a:ext cx="379873" cy="384866"/>
            </a:xfrm>
            <a:custGeom>
              <a:avLst/>
              <a:gdLst/>
              <a:ahLst/>
              <a:cxnLst/>
              <a:rect l="l" t="t" r="r" b="b"/>
              <a:pathLst>
                <a:path w="5783" h="5859" extrusionOk="0">
                  <a:moveTo>
                    <a:pt x="5764" y="3981"/>
                  </a:moveTo>
                  <a:lnTo>
                    <a:pt x="5764" y="3981"/>
                  </a:lnTo>
                  <a:cubicBezTo>
                    <a:pt x="5633" y="3531"/>
                    <a:pt x="5333" y="3123"/>
                    <a:pt x="4892" y="2873"/>
                  </a:cubicBezTo>
                  <a:cubicBezTo>
                    <a:pt x="4756" y="2795"/>
                    <a:pt x="4615" y="2737"/>
                    <a:pt x="4475" y="2693"/>
                  </a:cubicBezTo>
                  <a:cubicBezTo>
                    <a:pt x="4605" y="2625"/>
                    <a:pt x="4727" y="2538"/>
                    <a:pt x="4843" y="2431"/>
                  </a:cubicBezTo>
                  <a:cubicBezTo>
                    <a:pt x="5221" y="2092"/>
                    <a:pt x="5430" y="1631"/>
                    <a:pt x="5464" y="1161"/>
                  </a:cubicBezTo>
                  <a:cubicBezTo>
                    <a:pt x="5483" y="880"/>
                    <a:pt x="5260" y="633"/>
                    <a:pt x="4974" y="623"/>
                  </a:cubicBezTo>
                  <a:cubicBezTo>
                    <a:pt x="4503" y="608"/>
                    <a:pt x="4024" y="769"/>
                    <a:pt x="3646" y="1108"/>
                  </a:cubicBezTo>
                  <a:cubicBezTo>
                    <a:pt x="3534" y="1214"/>
                    <a:pt x="3432" y="1326"/>
                    <a:pt x="3350" y="1452"/>
                  </a:cubicBezTo>
                  <a:cubicBezTo>
                    <a:pt x="3321" y="1307"/>
                    <a:pt x="3277" y="1161"/>
                    <a:pt x="3214" y="1016"/>
                  </a:cubicBezTo>
                  <a:cubicBezTo>
                    <a:pt x="3006" y="555"/>
                    <a:pt x="2632" y="216"/>
                    <a:pt x="2196" y="37"/>
                  </a:cubicBezTo>
                  <a:cubicBezTo>
                    <a:pt x="1934" y="-70"/>
                    <a:pt x="1628" y="66"/>
                    <a:pt x="1532" y="332"/>
                  </a:cubicBezTo>
                  <a:cubicBezTo>
                    <a:pt x="1371" y="778"/>
                    <a:pt x="1377" y="1282"/>
                    <a:pt x="1585" y="1748"/>
                  </a:cubicBezTo>
                  <a:cubicBezTo>
                    <a:pt x="1648" y="1888"/>
                    <a:pt x="1726" y="2019"/>
                    <a:pt x="1818" y="2135"/>
                  </a:cubicBezTo>
                  <a:cubicBezTo>
                    <a:pt x="1672" y="2116"/>
                    <a:pt x="1517" y="2111"/>
                    <a:pt x="1362" y="2131"/>
                  </a:cubicBezTo>
                  <a:cubicBezTo>
                    <a:pt x="858" y="2184"/>
                    <a:pt x="422" y="2431"/>
                    <a:pt x="116" y="2795"/>
                  </a:cubicBezTo>
                  <a:cubicBezTo>
                    <a:pt x="4" y="2930"/>
                    <a:pt x="-25" y="3104"/>
                    <a:pt x="19" y="3259"/>
                  </a:cubicBezTo>
                  <a:cubicBezTo>
                    <a:pt x="33" y="3313"/>
                    <a:pt x="58" y="3356"/>
                    <a:pt x="87" y="3405"/>
                  </a:cubicBezTo>
                  <a:cubicBezTo>
                    <a:pt x="116" y="3444"/>
                    <a:pt x="150" y="3482"/>
                    <a:pt x="193" y="3516"/>
                  </a:cubicBezTo>
                  <a:cubicBezTo>
                    <a:pt x="567" y="3807"/>
                    <a:pt x="1047" y="3957"/>
                    <a:pt x="1556" y="3904"/>
                  </a:cubicBezTo>
                  <a:cubicBezTo>
                    <a:pt x="1706" y="3889"/>
                    <a:pt x="1856" y="3851"/>
                    <a:pt x="1997" y="3802"/>
                  </a:cubicBezTo>
                  <a:cubicBezTo>
                    <a:pt x="1929" y="3938"/>
                    <a:pt x="1881" y="4079"/>
                    <a:pt x="1851" y="4234"/>
                  </a:cubicBezTo>
                  <a:cubicBezTo>
                    <a:pt x="1745" y="4728"/>
                    <a:pt x="1847" y="5223"/>
                    <a:pt x="2099" y="5625"/>
                  </a:cubicBezTo>
                  <a:cubicBezTo>
                    <a:pt x="2249" y="5863"/>
                    <a:pt x="2574" y="5931"/>
                    <a:pt x="2812" y="5775"/>
                  </a:cubicBezTo>
                  <a:cubicBezTo>
                    <a:pt x="3199" y="5508"/>
                    <a:pt x="3490" y="5097"/>
                    <a:pt x="3597" y="4602"/>
                  </a:cubicBezTo>
                  <a:cubicBezTo>
                    <a:pt x="3631" y="4447"/>
                    <a:pt x="3641" y="4297"/>
                    <a:pt x="3636" y="4146"/>
                  </a:cubicBezTo>
                  <a:cubicBezTo>
                    <a:pt x="3742" y="4253"/>
                    <a:pt x="3869" y="4340"/>
                    <a:pt x="3999" y="4418"/>
                  </a:cubicBezTo>
                  <a:cubicBezTo>
                    <a:pt x="4441" y="4675"/>
                    <a:pt x="4945" y="4728"/>
                    <a:pt x="5400" y="4617"/>
                  </a:cubicBezTo>
                  <a:cubicBezTo>
                    <a:pt x="5677" y="4544"/>
                    <a:pt x="5842" y="4258"/>
                    <a:pt x="5764" y="3981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" name="Google Shape;116;p4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3521815">
              <a:off x="249041" y="1223448"/>
              <a:ext cx="477268" cy="50100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7" name="Google Shape;117;p4"/>
          <p:cNvGrpSpPr/>
          <p:nvPr/>
        </p:nvGrpSpPr>
        <p:grpSpPr>
          <a:xfrm>
            <a:off x="10538672" y="-648102"/>
            <a:ext cx="1450429" cy="1998903"/>
            <a:chOff x="7904004" y="-486077"/>
            <a:chExt cx="1087822" cy="1499177"/>
          </a:xfrm>
        </p:grpSpPr>
        <p:sp>
          <p:nvSpPr>
            <p:cNvPr id="118" name="Google Shape;118;p4"/>
            <p:cNvSpPr/>
            <p:nvPr/>
          </p:nvSpPr>
          <p:spPr>
            <a:xfrm rot="-5400000">
              <a:off x="7721092" y="-264460"/>
              <a:ext cx="1409172" cy="1043348"/>
            </a:xfrm>
            <a:custGeom>
              <a:avLst/>
              <a:gdLst/>
              <a:ahLst/>
              <a:cxnLst/>
              <a:rect l="l" t="t" r="r" b="b"/>
              <a:pathLst>
                <a:path w="5077" h="3759" extrusionOk="0">
                  <a:moveTo>
                    <a:pt x="4805" y="0"/>
                  </a:moveTo>
                  <a:lnTo>
                    <a:pt x="4805" y="0"/>
                  </a:lnTo>
                  <a:cubicBezTo>
                    <a:pt x="4334" y="241"/>
                    <a:pt x="4334" y="241"/>
                    <a:pt x="4334" y="241"/>
                  </a:cubicBezTo>
                  <a:lnTo>
                    <a:pt x="4334" y="241"/>
                  </a:lnTo>
                  <a:cubicBezTo>
                    <a:pt x="471" y="2199"/>
                    <a:pt x="471" y="2199"/>
                    <a:pt x="471" y="2199"/>
                  </a:cubicBezTo>
                  <a:lnTo>
                    <a:pt x="471" y="2199"/>
                  </a:lnTo>
                  <a:cubicBezTo>
                    <a:pt x="0" y="2434"/>
                    <a:pt x="0" y="2434"/>
                    <a:pt x="0" y="2434"/>
                  </a:cubicBezTo>
                  <a:cubicBezTo>
                    <a:pt x="256" y="2936"/>
                    <a:pt x="629" y="3299"/>
                    <a:pt x="1070" y="3514"/>
                  </a:cubicBezTo>
                  <a:cubicBezTo>
                    <a:pt x="1402" y="3678"/>
                    <a:pt x="1776" y="3759"/>
                    <a:pt x="2154" y="3759"/>
                  </a:cubicBezTo>
                  <a:cubicBezTo>
                    <a:pt x="2605" y="3759"/>
                    <a:pt x="3075" y="3642"/>
                    <a:pt x="3521" y="3417"/>
                  </a:cubicBezTo>
                  <a:cubicBezTo>
                    <a:pt x="4846" y="2747"/>
                    <a:pt x="5480" y="1325"/>
                    <a:pt x="4805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1" strike="noStrike">
                <a:solidFill>
                  <a:srgbClr val="000000"/>
                </a:solidFill>
              </a:endParaRPr>
            </a:p>
          </p:txBody>
        </p:sp>
        <p:pic>
          <p:nvPicPr>
            <p:cNvPr id="119" name="Google Shape;119;p4"/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-5400000">
              <a:off x="7705600" y="-273126"/>
              <a:ext cx="1499177" cy="10732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0" name="Google Shape;120;p4"/>
          <p:cNvGrpSpPr/>
          <p:nvPr/>
        </p:nvGrpSpPr>
        <p:grpSpPr>
          <a:xfrm rot="1941255">
            <a:off x="10978763" y="4947679"/>
            <a:ext cx="2593888" cy="2588960"/>
            <a:chOff x="8318302" y="1011963"/>
            <a:chExt cx="1708672" cy="1705426"/>
          </a:xfrm>
        </p:grpSpPr>
        <p:sp>
          <p:nvSpPr>
            <p:cNvPr id="121" name="Google Shape;121;p4"/>
            <p:cNvSpPr/>
            <p:nvPr/>
          </p:nvSpPr>
          <p:spPr>
            <a:xfrm>
              <a:off x="8617366" y="1337350"/>
              <a:ext cx="1059475" cy="1058821"/>
            </a:xfrm>
            <a:custGeom>
              <a:avLst/>
              <a:gdLst/>
              <a:ahLst/>
              <a:cxnLst/>
              <a:rect l="l" t="t" r="r" b="b"/>
              <a:pathLst>
                <a:path w="4954" h="4951" extrusionOk="0">
                  <a:moveTo>
                    <a:pt x="1437" y="1995"/>
                  </a:moveTo>
                  <a:lnTo>
                    <a:pt x="1437" y="1995"/>
                  </a:lnTo>
                  <a:cubicBezTo>
                    <a:pt x="1493" y="1872"/>
                    <a:pt x="1575" y="1754"/>
                    <a:pt x="1682" y="1652"/>
                  </a:cubicBezTo>
                  <a:lnTo>
                    <a:pt x="1682" y="1652"/>
                  </a:lnTo>
                  <a:cubicBezTo>
                    <a:pt x="1688" y="1647"/>
                    <a:pt x="1693" y="1637"/>
                    <a:pt x="1703" y="1632"/>
                  </a:cubicBezTo>
                  <a:cubicBezTo>
                    <a:pt x="1703" y="1627"/>
                    <a:pt x="1703" y="1627"/>
                    <a:pt x="1703" y="1627"/>
                  </a:cubicBezTo>
                  <a:cubicBezTo>
                    <a:pt x="1713" y="1621"/>
                    <a:pt x="1718" y="1616"/>
                    <a:pt x="1724" y="1611"/>
                  </a:cubicBezTo>
                  <a:cubicBezTo>
                    <a:pt x="1729" y="1606"/>
                    <a:pt x="1729" y="1606"/>
                    <a:pt x="1729" y="1606"/>
                  </a:cubicBezTo>
                  <a:lnTo>
                    <a:pt x="1729" y="1606"/>
                  </a:lnTo>
                  <a:cubicBezTo>
                    <a:pt x="1739" y="1601"/>
                    <a:pt x="1744" y="1596"/>
                    <a:pt x="1749" y="1591"/>
                  </a:cubicBezTo>
                  <a:cubicBezTo>
                    <a:pt x="1754" y="1585"/>
                    <a:pt x="1754" y="1585"/>
                    <a:pt x="1754" y="1585"/>
                  </a:cubicBezTo>
                  <a:cubicBezTo>
                    <a:pt x="1764" y="1581"/>
                    <a:pt x="1769" y="1575"/>
                    <a:pt x="1775" y="1570"/>
                  </a:cubicBezTo>
                  <a:lnTo>
                    <a:pt x="1775" y="1570"/>
                  </a:lnTo>
                  <a:cubicBezTo>
                    <a:pt x="1892" y="1478"/>
                    <a:pt x="2020" y="1417"/>
                    <a:pt x="2154" y="1376"/>
                  </a:cubicBezTo>
                  <a:lnTo>
                    <a:pt x="2154" y="1376"/>
                  </a:lnTo>
                  <a:cubicBezTo>
                    <a:pt x="2158" y="1376"/>
                    <a:pt x="2169" y="1371"/>
                    <a:pt x="2174" y="1371"/>
                  </a:cubicBezTo>
                  <a:cubicBezTo>
                    <a:pt x="2179" y="1371"/>
                    <a:pt x="2179" y="1371"/>
                    <a:pt x="2179" y="1371"/>
                  </a:cubicBezTo>
                  <a:cubicBezTo>
                    <a:pt x="2276" y="1345"/>
                    <a:pt x="2379" y="1330"/>
                    <a:pt x="2476" y="1330"/>
                  </a:cubicBezTo>
                  <a:cubicBezTo>
                    <a:pt x="2681" y="1330"/>
                    <a:pt x="2885" y="1386"/>
                    <a:pt x="3064" y="1494"/>
                  </a:cubicBezTo>
                  <a:lnTo>
                    <a:pt x="3064" y="1494"/>
                  </a:lnTo>
                  <a:cubicBezTo>
                    <a:pt x="3151" y="1545"/>
                    <a:pt x="3238" y="1611"/>
                    <a:pt x="3310" y="1688"/>
                  </a:cubicBezTo>
                  <a:cubicBezTo>
                    <a:pt x="3315" y="1693"/>
                    <a:pt x="3315" y="1693"/>
                    <a:pt x="3315" y="1693"/>
                  </a:cubicBezTo>
                  <a:cubicBezTo>
                    <a:pt x="3325" y="1703"/>
                    <a:pt x="3335" y="1714"/>
                    <a:pt x="3346" y="1724"/>
                  </a:cubicBezTo>
                  <a:lnTo>
                    <a:pt x="3346" y="1724"/>
                  </a:lnTo>
                  <a:cubicBezTo>
                    <a:pt x="3346" y="1729"/>
                    <a:pt x="3346" y="1729"/>
                    <a:pt x="3346" y="1729"/>
                  </a:cubicBezTo>
                  <a:cubicBezTo>
                    <a:pt x="3351" y="1734"/>
                    <a:pt x="3356" y="1744"/>
                    <a:pt x="3366" y="1750"/>
                  </a:cubicBezTo>
                  <a:cubicBezTo>
                    <a:pt x="3366" y="1754"/>
                    <a:pt x="3366" y="1754"/>
                    <a:pt x="3371" y="1759"/>
                  </a:cubicBezTo>
                  <a:cubicBezTo>
                    <a:pt x="3376" y="1765"/>
                    <a:pt x="3382" y="1770"/>
                    <a:pt x="3386" y="1780"/>
                  </a:cubicBezTo>
                  <a:cubicBezTo>
                    <a:pt x="3392" y="1785"/>
                    <a:pt x="3392" y="1785"/>
                    <a:pt x="3392" y="1785"/>
                  </a:cubicBezTo>
                  <a:cubicBezTo>
                    <a:pt x="3397" y="1790"/>
                    <a:pt x="3402" y="1801"/>
                    <a:pt x="3407" y="1806"/>
                  </a:cubicBezTo>
                  <a:lnTo>
                    <a:pt x="3407" y="1806"/>
                  </a:lnTo>
                  <a:cubicBezTo>
                    <a:pt x="3494" y="1928"/>
                    <a:pt x="3555" y="2061"/>
                    <a:pt x="3586" y="2199"/>
                  </a:cubicBezTo>
                  <a:cubicBezTo>
                    <a:pt x="3591" y="2199"/>
                    <a:pt x="3591" y="2199"/>
                    <a:pt x="3591" y="2199"/>
                  </a:cubicBezTo>
                  <a:cubicBezTo>
                    <a:pt x="3653" y="2450"/>
                    <a:pt x="3627" y="2716"/>
                    <a:pt x="3520" y="2951"/>
                  </a:cubicBezTo>
                  <a:cubicBezTo>
                    <a:pt x="3515" y="2961"/>
                    <a:pt x="3509" y="2971"/>
                    <a:pt x="3504" y="2981"/>
                  </a:cubicBezTo>
                  <a:lnTo>
                    <a:pt x="3504" y="2981"/>
                  </a:lnTo>
                  <a:cubicBezTo>
                    <a:pt x="3499" y="2992"/>
                    <a:pt x="3494" y="3007"/>
                    <a:pt x="3484" y="3017"/>
                  </a:cubicBezTo>
                  <a:lnTo>
                    <a:pt x="3484" y="3017"/>
                  </a:lnTo>
                  <a:cubicBezTo>
                    <a:pt x="3427" y="3125"/>
                    <a:pt x="3356" y="3222"/>
                    <a:pt x="3264" y="3303"/>
                  </a:cubicBezTo>
                  <a:lnTo>
                    <a:pt x="3264" y="3303"/>
                  </a:lnTo>
                  <a:cubicBezTo>
                    <a:pt x="3259" y="3314"/>
                    <a:pt x="3253" y="3319"/>
                    <a:pt x="3248" y="3324"/>
                  </a:cubicBezTo>
                  <a:cubicBezTo>
                    <a:pt x="3238" y="3329"/>
                    <a:pt x="3233" y="3334"/>
                    <a:pt x="3228" y="3339"/>
                  </a:cubicBezTo>
                  <a:lnTo>
                    <a:pt x="3228" y="3339"/>
                  </a:lnTo>
                  <a:cubicBezTo>
                    <a:pt x="3223" y="3345"/>
                    <a:pt x="3223" y="3345"/>
                    <a:pt x="3223" y="3345"/>
                  </a:cubicBezTo>
                  <a:cubicBezTo>
                    <a:pt x="3218" y="3350"/>
                    <a:pt x="3213" y="3355"/>
                    <a:pt x="3208" y="3360"/>
                  </a:cubicBezTo>
                  <a:cubicBezTo>
                    <a:pt x="3197" y="3365"/>
                    <a:pt x="3192" y="3370"/>
                    <a:pt x="3187" y="3375"/>
                  </a:cubicBezTo>
                  <a:lnTo>
                    <a:pt x="3187" y="3375"/>
                  </a:lnTo>
                  <a:cubicBezTo>
                    <a:pt x="3084" y="3452"/>
                    <a:pt x="2982" y="3508"/>
                    <a:pt x="2870" y="3549"/>
                  </a:cubicBezTo>
                  <a:lnTo>
                    <a:pt x="2870" y="3549"/>
                  </a:lnTo>
                  <a:cubicBezTo>
                    <a:pt x="2793" y="3580"/>
                    <a:pt x="2716" y="3595"/>
                    <a:pt x="2639" y="3610"/>
                  </a:cubicBezTo>
                  <a:cubicBezTo>
                    <a:pt x="2588" y="3616"/>
                    <a:pt x="2532" y="3621"/>
                    <a:pt x="2476" y="3621"/>
                  </a:cubicBezTo>
                  <a:cubicBezTo>
                    <a:pt x="2327" y="3621"/>
                    <a:pt x="2184" y="3590"/>
                    <a:pt x="2046" y="3534"/>
                  </a:cubicBezTo>
                  <a:lnTo>
                    <a:pt x="2046" y="3534"/>
                  </a:lnTo>
                  <a:cubicBezTo>
                    <a:pt x="1913" y="3483"/>
                    <a:pt x="1790" y="3401"/>
                    <a:pt x="1682" y="3299"/>
                  </a:cubicBezTo>
                  <a:lnTo>
                    <a:pt x="1682" y="3299"/>
                  </a:lnTo>
                  <a:cubicBezTo>
                    <a:pt x="1673" y="3293"/>
                    <a:pt x="1667" y="3283"/>
                    <a:pt x="1662" y="3278"/>
                  </a:cubicBezTo>
                  <a:cubicBezTo>
                    <a:pt x="1657" y="3273"/>
                    <a:pt x="1657" y="3273"/>
                    <a:pt x="1657" y="3273"/>
                  </a:cubicBezTo>
                  <a:cubicBezTo>
                    <a:pt x="1647" y="3268"/>
                    <a:pt x="1642" y="3258"/>
                    <a:pt x="1637" y="3252"/>
                  </a:cubicBezTo>
                  <a:lnTo>
                    <a:pt x="1631" y="3247"/>
                  </a:lnTo>
                  <a:cubicBezTo>
                    <a:pt x="1626" y="3242"/>
                    <a:pt x="1616" y="3232"/>
                    <a:pt x="1611" y="3222"/>
                  </a:cubicBezTo>
                  <a:lnTo>
                    <a:pt x="1611" y="3222"/>
                  </a:lnTo>
                  <a:cubicBezTo>
                    <a:pt x="1606" y="3217"/>
                    <a:pt x="1601" y="3212"/>
                    <a:pt x="1591" y="3201"/>
                  </a:cubicBezTo>
                  <a:cubicBezTo>
                    <a:pt x="1591" y="3201"/>
                    <a:pt x="1591" y="3196"/>
                    <a:pt x="1585" y="3196"/>
                  </a:cubicBezTo>
                  <a:cubicBezTo>
                    <a:pt x="1585" y="3191"/>
                    <a:pt x="1580" y="3186"/>
                    <a:pt x="1575" y="3186"/>
                  </a:cubicBezTo>
                  <a:cubicBezTo>
                    <a:pt x="1575" y="3181"/>
                    <a:pt x="1570" y="3176"/>
                    <a:pt x="1565" y="3170"/>
                  </a:cubicBezTo>
                  <a:cubicBezTo>
                    <a:pt x="1565" y="3165"/>
                    <a:pt x="1565" y="3165"/>
                    <a:pt x="1565" y="3165"/>
                  </a:cubicBezTo>
                  <a:cubicBezTo>
                    <a:pt x="1504" y="3089"/>
                    <a:pt x="1457" y="3002"/>
                    <a:pt x="1422" y="2916"/>
                  </a:cubicBezTo>
                  <a:cubicBezTo>
                    <a:pt x="1417" y="2916"/>
                    <a:pt x="1417" y="2916"/>
                    <a:pt x="1417" y="2916"/>
                  </a:cubicBezTo>
                  <a:cubicBezTo>
                    <a:pt x="1360" y="2773"/>
                    <a:pt x="1330" y="2624"/>
                    <a:pt x="1330" y="2476"/>
                  </a:cubicBezTo>
                  <a:cubicBezTo>
                    <a:pt x="1330" y="2373"/>
                    <a:pt x="1345" y="2271"/>
                    <a:pt x="1371" y="2174"/>
                  </a:cubicBezTo>
                  <a:cubicBezTo>
                    <a:pt x="1375" y="2169"/>
                    <a:pt x="1375" y="2159"/>
                    <a:pt x="1381" y="2148"/>
                  </a:cubicBezTo>
                  <a:cubicBezTo>
                    <a:pt x="1391" y="2112"/>
                    <a:pt x="1401" y="2077"/>
                    <a:pt x="1417" y="2046"/>
                  </a:cubicBezTo>
                  <a:cubicBezTo>
                    <a:pt x="1422" y="2026"/>
                    <a:pt x="1427" y="2010"/>
                    <a:pt x="1437" y="1995"/>
                  </a:cubicBezTo>
                  <a:moveTo>
                    <a:pt x="2476" y="0"/>
                  </a:moveTo>
                  <a:lnTo>
                    <a:pt x="2476" y="0"/>
                  </a:lnTo>
                  <a:cubicBezTo>
                    <a:pt x="1985" y="0"/>
                    <a:pt x="1488" y="143"/>
                    <a:pt x="1064" y="440"/>
                  </a:cubicBezTo>
                  <a:cubicBezTo>
                    <a:pt x="1064" y="445"/>
                    <a:pt x="1064" y="445"/>
                    <a:pt x="1064" y="445"/>
                  </a:cubicBezTo>
                  <a:cubicBezTo>
                    <a:pt x="1048" y="455"/>
                    <a:pt x="1033" y="465"/>
                    <a:pt x="1012" y="476"/>
                  </a:cubicBezTo>
                  <a:cubicBezTo>
                    <a:pt x="1007" y="480"/>
                    <a:pt x="1007" y="480"/>
                    <a:pt x="1007" y="480"/>
                  </a:cubicBezTo>
                  <a:cubicBezTo>
                    <a:pt x="997" y="491"/>
                    <a:pt x="981" y="501"/>
                    <a:pt x="966" y="511"/>
                  </a:cubicBezTo>
                  <a:cubicBezTo>
                    <a:pt x="961" y="516"/>
                    <a:pt x="961" y="516"/>
                    <a:pt x="956" y="522"/>
                  </a:cubicBezTo>
                  <a:cubicBezTo>
                    <a:pt x="946" y="532"/>
                    <a:pt x="930" y="542"/>
                    <a:pt x="915" y="552"/>
                  </a:cubicBezTo>
                  <a:cubicBezTo>
                    <a:pt x="915" y="552"/>
                    <a:pt x="910" y="558"/>
                    <a:pt x="905" y="558"/>
                  </a:cubicBezTo>
                  <a:cubicBezTo>
                    <a:pt x="890" y="573"/>
                    <a:pt x="874" y="588"/>
                    <a:pt x="859" y="603"/>
                  </a:cubicBezTo>
                  <a:cubicBezTo>
                    <a:pt x="839" y="614"/>
                    <a:pt x="823" y="629"/>
                    <a:pt x="808" y="644"/>
                  </a:cubicBezTo>
                  <a:cubicBezTo>
                    <a:pt x="808" y="649"/>
                    <a:pt x="803" y="649"/>
                    <a:pt x="797" y="654"/>
                  </a:cubicBezTo>
                  <a:cubicBezTo>
                    <a:pt x="787" y="665"/>
                    <a:pt x="772" y="675"/>
                    <a:pt x="761" y="690"/>
                  </a:cubicBezTo>
                  <a:cubicBezTo>
                    <a:pt x="757" y="690"/>
                    <a:pt x="757" y="696"/>
                    <a:pt x="752" y="696"/>
                  </a:cubicBezTo>
                  <a:cubicBezTo>
                    <a:pt x="741" y="711"/>
                    <a:pt x="726" y="721"/>
                    <a:pt x="716" y="736"/>
                  </a:cubicBezTo>
                  <a:cubicBezTo>
                    <a:pt x="710" y="742"/>
                    <a:pt x="710" y="742"/>
                    <a:pt x="710" y="742"/>
                  </a:cubicBezTo>
                  <a:cubicBezTo>
                    <a:pt x="695" y="752"/>
                    <a:pt x="685" y="767"/>
                    <a:pt x="670" y="782"/>
                  </a:cubicBezTo>
                  <a:lnTo>
                    <a:pt x="670" y="782"/>
                  </a:lnTo>
                  <a:cubicBezTo>
                    <a:pt x="-108" y="1611"/>
                    <a:pt x="-221" y="2870"/>
                    <a:pt x="393" y="3815"/>
                  </a:cubicBezTo>
                  <a:cubicBezTo>
                    <a:pt x="398" y="3820"/>
                    <a:pt x="398" y="3820"/>
                    <a:pt x="403" y="3826"/>
                  </a:cubicBezTo>
                  <a:cubicBezTo>
                    <a:pt x="409" y="3836"/>
                    <a:pt x="419" y="3851"/>
                    <a:pt x="424" y="3861"/>
                  </a:cubicBezTo>
                  <a:cubicBezTo>
                    <a:pt x="429" y="3866"/>
                    <a:pt x="434" y="3872"/>
                    <a:pt x="434" y="3877"/>
                  </a:cubicBezTo>
                  <a:cubicBezTo>
                    <a:pt x="445" y="3887"/>
                    <a:pt x="449" y="3897"/>
                    <a:pt x="454" y="3907"/>
                  </a:cubicBezTo>
                  <a:cubicBezTo>
                    <a:pt x="460" y="3912"/>
                    <a:pt x="465" y="3923"/>
                    <a:pt x="470" y="3928"/>
                  </a:cubicBezTo>
                  <a:cubicBezTo>
                    <a:pt x="475" y="3938"/>
                    <a:pt x="485" y="3943"/>
                    <a:pt x="490" y="3953"/>
                  </a:cubicBezTo>
                  <a:cubicBezTo>
                    <a:pt x="496" y="3964"/>
                    <a:pt x="501" y="3968"/>
                    <a:pt x="511" y="3979"/>
                  </a:cubicBezTo>
                  <a:cubicBezTo>
                    <a:pt x="516" y="3984"/>
                    <a:pt x="521" y="3995"/>
                    <a:pt x="526" y="3999"/>
                  </a:cubicBezTo>
                  <a:cubicBezTo>
                    <a:pt x="536" y="4010"/>
                    <a:pt x="541" y="4020"/>
                    <a:pt x="552" y="4030"/>
                  </a:cubicBezTo>
                  <a:cubicBezTo>
                    <a:pt x="552" y="4035"/>
                    <a:pt x="557" y="4040"/>
                    <a:pt x="562" y="4046"/>
                  </a:cubicBezTo>
                  <a:cubicBezTo>
                    <a:pt x="577" y="4061"/>
                    <a:pt x="588" y="4076"/>
                    <a:pt x="603" y="4091"/>
                  </a:cubicBezTo>
                  <a:cubicBezTo>
                    <a:pt x="618" y="4112"/>
                    <a:pt x="634" y="4127"/>
                    <a:pt x="649" y="4143"/>
                  </a:cubicBezTo>
                  <a:cubicBezTo>
                    <a:pt x="649" y="4148"/>
                    <a:pt x="654" y="4153"/>
                    <a:pt x="659" y="4158"/>
                  </a:cubicBezTo>
                  <a:cubicBezTo>
                    <a:pt x="670" y="4168"/>
                    <a:pt x="680" y="4179"/>
                    <a:pt x="695" y="4194"/>
                  </a:cubicBezTo>
                  <a:cubicBezTo>
                    <a:pt x="695" y="4199"/>
                    <a:pt x="700" y="4199"/>
                    <a:pt x="705" y="4204"/>
                  </a:cubicBezTo>
                  <a:cubicBezTo>
                    <a:pt x="716" y="4219"/>
                    <a:pt x="731" y="4230"/>
                    <a:pt x="741" y="4240"/>
                  </a:cubicBezTo>
                  <a:cubicBezTo>
                    <a:pt x="746" y="4245"/>
                    <a:pt x="746" y="4245"/>
                    <a:pt x="752" y="4250"/>
                  </a:cubicBezTo>
                  <a:cubicBezTo>
                    <a:pt x="761" y="4266"/>
                    <a:pt x="777" y="4275"/>
                    <a:pt x="787" y="4286"/>
                  </a:cubicBezTo>
                  <a:cubicBezTo>
                    <a:pt x="792" y="4291"/>
                    <a:pt x="792" y="4291"/>
                    <a:pt x="797" y="4296"/>
                  </a:cubicBezTo>
                  <a:cubicBezTo>
                    <a:pt x="813" y="4306"/>
                    <a:pt x="828" y="4322"/>
                    <a:pt x="839" y="4332"/>
                  </a:cubicBezTo>
                  <a:cubicBezTo>
                    <a:pt x="843" y="4337"/>
                    <a:pt x="843" y="4337"/>
                    <a:pt x="843" y="4337"/>
                  </a:cubicBezTo>
                  <a:cubicBezTo>
                    <a:pt x="1309" y="4741"/>
                    <a:pt x="1892" y="4951"/>
                    <a:pt x="2476" y="4951"/>
                  </a:cubicBezTo>
                  <a:cubicBezTo>
                    <a:pt x="2977" y="4951"/>
                    <a:pt x="3479" y="4802"/>
                    <a:pt x="3903" y="4495"/>
                  </a:cubicBezTo>
                  <a:cubicBezTo>
                    <a:pt x="3909" y="4495"/>
                    <a:pt x="3909" y="4495"/>
                    <a:pt x="3914" y="4491"/>
                  </a:cubicBezTo>
                  <a:cubicBezTo>
                    <a:pt x="3924" y="4480"/>
                    <a:pt x="3939" y="4470"/>
                    <a:pt x="3954" y="4465"/>
                  </a:cubicBezTo>
                  <a:cubicBezTo>
                    <a:pt x="3960" y="4460"/>
                    <a:pt x="3965" y="4455"/>
                    <a:pt x="3970" y="4450"/>
                  </a:cubicBezTo>
                  <a:cubicBezTo>
                    <a:pt x="3980" y="4444"/>
                    <a:pt x="3990" y="4434"/>
                    <a:pt x="4001" y="4424"/>
                  </a:cubicBezTo>
                  <a:cubicBezTo>
                    <a:pt x="4011" y="4419"/>
                    <a:pt x="4016" y="4414"/>
                    <a:pt x="4026" y="4404"/>
                  </a:cubicBezTo>
                  <a:cubicBezTo>
                    <a:pt x="4031" y="4398"/>
                    <a:pt x="4041" y="4393"/>
                    <a:pt x="4047" y="4388"/>
                  </a:cubicBezTo>
                  <a:cubicBezTo>
                    <a:pt x="4067" y="4373"/>
                    <a:pt x="4083" y="4363"/>
                    <a:pt x="4098" y="4347"/>
                  </a:cubicBezTo>
                  <a:cubicBezTo>
                    <a:pt x="4113" y="4332"/>
                    <a:pt x="4129" y="4322"/>
                    <a:pt x="4144" y="4306"/>
                  </a:cubicBezTo>
                  <a:cubicBezTo>
                    <a:pt x="4149" y="4301"/>
                    <a:pt x="4159" y="4291"/>
                    <a:pt x="4164" y="4286"/>
                  </a:cubicBezTo>
                  <a:cubicBezTo>
                    <a:pt x="4174" y="4281"/>
                    <a:pt x="4180" y="4271"/>
                    <a:pt x="4190" y="4266"/>
                  </a:cubicBezTo>
                  <a:cubicBezTo>
                    <a:pt x="4200" y="4255"/>
                    <a:pt x="4205" y="4245"/>
                    <a:pt x="4216" y="4235"/>
                  </a:cubicBezTo>
                  <a:cubicBezTo>
                    <a:pt x="4221" y="4230"/>
                    <a:pt x="4225" y="4230"/>
                    <a:pt x="4231" y="4224"/>
                  </a:cubicBezTo>
                  <a:cubicBezTo>
                    <a:pt x="4241" y="4209"/>
                    <a:pt x="4256" y="4199"/>
                    <a:pt x="4267" y="4189"/>
                  </a:cubicBezTo>
                  <a:cubicBezTo>
                    <a:pt x="4267" y="4184"/>
                    <a:pt x="4272" y="4184"/>
                    <a:pt x="4272" y="4179"/>
                  </a:cubicBezTo>
                  <a:cubicBezTo>
                    <a:pt x="5060" y="3355"/>
                    <a:pt x="5177" y="2087"/>
                    <a:pt x="4558" y="1136"/>
                  </a:cubicBezTo>
                  <a:cubicBezTo>
                    <a:pt x="4558" y="1130"/>
                    <a:pt x="4553" y="1125"/>
                    <a:pt x="4553" y="1125"/>
                  </a:cubicBezTo>
                  <a:cubicBezTo>
                    <a:pt x="4548" y="1115"/>
                    <a:pt x="4538" y="1105"/>
                    <a:pt x="4533" y="1094"/>
                  </a:cubicBezTo>
                  <a:cubicBezTo>
                    <a:pt x="4528" y="1084"/>
                    <a:pt x="4523" y="1074"/>
                    <a:pt x="4512" y="1069"/>
                  </a:cubicBezTo>
                  <a:cubicBezTo>
                    <a:pt x="4507" y="1058"/>
                    <a:pt x="4507" y="1054"/>
                    <a:pt x="4502" y="1049"/>
                  </a:cubicBezTo>
                  <a:cubicBezTo>
                    <a:pt x="4492" y="1033"/>
                    <a:pt x="4481" y="1023"/>
                    <a:pt x="4477" y="1013"/>
                  </a:cubicBezTo>
                  <a:cubicBezTo>
                    <a:pt x="4471" y="1007"/>
                    <a:pt x="4466" y="1003"/>
                    <a:pt x="4466" y="997"/>
                  </a:cubicBezTo>
                  <a:cubicBezTo>
                    <a:pt x="4456" y="987"/>
                    <a:pt x="4446" y="972"/>
                    <a:pt x="4436" y="956"/>
                  </a:cubicBezTo>
                  <a:cubicBezTo>
                    <a:pt x="4430" y="956"/>
                    <a:pt x="4430" y="951"/>
                    <a:pt x="4425" y="951"/>
                  </a:cubicBezTo>
                  <a:cubicBezTo>
                    <a:pt x="4415" y="936"/>
                    <a:pt x="4405" y="920"/>
                    <a:pt x="4394" y="905"/>
                  </a:cubicBezTo>
                  <a:cubicBezTo>
                    <a:pt x="4390" y="900"/>
                    <a:pt x="4390" y="900"/>
                    <a:pt x="4390" y="900"/>
                  </a:cubicBezTo>
                  <a:cubicBezTo>
                    <a:pt x="4379" y="885"/>
                    <a:pt x="4364" y="869"/>
                    <a:pt x="4348" y="854"/>
                  </a:cubicBezTo>
                  <a:cubicBezTo>
                    <a:pt x="4338" y="838"/>
                    <a:pt x="4323" y="823"/>
                    <a:pt x="4313" y="808"/>
                  </a:cubicBezTo>
                  <a:cubicBezTo>
                    <a:pt x="4308" y="803"/>
                    <a:pt x="4303" y="798"/>
                    <a:pt x="4297" y="793"/>
                  </a:cubicBezTo>
                  <a:cubicBezTo>
                    <a:pt x="4287" y="787"/>
                    <a:pt x="4277" y="777"/>
                    <a:pt x="4272" y="767"/>
                  </a:cubicBezTo>
                  <a:cubicBezTo>
                    <a:pt x="4261" y="762"/>
                    <a:pt x="4256" y="752"/>
                    <a:pt x="4252" y="747"/>
                  </a:cubicBezTo>
                  <a:cubicBezTo>
                    <a:pt x="4241" y="742"/>
                    <a:pt x="4236" y="731"/>
                    <a:pt x="4231" y="726"/>
                  </a:cubicBezTo>
                  <a:cubicBezTo>
                    <a:pt x="4221" y="716"/>
                    <a:pt x="4216" y="711"/>
                    <a:pt x="4205" y="700"/>
                  </a:cubicBezTo>
                  <a:cubicBezTo>
                    <a:pt x="4200" y="696"/>
                    <a:pt x="4195" y="690"/>
                    <a:pt x="4190" y="685"/>
                  </a:cubicBezTo>
                  <a:cubicBezTo>
                    <a:pt x="4180" y="675"/>
                    <a:pt x="4169" y="665"/>
                    <a:pt x="4159" y="660"/>
                  </a:cubicBezTo>
                  <a:cubicBezTo>
                    <a:pt x="4154" y="654"/>
                    <a:pt x="4149" y="649"/>
                    <a:pt x="4149" y="644"/>
                  </a:cubicBezTo>
                  <a:cubicBezTo>
                    <a:pt x="4134" y="634"/>
                    <a:pt x="4123" y="629"/>
                    <a:pt x="4113" y="619"/>
                  </a:cubicBezTo>
                  <a:cubicBezTo>
                    <a:pt x="4113" y="614"/>
                    <a:pt x="4108" y="614"/>
                    <a:pt x="4108" y="609"/>
                  </a:cubicBezTo>
                  <a:cubicBezTo>
                    <a:pt x="3642" y="204"/>
                    <a:pt x="3059" y="0"/>
                    <a:pt x="2476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" name="Google Shape;122;p4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05365">
              <a:off x="8553711" y="1251469"/>
              <a:ext cx="1237854" cy="122641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3" name="Google Shape;123;p4"/>
          <p:cNvGrpSpPr/>
          <p:nvPr/>
        </p:nvGrpSpPr>
        <p:grpSpPr>
          <a:xfrm rot="895619">
            <a:off x="6033326" y="86506"/>
            <a:ext cx="652537" cy="652325"/>
            <a:chOff x="4733989" y="511904"/>
            <a:chExt cx="489380" cy="489221"/>
          </a:xfrm>
        </p:grpSpPr>
        <p:sp>
          <p:nvSpPr>
            <p:cNvPr id="124" name="Google Shape;124;p4"/>
            <p:cNvSpPr/>
            <p:nvPr/>
          </p:nvSpPr>
          <p:spPr>
            <a:xfrm rot="-2016437">
              <a:off x="4863019" y="615874"/>
              <a:ext cx="283909" cy="283692"/>
            </a:xfrm>
            <a:custGeom>
              <a:avLst/>
              <a:gdLst/>
              <a:ahLst/>
              <a:cxnLst/>
              <a:rect l="l" t="t" r="r" b="b"/>
              <a:pathLst>
                <a:path w="6037" h="6033" extrusionOk="0">
                  <a:moveTo>
                    <a:pt x="3361" y="6033"/>
                  </a:moveTo>
                  <a:lnTo>
                    <a:pt x="3361" y="6033"/>
                  </a:lnTo>
                  <a:cubicBezTo>
                    <a:pt x="3337" y="6033"/>
                    <a:pt x="3313" y="6033"/>
                    <a:pt x="3289" y="6033"/>
                  </a:cubicBezTo>
                  <a:cubicBezTo>
                    <a:pt x="3177" y="6018"/>
                    <a:pt x="3100" y="5950"/>
                    <a:pt x="3056" y="5848"/>
                  </a:cubicBezTo>
                  <a:cubicBezTo>
                    <a:pt x="2949" y="5586"/>
                    <a:pt x="2838" y="5329"/>
                    <a:pt x="2731" y="5072"/>
                  </a:cubicBezTo>
                  <a:cubicBezTo>
                    <a:pt x="2624" y="4821"/>
                    <a:pt x="2518" y="4564"/>
                    <a:pt x="2406" y="4312"/>
                  </a:cubicBezTo>
                  <a:cubicBezTo>
                    <a:pt x="2338" y="4142"/>
                    <a:pt x="2169" y="4059"/>
                    <a:pt x="1989" y="4098"/>
                  </a:cubicBezTo>
                  <a:cubicBezTo>
                    <a:pt x="1553" y="4200"/>
                    <a:pt x="1116" y="4297"/>
                    <a:pt x="680" y="4394"/>
                  </a:cubicBezTo>
                  <a:cubicBezTo>
                    <a:pt x="559" y="4423"/>
                    <a:pt x="448" y="4457"/>
                    <a:pt x="326" y="4472"/>
                  </a:cubicBezTo>
                  <a:cubicBezTo>
                    <a:pt x="215" y="4491"/>
                    <a:pt x="123" y="4447"/>
                    <a:pt x="55" y="4355"/>
                  </a:cubicBezTo>
                  <a:cubicBezTo>
                    <a:pt x="-37" y="4224"/>
                    <a:pt x="-13" y="4064"/>
                    <a:pt x="108" y="3963"/>
                  </a:cubicBezTo>
                  <a:cubicBezTo>
                    <a:pt x="253" y="3836"/>
                    <a:pt x="394" y="3710"/>
                    <a:pt x="540" y="3589"/>
                  </a:cubicBezTo>
                  <a:cubicBezTo>
                    <a:pt x="719" y="3434"/>
                    <a:pt x="898" y="3274"/>
                    <a:pt x="1078" y="3119"/>
                  </a:cubicBezTo>
                  <a:cubicBezTo>
                    <a:pt x="1141" y="3070"/>
                    <a:pt x="1199" y="3017"/>
                    <a:pt x="1257" y="2965"/>
                  </a:cubicBezTo>
                  <a:cubicBezTo>
                    <a:pt x="1359" y="2868"/>
                    <a:pt x="1417" y="2752"/>
                    <a:pt x="1431" y="2611"/>
                  </a:cubicBezTo>
                  <a:cubicBezTo>
                    <a:pt x="1451" y="2471"/>
                    <a:pt x="1407" y="2344"/>
                    <a:pt x="1335" y="2228"/>
                  </a:cubicBezTo>
                  <a:cubicBezTo>
                    <a:pt x="1088" y="1811"/>
                    <a:pt x="840" y="1394"/>
                    <a:pt x="588" y="977"/>
                  </a:cubicBezTo>
                  <a:cubicBezTo>
                    <a:pt x="496" y="812"/>
                    <a:pt x="554" y="623"/>
                    <a:pt x="719" y="551"/>
                  </a:cubicBezTo>
                  <a:cubicBezTo>
                    <a:pt x="797" y="517"/>
                    <a:pt x="879" y="517"/>
                    <a:pt x="952" y="556"/>
                  </a:cubicBezTo>
                  <a:cubicBezTo>
                    <a:pt x="1044" y="599"/>
                    <a:pt x="1126" y="657"/>
                    <a:pt x="1213" y="710"/>
                  </a:cubicBezTo>
                  <a:cubicBezTo>
                    <a:pt x="1567" y="924"/>
                    <a:pt x="1921" y="1137"/>
                    <a:pt x="2275" y="1350"/>
                  </a:cubicBezTo>
                  <a:cubicBezTo>
                    <a:pt x="2503" y="1486"/>
                    <a:pt x="2794" y="1448"/>
                    <a:pt x="2973" y="1258"/>
                  </a:cubicBezTo>
                  <a:cubicBezTo>
                    <a:pt x="3061" y="1171"/>
                    <a:pt x="3138" y="1074"/>
                    <a:pt x="3216" y="987"/>
                  </a:cubicBezTo>
                  <a:cubicBezTo>
                    <a:pt x="3323" y="866"/>
                    <a:pt x="3424" y="744"/>
                    <a:pt x="3531" y="628"/>
                  </a:cubicBezTo>
                  <a:cubicBezTo>
                    <a:pt x="3652" y="483"/>
                    <a:pt x="3778" y="342"/>
                    <a:pt x="3904" y="202"/>
                  </a:cubicBezTo>
                  <a:cubicBezTo>
                    <a:pt x="3948" y="153"/>
                    <a:pt x="3982" y="100"/>
                    <a:pt x="4035" y="61"/>
                  </a:cubicBezTo>
                  <a:cubicBezTo>
                    <a:pt x="4127" y="-12"/>
                    <a:pt x="4229" y="-16"/>
                    <a:pt x="4331" y="32"/>
                  </a:cubicBezTo>
                  <a:cubicBezTo>
                    <a:pt x="4438" y="80"/>
                    <a:pt x="4496" y="168"/>
                    <a:pt x="4496" y="284"/>
                  </a:cubicBezTo>
                  <a:cubicBezTo>
                    <a:pt x="4501" y="347"/>
                    <a:pt x="4476" y="405"/>
                    <a:pt x="4462" y="468"/>
                  </a:cubicBezTo>
                  <a:cubicBezTo>
                    <a:pt x="4374" y="851"/>
                    <a:pt x="4282" y="1234"/>
                    <a:pt x="4200" y="1617"/>
                  </a:cubicBezTo>
                  <a:cubicBezTo>
                    <a:pt x="4137" y="1893"/>
                    <a:pt x="4210" y="2141"/>
                    <a:pt x="4389" y="2354"/>
                  </a:cubicBezTo>
                  <a:cubicBezTo>
                    <a:pt x="4481" y="2461"/>
                    <a:pt x="4597" y="2529"/>
                    <a:pt x="4724" y="2587"/>
                  </a:cubicBezTo>
                  <a:cubicBezTo>
                    <a:pt x="5102" y="2747"/>
                    <a:pt x="5480" y="2907"/>
                    <a:pt x="5863" y="3070"/>
                  </a:cubicBezTo>
                  <a:cubicBezTo>
                    <a:pt x="5975" y="3119"/>
                    <a:pt x="6037" y="3211"/>
                    <a:pt x="6037" y="3337"/>
                  </a:cubicBezTo>
                  <a:cubicBezTo>
                    <a:pt x="6037" y="3351"/>
                    <a:pt x="6037" y="3361"/>
                    <a:pt x="6037" y="3376"/>
                  </a:cubicBezTo>
                  <a:cubicBezTo>
                    <a:pt x="6013" y="3526"/>
                    <a:pt x="5911" y="3613"/>
                    <a:pt x="5761" y="3628"/>
                  </a:cubicBezTo>
                  <a:cubicBezTo>
                    <a:pt x="5586" y="3642"/>
                    <a:pt x="5417" y="3657"/>
                    <a:pt x="5242" y="3672"/>
                  </a:cubicBezTo>
                  <a:cubicBezTo>
                    <a:pt x="5107" y="3686"/>
                    <a:pt x="4971" y="3696"/>
                    <a:pt x="4830" y="3706"/>
                  </a:cubicBezTo>
                  <a:cubicBezTo>
                    <a:pt x="4695" y="3720"/>
                    <a:pt x="4559" y="3730"/>
                    <a:pt x="4423" y="3744"/>
                  </a:cubicBezTo>
                  <a:cubicBezTo>
                    <a:pt x="4350" y="3749"/>
                    <a:pt x="4273" y="3754"/>
                    <a:pt x="4195" y="3774"/>
                  </a:cubicBezTo>
                  <a:cubicBezTo>
                    <a:pt x="3967" y="3841"/>
                    <a:pt x="3778" y="4059"/>
                    <a:pt x="3754" y="4302"/>
                  </a:cubicBezTo>
                  <a:cubicBezTo>
                    <a:pt x="3734" y="4433"/>
                    <a:pt x="3725" y="4573"/>
                    <a:pt x="3715" y="4709"/>
                  </a:cubicBezTo>
                  <a:cubicBezTo>
                    <a:pt x="3700" y="4835"/>
                    <a:pt x="3691" y="4961"/>
                    <a:pt x="3676" y="5087"/>
                  </a:cubicBezTo>
                  <a:cubicBezTo>
                    <a:pt x="3667" y="5218"/>
                    <a:pt x="3657" y="5344"/>
                    <a:pt x="3642" y="5470"/>
                  </a:cubicBezTo>
                  <a:cubicBezTo>
                    <a:pt x="3633" y="5577"/>
                    <a:pt x="3628" y="5688"/>
                    <a:pt x="3613" y="5795"/>
                  </a:cubicBezTo>
                  <a:cubicBezTo>
                    <a:pt x="3594" y="5926"/>
                    <a:pt x="3492" y="6018"/>
                    <a:pt x="3361" y="6033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5" name="Google Shape;125;p4"/>
            <p:cNvPicPr preferRelativeResize="0"/>
            <p:nvPr/>
          </p:nvPicPr>
          <p:blipFill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-2016466">
              <a:off x="4802209" y="580054"/>
              <a:ext cx="352940" cy="3529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6" name="Google Shape;126;p4"/>
          <p:cNvSpPr txBox="1">
            <a:spLocks noGrp="1"/>
          </p:cNvSpPr>
          <p:nvPr>
            <p:ph type="title"/>
          </p:nvPr>
        </p:nvSpPr>
        <p:spPr>
          <a:xfrm>
            <a:off x="960000" y="719333"/>
            <a:ext cx="10272000" cy="763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8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0128653"/>
      </p:ext>
    </p:extLst>
  </p:cSld>
  <p:clrMapOvr>
    <a:masterClrMapping/>
  </p:clrMapOvr>
</p:sldLayout>
</file>

<file path=ppt/slideLayouts/slideLayout2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1_Title and two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5892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1"/>
          </p:nvPr>
        </p:nvSpPr>
        <p:spPr>
          <a:xfrm>
            <a:off x="1499833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ubTitle" idx="2"/>
          </p:nvPr>
        </p:nvSpPr>
        <p:spPr>
          <a:xfrm>
            <a:off x="6615885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title" idx="3"/>
          </p:nvPr>
        </p:nvSpPr>
        <p:spPr>
          <a:xfrm>
            <a:off x="1499033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title" idx="4"/>
          </p:nvPr>
        </p:nvSpPr>
        <p:spPr>
          <a:xfrm>
            <a:off x="6615085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81254497"/>
      </p:ext>
    </p:extLst>
  </p:cSld>
  <p:clrMapOvr>
    <a:masterClrMapping/>
  </p:clrMapOvr>
</p:sldLayout>
</file>

<file path=ppt/slideLayouts/slideLayout2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1D58E748-F704-17F2-9AC8-E0477552924E}"/>
              </a:ext>
            </a:extLst>
          </p:cNvPr>
          <p:cNvSpPr/>
          <p:nvPr/>
        </p:nvSpPr>
        <p:spPr>
          <a:xfrm>
            <a:off x="902366" y="1294416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B58AD88-B456-6395-15E4-9557D2B921A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14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2328B7F-933B-AEF5-E638-C1260BEFE10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14" y="3766861"/>
            <a:ext cx="5194432" cy="9865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5" name="Picture Placeholder 21">
            <a:extLst>
              <a:ext uri="{FF2B5EF4-FFF2-40B4-BE49-F238E27FC236}">
                <a16:creationId xmlns:a16="http://schemas.microsoft.com/office/drawing/2014/main" id="{9A65115E-73C3-8420-5102-C3FE6B489D3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18687" y="233912"/>
            <a:ext cx="5073319" cy="59436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6" name="Group 26">
            <a:extLst>
              <a:ext uri="{FF2B5EF4-FFF2-40B4-BE49-F238E27FC236}">
                <a16:creationId xmlns:a16="http://schemas.microsoft.com/office/drawing/2014/main" id="{226D561C-EBC5-69F0-89C2-71A0899E8DBF}"/>
              </a:ext>
            </a:extLst>
          </p:cNvPr>
          <p:cNvGrpSpPr/>
          <p:nvPr/>
        </p:nvGrpSpPr>
        <p:grpSpPr>
          <a:xfrm>
            <a:off x="0" y="5020349"/>
            <a:ext cx="12191996" cy="1837651"/>
            <a:chOff x="0" y="5020348"/>
            <a:chExt cx="12191996" cy="1837651"/>
          </a:xfrm>
        </p:grpSpPr>
        <p:sp>
          <p:nvSpPr>
            <p:cNvPr id="7" name="Freeform 27">
              <a:extLst>
                <a:ext uri="{FF2B5EF4-FFF2-40B4-BE49-F238E27FC236}">
                  <a16:creationId xmlns:a16="http://schemas.microsoft.com/office/drawing/2014/main" id="{89C32DCC-6649-8365-69AD-D921217DDC32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19056"/>
                <a:gd name="f8" fmla="val 1590347"/>
                <a:gd name="f9" fmla="val 12188220"/>
                <a:gd name="f10" fmla="val 11380834"/>
                <a:gd name="f11" fmla="val 11595183"/>
                <a:gd name="f12" fmla="val 1770580"/>
                <a:gd name="f13" fmla="val 11796947"/>
                <a:gd name="f14" fmla="val 1720044"/>
                <a:gd name="f15" fmla="val 11996151"/>
                <a:gd name="f16" fmla="val 1660154"/>
                <a:gd name="f17" fmla="val 758403"/>
                <a:gd name="f18" fmla="val 2043"/>
                <a:gd name="f19" fmla="val 1686489"/>
                <a:gd name="f20" fmla="val 25125"/>
                <a:gd name="f21" fmla="val 2647016"/>
                <a:gd name="f22" fmla="val 241445"/>
                <a:gd name="f23" fmla="val 3624304"/>
                <a:gd name="f24" fmla="val 526182"/>
                <a:gd name="f25" fmla="val 4845769"/>
                <a:gd name="f26" fmla="val 882033"/>
                <a:gd name="f27" fmla="val 6018540"/>
                <a:gd name="f28" fmla="val 1319108"/>
                <a:gd name="f29" fmla="val 7255331"/>
                <a:gd name="f30" fmla="val 1648964"/>
                <a:gd name="f31" fmla="val 7453869"/>
                <a:gd name="f32" fmla="val 1701922"/>
                <a:gd name="f33" fmla="val 7655427"/>
                <a:gd name="f34" fmla="val 1749451"/>
                <a:gd name="f35" fmla="val 7859208"/>
                <a:gd name="f36" fmla="val 1790989"/>
                <a:gd name="f37" fmla="val 8008547"/>
                <a:gd name="f38" fmla="val 6697152"/>
                <a:gd name="f39" fmla="val 6692612"/>
                <a:gd name="f40" fmla="val 1817638"/>
                <a:gd name="f41" fmla="val 5687256"/>
                <a:gd name="f42" fmla="val 1488590"/>
                <a:gd name="f43" fmla="val 4686470"/>
                <a:gd name="f44" fmla="val 1078099"/>
                <a:gd name="f45" fmla="val 3598861"/>
                <a:gd name="f46" fmla="val 695028"/>
                <a:gd name="f47" fmla="val 2581993"/>
                <a:gd name="f48" fmla="val 336916"/>
                <a:gd name="f49" fmla="val 1520053"/>
                <a:gd name="f50" fmla="val 58744"/>
                <a:gd name="f51" fmla="val 357248"/>
                <a:gd name="f52" fmla="val 79163"/>
                <a:gd name="f53" fmla="val 243154"/>
                <a:gd name="f54" fmla="val 81169"/>
                <a:gd name="f55" fmla="val 129832"/>
                <a:gd name="f56" fmla="val 86358"/>
                <a:gd name="f57" fmla="val 17144"/>
                <a:gd name="f58" fmla="val 95022"/>
                <a:gd name="f59" fmla="val 96893"/>
                <a:gd name="f60" fmla="val 29948"/>
                <a:gd name="f61" fmla="val 15757"/>
                <a:gd name="f62" fmla="val 27869"/>
                <a:gd name="f63" fmla="val 130823"/>
                <a:gd name="f64" fmla="val 16482"/>
                <a:gd name="f65" fmla="val 246476"/>
                <a:gd name="f66" fmla="val 8725"/>
                <a:gd name="f67" fmla="val 362684"/>
                <a:gd name="f68" fmla="val 4345"/>
                <a:gd name="f69" fmla="val 493898"/>
                <a:gd name="f70" fmla="+- 0 0 608"/>
                <a:gd name="f71" fmla="val 625820"/>
                <a:gd name="f72" fmla="+- 0 0 1255"/>
                <a:gd name="f73" fmla="+- 0 0 -90"/>
                <a:gd name="f74" fmla="*/ f3 1 12192000"/>
                <a:gd name="f75" fmla="*/ f4 1 1819056"/>
                <a:gd name="f76" fmla="+- f7 0 f5"/>
                <a:gd name="f77" fmla="+- f6 0 f5"/>
                <a:gd name="f78" fmla="*/ f73 f0 1"/>
                <a:gd name="f79" fmla="*/ f77 1 12192000"/>
                <a:gd name="f80" fmla="*/ f76 1 1819056"/>
                <a:gd name="f81" fmla="*/ 12192000 f77 1"/>
                <a:gd name="f82" fmla="*/ 1590347 f76 1"/>
                <a:gd name="f83" fmla="*/ 12188220 f77 1"/>
                <a:gd name="f84" fmla="*/ 1819056 f76 1"/>
                <a:gd name="f85" fmla="*/ 11380834 f77 1"/>
                <a:gd name="f86" fmla="*/ 11595183 f77 1"/>
                <a:gd name="f87" fmla="*/ 1770580 f76 1"/>
                <a:gd name="f88" fmla="*/ 758403 f77 1"/>
                <a:gd name="f89" fmla="*/ 2043 f76 1"/>
                <a:gd name="f90" fmla="*/ 3624304 f77 1"/>
                <a:gd name="f91" fmla="*/ 526182 f76 1"/>
                <a:gd name="f92" fmla="*/ 7255331 f77 1"/>
                <a:gd name="f93" fmla="*/ 1648964 f76 1"/>
                <a:gd name="f94" fmla="*/ 7859208 f77 1"/>
                <a:gd name="f95" fmla="*/ 1790989 f76 1"/>
                <a:gd name="f96" fmla="*/ 8008547 f77 1"/>
                <a:gd name="f97" fmla="*/ 6697152 f77 1"/>
                <a:gd name="f98" fmla="*/ 6692612 f77 1"/>
                <a:gd name="f99" fmla="*/ 1817638 f76 1"/>
                <a:gd name="f100" fmla="*/ 3598861 f77 1"/>
                <a:gd name="f101" fmla="*/ 695028 f76 1"/>
                <a:gd name="f102" fmla="*/ 357248 f77 1"/>
                <a:gd name="f103" fmla="*/ 79163 f76 1"/>
                <a:gd name="f104" fmla="*/ 17144 f77 1"/>
                <a:gd name="f105" fmla="*/ 95022 f76 1"/>
                <a:gd name="f106" fmla="*/ 0 f77 1"/>
                <a:gd name="f107" fmla="*/ 96893 f76 1"/>
                <a:gd name="f108" fmla="*/ 29948 f76 1"/>
                <a:gd name="f109" fmla="*/ 15757 f77 1"/>
                <a:gd name="f110" fmla="*/ 27869 f76 1"/>
                <a:gd name="f111" fmla="*/ 362684 f77 1"/>
                <a:gd name="f112" fmla="*/ 4345 f76 1"/>
                <a:gd name="f113" fmla="*/ f78 1 f2"/>
                <a:gd name="f114" fmla="*/ f81 1 12192000"/>
                <a:gd name="f115" fmla="*/ f82 1 1819056"/>
                <a:gd name="f116" fmla="*/ f83 1 12192000"/>
                <a:gd name="f117" fmla="*/ f84 1 1819056"/>
                <a:gd name="f118" fmla="*/ f85 1 12192000"/>
                <a:gd name="f119" fmla="*/ f86 1 12192000"/>
                <a:gd name="f120" fmla="*/ f87 1 1819056"/>
                <a:gd name="f121" fmla="*/ f88 1 12192000"/>
                <a:gd name="f122" fmla="*/ f89 1 1819056"/>
                <a:gd name="f123" fmla="*/ f90 1 12192000"/>
                <a:gd name="f124" fmla="*/ f91 1 1819056"/>
                <a:gd name="f125" fmla="*/ f92 1 12192000"/>
                <a:gd name="f126" fmla="*/ f93 1 1819056"/>
                <a:gd name="f127" fmla="*/ f94 1 12192000"/>
                <a:gd name="f128" fmla="*/ f95 1 1819056"/>
                <a:gd name="f129" fmla="*/ f96 1 12192000"/>
                <a:gd name="f130" fmla="*/ f97 1 12192000"/>
                <a:gd name="f131" fmla="*/ f98 1 12192000"/>
                <a:gd name="f132" fmla="*/ f99 1 1819056"/>
                <a:gd name="f133" fmla="*/ f100 1 12192000"/>
                <a:gd name="f134" fmla="*/ f101 1 1819056"/>
                <a:gd name="f135" fmla="*/ f102 1 12192000"/>
                <a:gd name="f136" fmla="*/ f103 1 1819056"/>
                <a:gd name="f137" fmla="*/ f104 1 12192000"/>
                <a:gd name="f138" fmla="*/ f105 1 1819056"/>
                <a:gd name="f139" fmla="*/ f106 1 12192000"/>
                <a:gd name="f140" fmla="*/ f107 1 1819056"/>
                <a:gd name="f141" fmla="*/ f108 1 1819056"/>
                <a:gd name="f142" fmla="*/ f109 1 12192000"/>
                <a:gd name="f143" fmla="*/ f110 1 1819056"/>
                <a:gd name="f144" fmla="*/ f111 1 12192000"/>
                <a:gd name="f145" fmla="*/ f112 1 1819056"/>
                <a:gd name="f146" fmla="*/ f5 1 f79"/>
                <a:gd name="f147" fmla="*/ f6 1 f79"/>
                <a:gd name="f148" fmla="*/ f5 1 f80"/>
                <a:gd name="f149" fmla="*/ f7 1 f80"/>
                <a:gd name="f150" fmla="+- f113 0 f1"/>
                <a:gd name="f151" fmla="*/ f114 1 f79"/>
                <a:gd name="f152" fmla="*/ f115 1 f80"/>
                <a:gd name="f153" fmla="*/ f116 1 f79"/>
                <a:gd name="f154" fmla="*/ f117 1 f80"/>
                <a:gd name="f155" fmla="*/ f118 1 f79"/>
                <a:gd name="f156" fmla="*/ f119 1 f79"/>
                <a:gd name="f157" fmla="*/ f120 1 f80"/>
                <a:gd name="f158" fmla="*/ f121 1 f79"/>
                <a:gd name="f159" fmla="*/ f122 1 f80"/>
                <a:gd name="f160" fmla="*/ f123 1 f79"/>
                <a:gd name="f161" fmla="*/ f124 1 f80"/>
                <a:gd name="f162" fmla="*/ f125 1 f79"/>
                <a:gd name="f163" fmla="*/ f126 1 f80"/>
                <a:gd name="f164" fmla="*/ f127 1 f79"/>
                <a:gd name="f165" fmla="*/ f128 1 f80"/>
                <a:gd name="f166" fmla="*/ f129 1 f79"/>
                <a:gd name="f167" fmla="*/ f130 1 f79"/>
                <a:gd name="f168" fmla="*/ f131 1 f79"/>
                <a:gd name="f169" fmla="*/ f132 1 f80"/>
                <a:gd name="f170" fmla="*/ f133 1 f79"/>
                <a:gd name="f171" fmla="*/ f134 1 f80"/>
                <a:gd name="f172" fmla="*/ f135 1 f79"/>
                <a:gd name="f173" fmla="*/ f136 1 f80"/>
                <a:gd name="f174" fmla="*/ f137 1 f79"/>
                <a:gd name="f175" fmla="*/ f138 1 f80"/>
                <a:gd name="f176" fmla="*/ f139 1 f79"/>
                <a:gd name="f177" fmla="*/ f140 1 f80"/>
                <a:gd name="f178" fmla="*/ f141 1 f80"/>
                <a:gd name="f179" fmla="*/ f142 1 f79"/>
                <a:gd name="f180" fmla="*/ f143 1 f80"/>
                <a:gd name="f181" fmla="*/ f144 1 f79"/>
                <a:gd name="f182" fmla="*/ f145 1 f80"/>
                <a:gd name="f183" fmla="*/ f146 f74 1"/>
                <a:gd name="f184" fmla="*/ f147 f74 1"/>
                <a:gd name="f185" fmla="*/ f149 f75 1"/>
                <a:gd name="f186" fmla="*/ f148 f75 1"/>
                <a:gd name="f187" fmla="*/ f151 f74 1"/>
                <a:gd name="f188" fmla="*/ f152 f75 1"/>
                <a:gd name="f189" fmla="*/ f153 f74 1"/>
                <a:gd name="f190" fmla="*/ f154 f75 1"/>
                <a:gd name="f191" fmla="*/ f155 f74 1"/>
                <a:gd name="f192" fmla="*/ f156 f74 1"/>
                <a:gd name="f193" fmla="*/ f157 f75 1"/>
                <a:gd name="f194" fmla="*/ f158 f74 1"/>
                <a:gd name="f195" fmla="*/ f159 f75 1"/>
                <a:gd name="f196" fmla="*/ f160 f74 1"/>
                <a:gd name="f197" fmla="*/ f161 f75 1"/>
                <a:gd name="f198" fmla="*/ f162 f74 1"/>
                <a:gd name="f199" fmla="*/ f163 f75 1"/>
                <a:gd name="f200" fmla="*/ f164 f74 1"/>
                <a:gd name="f201" fmla="*/ f165 f75 1"/>
                <a:gd name="f202" fmla="*/ f166 f74 1"/>
                <a:gd name="f203" fmla="*/ f167 f74 1"/>
                <a:gd name="f204" fmla="*/ f168 f74 1"/>
                <a:gd name="f205" fmla="*/ f169 f75 1"/>
                <a:gd name="f206" fmla="*/ f170 f74 1"/>
                <a:gd name="f207" fmla="*/ f171 f75 1"/>
                <a:gd name="f208" fmla="*/ f172 f74 1"/>
                <a:gd name="f209" fmla="*/ f173 f75 1"/>
                <a:gd name="f210" fmla="*/ f174 f74 1"/>
                <a:gd name="f211" fmla="*/ f175 f75 1"/>
                <a:gd name="f212" fmla="*/ f176 f74 1"/>
                <a:gd name="f213" fmla="*/ f177 f75 1"/>
                <a:gd name="f214" fmla="*/ f178 f75 1"/>
                <a:gd name="f215" fmla="*/ f179 f74 1"/>
                <a:gd name="f216" fmla="*/ f180 f75 1"/>
                <a:gd name="f217" fmla="*/ f181 f74 1"/>
                <a:gd name="f218" fmla="*/ f182 f7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0">
                  <a:pos x="f187" y="f188"/>
                </a:cxn>
                <a:cxn ang="f150">
                  <a:pos x="f189" y="f190"/>
                </a:cxn>
                <a:cxn ang="f150">
                  <a:pos x="f191" y="f190"/>
                </a:cxn>
                <a:cxn ang="f150">
                  <a:pos x="f192" y="f193"/>
                </a:cxn>
                <a:cxn ang="f150">
                  <a:pos x="f187" y="f188"/>
                </a:cxn>
                <a:cxn ang="f150">
                  <a:pos x="f194" y="f195"/>
                </a:cxn>
                <a:cxn ang="f150">
                  <a:pos x="f196" y="f197"/>
                </a:cxn>
                <a:cxn ang="f150">
                  <a:pos x="f198" y="f199"/>
                </a:cxn>
                <a:cxn ang="f150">
                  <a:pos x="f200" y="f201"/>
                </a:cxn>
                <a:cxn ang="f150">
                  <a:pos x="f202" y="f190"/>
                </a:cxn>
                <a:cxn ang="f150">
                  <a:pos x="f203" y="f190"/>
                </a:cxn>
                <a:cxn ang="f150">
                  <a:pos x="f204" y="f205"/>
                </a:cxn>
                <a:cxn ang="f150">
                  <a:pos x="f206" y="f207"/>
                </a:cxn>
                <a:cxn ang="f150">
                  <a:pos x="f208" y="f209"/>
                </a:cxn>
                <a:cxn ang="f150">
                  <a:pos x="f210" y="f211"/>
                </a:cxn>
                <a:cxn ang="f150">
                  <a:pos x="f212" y="f213"/>
                </a:cxn>
                <a:cxn ang="f150">
                  <a:pos x="f212" y="f214"/>
                </a:cxn>
                <a:cxn ang="f150">
                  <a:pos x="f215" y="f216"/>
                </a:cxn>
                <a:cxn ang="f150">
                  <a:pos x="f217" y="f218"/>
                </a:cxn>
                <a:cxn ang="f150">
                  <a:pos x="f194" y="f195"/>
                </a:cxn>
              </a:cxnLst>
              <a:rect l="f183" t="f186" r="f184" b="f185"/>
              <a:pathLst>
                <a:path w="12192000" h="1819056">
                  <a:moveTo>
                    <a:pt x="f6" y="f8"/>
                  </a:moveTo>
                  <a:lnTo>
                    <a:pt x="f9" y="f7"/>
                  </a:lnTo>
                  <a:lnTo>
                    <a:pt x="f10" y="f7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6" y="f8"/>
                  </a:cubicBezTo>
                  <a:close/>
                  <a:moveTo>
                    <a:pt x="f17" y="f18"/>
                  </a:move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7" y="f7"/>
                  </a:lnTo>
                  <a:lnTo>
                    <a:pt x="f38" y="f7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lnTo>
                    <a:pt x="f5" y="f59"/>
                  </a:lnTo>
                  <a:lnTo>
                    <a:pt x="f5" y="f60"/>
                  </a:lnTo>
                  <a:lnTo>
                    <a:pt x="f61" y="f62"/>
                  </a:ln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17" y="f18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8" name="Freeform 28">
              <a:extLst>
                <a:ext uri="{FF2B5EF4-FFF2-40B4-BE49-F238E27FC236}">
                  <a16:creationId xmlns:a16="http://schemas.microsoft.com/office/drawing/2014/main" id="{62ADD7E8-5B24-5947-AE24-5B7ECA6FF16F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37653"/>
                <a:gd name="f8" fmla="val 631978"/>
                <a:gd name="f9" fmla="val 192"/>
                <a:gd name="f10" fmla="val 919158"/>
                <a:gd name="f11" fmla="+- 0 0 2016"/>
                <a:gd name="f12" fmla="val 1209873"/>
                <a:gd name="f13" fmla="val 14922"/>
                <a:gd name="f14" fmla="val 1503520"/>
                <a:gd name="f15" fmla="val 46905"/>
                <a:gd name="f16" fmla="val 3549714"/>
                <a:gd name="f17" fmla="val 172355"/>
                <a:gd name="f18" fmla="val 5706358"/>
                <a:gd name="f19" fmla="val 1115591"/>
                <a:gd name="f20" fmla="val 7786904"/>
                <a:gd name="f21" fmla="val 1473930"/>
                <a:gd name="f22" fmla="val 9204661"/>
                <a:gd name="f23" fmla="val 1718045"/>
                <a:gd name="f24" fmla="val 10875183"/>
                <a:gd name="f25" fmla="val 1584536"/>
                <a:gd name="f26" fmla="val 1008678"/>
                <a:gd name="f27" fmla="val 1399189"/>
                <a:gd name="f28" fmla="val 1684971"/>
                <a:gd name="f29" fmla="val 7111369"/>
                <a:gd name="f30" fmla="val 6700767"/>
                <a:gd name="f31" fmla="val 1716805"/>
                <a:gd name="f32" fmla="val 5690778"/>
                <a:gd name="f33" fmla="val 1404548"/>
                <a:gd name="f34" fmla="val 4684008"/>
                <a:gd name="f35" fmla="val 1010844"/>
                <a:gd name="f36" fmla="val 3590934"/>
                <a:gd name="f37" fmla="val 645969"/>
                <a:gd name="f38" fmla="val 2569009"/>
                <a:gd name="f39" fmla="val 304809"/>
                <a:gd name="f40" fmla="val 1503293"/>
                <a:gd name="f41" fmla="val 44345"/>
                <a:gd name="f42" fmla="val 341773"/>
                <a:gd name="f43" fmla="val 83899"/>
                <a:gd name="f44" fmla="val 227801"/>
                <a:gd name="f45" fmla="val 87780"/>
                <a:gd name="f46" fmla="val 114653"/>
                <a:gd name="f47" fmla="val 94828"/>
                <a:gd name="f48" fmla="val 2197"/>
                <a:gd name="f49" fmla="val 105337"/>
                <a:gd name="f50" fmla="val 105613"/>
                <a:gd name="f51" fmla="val 38154"/>
                <a:gd name="f52" fmla="val 346000"/>
                <a:gd name="f53" fmla="val 8933"/>
                <a:gd name="f54" fmla="val 440918"/>
                <a:gd name="f55" fmla="val 3791"/>
                <a:gd name="f56" fmla="val 536252"/>
                <a:gd name="f57" fmla="val 928"/>
                <a:gd name="f58" fmla="+- 0 0 -90"/>
                <a:gd name="f59" fmla="*/ f3 1 12192000"/>
                <a:gd name="f60" fmla="*/ f4 1 1837653"/>
                <a:gd name="f61" fmla="+- f7 0 f5"/>
                <a:gd name="f62" fmla="+- f6 0 f5"/>
                <a:gd name="f63" fmla="*/ f58 f0 1"/>
                <a:gd name="f64" fmla="*/ f62 1 12192000"/>
                <a:gd name="f65" fmla="*/ f61 1 1837653"/>
                <a:gd name="f66" fmla="*/ 631978 f62 1"/>
                <a:gd name="f67" fmla="*/ 192 f61 1"/>
                <a:gd name="f68" fmla="*/ 1503520 f62 1"/>
                <a:gd name="f69" fmla="*/ 46905 f61 1"/>
                <a:gd name="f70" fmla="*/ 7786904 f62 1"/>
                <a:gd name="f71" fmla="*/ 1473930 f61 1"/>
                <a:gd name="f72" fmla="*/ 12192000 f62 1"/>
                <a:gd name="f73" fmla="*/ 1008678 f61 1"/>
                <a:gd name="f74" fmla="*/ 1399189 f61 1"/>
                <a:gd name="f75" fmla="*/ 1684971 f61 1"/>
                <a:gd name="f76" fmla="*/ 1837653 f61 1"/>
                <a:gd name="f77" fmla="*/ 7111369 f62 1"/>
                <a:gd name="f78" fmla="*/ 6700767 f62 1"/>
                <a:gd name="f79" fmla="*/ 1716805 f61 1"/>
                <a:gd name="f80" fmla="*/ 3590934 f62 1"/>
                <a:gd name="f81" fmla="*/ 645969 f61 1"/>
                <a:gd name="f82" fmla="*/ 341773 f62 1"/>
                <a:gd name="f83" fmla="*/ 83899 f61 1"/>
                <a:gd name="f84" fmla="*/ 2197 f62 1"/>
                <a:gd name="f85" fmla="*/ 105337 f61 1"/>
                <a:gd name="f86" fmla="*/ 0 f62 1"/>
                <a:gd name="f87" fmla="*/ 105613 f61 1"/>
                <a:gd name="f88" fmla="*/ 38154 f61 1"/>
                <a:gd name="f89" fmla="*/ 346000 f62 1"/>
                <a:gd name="f90" fmla="*/ 8933 f61 1"/>
                <a:gd name="f91" fmla="*/ f63 1 f2"/>
                <a:gd name="f92" fmla="*/ f66 1 12192000"/>
                <a:gd name="f93" fmla="*/ f67 1 1837653"/>
                <a:gd name="f94" fmla="*/ f68 1 12192000"/>
                <a:gd name="f95" fmla="*/ f69 1 1837653"/>
                <a:gd name="f96" fmla="*/ f70 1 12192000"/>
                <a:gd name="f97" fmla="*/ f71 1 1837653"/>
                <a:gd name="f98" fmla="*/ f72 1 12192000"/>
                <a:gd name="f99" fmla="*/ f73 1 1837653"/>
                <a:gd name="f100" fmla="*/ f74 1 1837653"/>
                <a:gd name="f101" fmla="*/ f75 1 1837653"/>
                <a:gd name="f102" fmla="*/ f76 1 1837653"/>
                <a:gd name="f103" fmla="*/ f77 1 12192000"/>
                <a:gd name="f104" fmla="*/ f78 1 12192000"/>
                <a:gd name="f105" fmla="*/ f79 1 1837653"/>
                <a:gd name="f106" fmla="*/ f80 1 12192000"/>
                <a:gd name="f107" fmla="*/ f81 1 1837653"/>
                <a:gd name="f108" fmla="*/ f82 1 12192000"/>
                <a:gd name="f109" fmla="*/ f83 1 1837653"/>
                <a:gd name="f110" fmla="*/ f84 1 12192000"/>
                <a:gd name="f111" fmla="*/ f85 1 1837653"/>
                <a:gd name="f112" fmla="*/ f86 1 12192000"/>
                <a:gd name="f113" fmla="*/ f87 1 1837653"/>
                <a:gd name="f114" fmla="*/ f88 1 1837653"/>
                <a:gd name="f115" fmla="*/ f89 1 12192000"/>
                <a:gd name="f116" fmla="*/ f90 1 1837653"/>
                <a:gd name="f117" fmla="*/ f5 1 f64"/>
                <a:gd name="f118" fmla="*/ f6 1 f64"/>
                <a:gd name="f119" fmla="*/ f5 1 f65"/>
                <a:gd name="f120" fmla="*/ f7 1 f65"/>
                <a:gd name="f121" fmla="+- f91 0 f1"/>
                <a:gd name="f122" fmla="*/ f92 1 f64"/>
                <a:gd name="f123" fmla="*/ f93 1 f65"/>
                <a:gd name="f124" fmla="*/ f94 1 f64"/>
                <a:gd name="f125" fmla="*/ f95 1 f65"/>
                <a:gd name="f126" fmla="*/ f96 1 f64"/>
                <a:gd name="f127" fmla="*/ f97 1 f65"/>
                <a:gd name="f128" fmla="*/ f98 1 f64"/>
                <a:gd name="f129" fmla="*/ f99 1 f65"/>
                <a:gd name="f130" fmla="*/ f100 1 f65"/>
                <a:gd name="f131" fmla="*/ f101 1 f65"/>
                <a:gd name="f132" fmla="*/ f102 1 f65"/>
                <a:gd name="f133" fmla="*/ f103 1 f64"/>
                <a:gd name="f134" fmla="*/ f104 1 f64"/>
                <a:gd name="f135" fmla="*/ f105 1 f65"/>
                <a:gd name="f136" fmla="*/ f106 1 f64"/>
                <a:gd name="f137" fmla="*/ f107 1 f65"/>
                <a:gd name="f138" fmla="*/ f108 1 f64"/>
                <a:gd name="f139" fmla="*/ f109 1 f65"/>
                <a:gd name="f140" fmla="*/ f110 1 f64"/>
                <a:gd name="f141" fmla="*/ f111 1 f65"/>
                <a:gd name="f142" fmla="*/ f112 1 f64"/>
                <a:gd name="f143" fmla="*/ f113 1 f65"/>
                <a:gd name="f144" fmla="*/ f114 1 f65"/>
                <a:gd name="f145" fmla="*/ f115 1 f64"/>
                <a:gd name="f146" fmla="*/ f116 1 f65"/>
                <a:gd name="f147" fmla="*/ f117 f59 1"/>
                <a:gd name="f148" fmla="*/ f118 f59 1"/>
                <a:gd name="f149" fmla="*/ f120 f60 1"/>
                <a:gd name="f150" fmla="*/ f119 f60 1"/>
                <a:gd name="f151" fmla="*/ f122 f59 1"/>
                <a:gd name="f152" fmla="*/ f123 f60 1"/>
                <a:gd name="f153" fmla="*/ f124 f59 1"/>
                <a:gd name="f154" fmla="*/ f125 f60 1"/>
                <a:gd name="f155" fmla="*/ f126 f59 1"/>
                <a:gd name="f156" fmla="*/ f127 f60 1"/>
                <a:gd name="f157" fmla="*/ f128 f59 1"/>
                <a:gd name="f158" fmla="*/ f129 f60 1"/>
                <a:gd name="f159" fmla="*/ f130 f60 1"/>
                <a:gd name="f160" fmla="*/ f131 f60 1"/>
                <a:gd name="f161" fmla="*/ f132 f60 1"/>
                <a:gd name="f162" fmla="*/ f133 f59 1"/>
                <a:gd name="f163" fmla="*/ f134 f59 1"/>
                <a:gd name="f164" fmla="*/ f135 f60 1"/>
                <a:gd name="f165" fmla="*/ f136 f59 1"/>
                <a:gd name="f166" fmla="*/ f137 f60 1"/>
                <a:gd name="f167" fmla="*/ f138 f59 1"/>
                <a:gd name="f168" fmla="*/ f139 f60 1"/>
                <a:gd name="f169" fmla="*/ f140 f59 1"/>
                <a:gd name="f170" fmla="*/ f141 f60 1"/>
                <a:gd name="f171" fmla="*/ f142 f59 1"/>
                <a:gd name="f172" fmla="*/ f143 f60 1"/>
                <a:gd name="f173" fmla="*/ f144 f60 1"/>
                <a:gd name="f174" fmla="*/ f145 f59 1"/>
                <a:gd name="f175" fmla="*/ f146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1">
                  <a:pos x="f151" y="f152"/>
                </a:cxn>
                <a:cxn ang="f121">
                  <a:pos x="f153" y="f154"/>
                </a:cxn>
                <a:cxn ang="f121">
                  <a:pos x="f155" y="f156"/>
                </a:cxn>
                <a:cxn ang="f121">
                  <a:pos x="f157" y="f158"/>
                </a:cxn>
                <a:cxn ang="f121">
                  <a:pos x="f157" y="f159"/>
                </a:cxn>
                <a:cxn ang="f121">
                  <a:pos x="f157" y="f160"/>
                </a:cxn>
                <a:cxn ang="f121">
                  <a:pos x="f157" y="f161"/>
                </a:cxn>
                <a:cxn ang="f121">
                  <a:pos x="f162" y="f161"/>
                </a:cxn>
                <a:cxn ang="f121">
                  <a:pos x="f163" y="f164"/>
                </a:cxn>
                <a:cxn ang="f121">
                  <a:pos x="f165" y="f166"/>
                </a:cxn>
                <a:cxn ang="f121">
                  <a:pos x="f167" y="f168"/>
                </a:cxn>
                <a:cxn ang="f121">
                  <a:pos x="f169" y="f170"/>
                </a:cxn>
                <a:cxn ang="f121">
                  <a:pos x="f171" y="f172"/>
                </a:cxn>
                <a:cxn ang="f121">
                  <a:pos x="f171" y="f173"/>
                </a:cxn>
                <a:cxn ang="f121">
                  <a:pos x="f174" y="f175"/>
                </a:cxn>
                <a:cxn ang="f121">
                  <a:pos x="f151" y="f152"/>
                </a:cxn>
              </a:cxnLst>
              <a:rect l="f147" t="f150" r="f148" b="f149"/>
              <a:pathLst>
                <a:path w="12192000" h="1837653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6" y="f26"/>
                  </a:cubicBezTo>
                  <a:lnTo>
                    <a:pt x="f6" y="f27"/>
                  </a:lnTo>
                  <a:lnTo>
                    <a:pt x="f6" y="f28"/>
                  </a:lnTo>
                  <a:lnTo>
                    <a:pt x="f6" y="f7"/>
                  </a:lnTo>
                  <a:lnTo>
                    <a:pt x="f29" y="f7"/>
                  </a:lnTo>
                  <a:lnTo>
                    <a:pt x="f30" y="f31"/>
                  </a:lnTo>
                  <a:cubicBezTo>
                    <a:pt x="f32" y="f33"/>
                    <a:pt x="f34" y="f35"/>
                    <a:pt x="f36" y="f37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lnTo>
                    <a:pt x="f5" y="f50"/>
                  </a:lnTo>
                  <a:lnTo>
                    <a:pt x="f5" y="f51"/>
                  </a:lnTo>
                  <a:lnTo>
                    <a:pt x="f52" y="f53"/>
                  </a:lnTo>
                  <a:cubicBezTo>
                    <a:pt x="f54" y="f55"/>
                    <a:pt x="f56" y="f57"/>
                    <a:pt x="f8" y="f9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pic>
          <p:nvPicPr>
            <p:cNvPr id="9" name="Picture 29">
              <a:extLst>
                <a:ext uri="{FF2B5EF4-FFF2-40B4-BE49-F238E27FC236}">
                  <a16:creationId xmlns:a16="http://schemas.microsoft.com/office/drawing/2014/main" id="{0C485B14-0001-2E39-83F2-E7B864983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6535539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 2">
    <p:spTree>
      <p:nvGrpSpPr>
        <p:cNvPr id="1" name="Shape 2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36" name="Google Shape;2636;g3681a448973_2_156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37" name="Google Shape;2637;g3681a448973_2_156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8" name="Google Shape;2638;g3681a448973_2_156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39" name="Google Shape;2639;g3681a448973_2_156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0" name="Google Shape;2640;g3681a448973_2_156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1" name="Google Shape;2641;g3681a448973_2_156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2" name="Google Shape;2642;g3681a448973_2_156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3" name="Google Shape;2643;g3681a448973_2_156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4" name="Google Shape;2644;g3681a448973_2_156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45" name="Google Shape;2645;g3681a448973_2_156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31BE5F48-C896-519A-6BC8-9C4A48DF1F56}"/>
              </a:ext>
            </a:extLst>
          </p:cNvPr>
          <p:cNvSpPr/>
          <p:nvPr/>
        </p:nvSpPr>
        <p:spPr>
          <a:xfrm>
            <a:off x="1427360" y="1387868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F0B244A-2AB2-540E-7D75-53290A8E90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20" tIns="274320" rIns="274320" bIns="274320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9E2513-5087-B6E0-CE74-46E1AA8C145C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427360" y="5007456"/>
            <a:ext cx="10155042" cy="8251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B5158117-D1E4-E285-D27D-B4FB802566D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D41CE7E7-CCD7-4F3E-BF79-5E7A2F8D992A}" type="slidenum">
              <a:t>‹#›</a:t>
            </a:fld>
            <a:endParaRPr lang="en-US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AC4C95BA-9B3C-5758-F583-F970978C4FCF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DC973D28-7FDB-EAAD-DDAE-6E7D997A08B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  <p:grpSp>
        <p:nvGrpSpPr>
          <p:cNvPr id="8" name="Group 32">
            <a:extLst>
              <a:ext uri="{FF2B5EF4-FFF2-40B4-BE49-F238E27FC236}">
                <a16:creationId xmlns:a16="http://schemas.microsoft.com/office/drawing/2014/main" id="{92C5B2B5-EB90-4A6E-2FF7-74671A11FA6D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Picture 33">
              <a:extLst>
                <a:ext uri="{FF2B5EF4-FFF2-40B4-BE49-F238E27FC236}">
                  <a16:creationId xmlns:a16="http://schemas.microsoft.com/office/drawing/2014/main" id="{B0EE08B3-A4EA-7642-5C0B-0A7E6BE91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roup 34">
              <a:extLst>
                <a:ext uri="{FF2B5EF4-FFF2-40B4-BE49-F238E27FC236}">
                  <a16:creationId xmlns:a16="http://schemas.microsoft.com/office/drawing/2014/main" id="{B7A3CB7F-09F8-AD03-4F90-DB13BE320407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Freeform 35">
                <a:extLst>
                  <a:ext uri="{FF2B5EF4-FFF2-40B4-BE49-F238E27FC236}">
                    <a16:creationId xmlns:a16="http://schemas.microsoft.com/office/drawing/2014/main" id="{1CAA5448-742D-3D83-D0F8-9693682D6E0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BBB188AC-AB13-E19B-C5D8-3693D79E75E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pic>
        <p:nvPicPr>
          <p:cNvPr id="13" name="Graphic 8" descr="Open quotation mark with solid fill">
            <a:extLst>
              <a:ext uri="{FF2B5EF4-FFF2-40B4-BE49-F238E27FC236}">
                <a16:creationId xmlns:a16="http://schemas.microsoft.com/office/drawing/2014/main" id="{ABDEA007-16A6-C747-4660-4623E65C736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30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13246478"/>
      </p:ext>
    </p:extLst>
  </p:cSld>
  <p:clrMapOvr>
    <a:masterClrMapping/>
  </p:clrMapOvr>
</p:sldLayout>
</file>

<file path=ppt/slideLayouts/slideLayout2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>
            <a:extLst>
              <a:ext uri="{FF2B5EF4-FFF2-40B4-BE49-F238E27FC236}">
                <a16:creationId xmlns:a16="http://schemas.microsoft.com/office/drawing/2014/main" id="{AEE62181-ECC5-61C7-0107-E72DB6510FDD}"/>
              </a:ext>
            </a:extLst>
          </p:cNvPr>
          <p:cNvGrpSpPr/>
          <p:nvPr/>
        </p:nvGrpSpPr>
        <p:grpSpPr>
          <a:xfrm>
            <a:off x="0" y="5020349"/>
            <a:ext cx="12191996" cy="1837651"/>
            <a:chOff x="0" y="5020348"/>
            <a:chExt cx="12191996" cy="1837651"/>
          </a:xfrm>
        </p:grpSpPr>
        <p:sp>
          <p:nvSpPr>
            <p:cNvPr id="3" name="Freeform 25">
              <a:extLst>
                <a:ext uri="{FF2B5EF4-FFF2-40B4-BE49-F238E27FC236}">
                  <a16:creationId xmlns:a16="http://schemas.microsoft.com/office/drawing/2014/main" id="{E0DAF789-260C-A572-2132-90CFB97397EF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111369"/>
                <a:gd name="f7" fmla="val 1757730"/>
                <a:gd name="f8" fmla="val 772954"/>
                <a:gd name="f9" fmla="val 2778"/>
                <a:gd name="f10" fmla="val 1769038"/>
                <a:gd name="f11" fmla="val 30799"/>
                <a:gd name="f12" fmla="val 2696750"/>
                <a:gd name="f13" fmla="val 267531"/>
                <a:gd name="f14" fmla="val 3590934"/>
                <a:gd name="f15" fmla="val 566046"/>
                <a:gd name="f16" fmla="val 4684008"/>
                <a:gd name="f17" fmla="val 930921"/>
                <a:gd name="f18" fmla="val 5690778"/>
                <a:gd name="f19" fmla="val 1324625"/>
                <a:gd name="f20" fmla="val 6700767"/>
                <a:gd name="f21" fmla="val 1636882"/>
                <a:gd name="f22" fmla="val 25690"/>
                <a:gd name="f23" fmla="val 2197"/>
                <a:gd name="f24" fmla="val 25414"/>
                <a:gd name="f25" fmla="val 114653"/>
                <a:gd name="f26" fmla="val 14905"/>
                <a:gd name="f27" fmla="val 227801"/>
                <a:gd name="f28" fmla="val 7857"/>
                <a:gd name="f29" fmla="val 341773"/>
                <a:gd name="f30" fmla="val 3976"/>
                <a:gd name="f31" fmla="val 486963"/>
                <a:gd name="f32" fmla="+- 0 0 968"/>
                <a:gd name="f33" fmla="val 630656"/>
                <a:gd name="f34" fmla="+- 0 0 1224"/>
                <a:gd name="f35" fmla="+- 0 0 -90"/>
                <a:gd name="f36" fmla="*/ f3 1 7111369"/>
                <a:gd name="f37" fmla="*/ f4 1 1757730"/>
                <a:gd name="f38" fmla="+- f7 0 f5"/>
                <a:gd name="f39" fmla="+- f6 0 f5"/>
                <a:gd name="f40" fmla="*/ f35 f0 1"/>
                <a:gd name="f41" fmla="*/ f39 1 7111369"/>
                <a:gd name="f42" fmla="*/ f38 1 1757730"/>
                <a:gd name="f43" fmla="*/ 772954 f39 1"/>
                <a:gd name="f44" fmla="*/ 2778 f38 1"/>
                <a:gd name="f45" fmla="*/ 3590934 f39 1"/>
                <a:gd name="f46" fmla="*/ 566046 f38 1"/>
                <a:gd name="f47" fmla="*/ 6700767 f39 1"/>
                <a:gd name="f48" fmla="*/ 1636882 f38 1"/>
                <a:gd name="f49" fmla="*/ 7111369 f39 1"/>
                <a:gd name="f50" fmla="*/ 1757730 f38 1"/>
                <a:gd name="f51" fmla="*/ 0 f39 1"/>
                <a:gd name="f52" fmla="*/ 25690 f38 1"/>
                <a:gd name="f53" fmla="*/ 2197 f39 1"/>
                <a:gd name="f54" fmla="*/ 25414 f38 1"/>
                <a:gd name="f55" fmla="*/ 341773 f39 1"/>
                <a:gd name="f56" fmla="*/ 3976 f38 1"/>
                <a:gd name="f57" fmla="*/ f40 1 f2"/>
                <a:gd name="f58" fmla="*/ f43 1 7111369"/>
                <a:gd name="f59" fmla="*/ f44 1 1757730"/>
                <a:gd name="f60" fmla="*/ f45 1 7111369"/>
                <a:gd name="f61" fmla="*/ f46 1 1757730"/>
                <a:gd name="f62" fmla="*/ f47 1 7111369"/>
                <a:gd name="f63" fmla="*/ f48 1 1757730"/>
                <a:gd name="f64" fmla="*/ f49 1 7111369"/>
                <a:gd name="f65" fmla="*/ f50 1 1757730"/>
                <a:gd name="f66" fmla="*/ f51 1 7111369"/>
                <a:gd name="f67" fmla="*/ f52 1 1757730"/>
                <a:gd name="f68" fmla="*/ f53 1 7111369"/>
                <a:gd name="f69" fmla="*/ f54 1 1757730"/>
                <a:gd name="f70" fmla="*/ f55 1 7111369"/>
                <a:gd name="f71" fmla="*/ f56 1 1757730"/>
                <a:gd name="f72" fmla="*/ f5 1 f41"/>
                <a:gd name="f73" fmla="*/ f6 1 f41"/>
                <a:gd name="f74" fmla="*/ f5 1 f42"/>
                <a:gd name="f75" fmla="*/ f7 1 f42"/>
                <a:gd name="f76" fmla="+- f57 0 f1"/>
                <a:gd name="f77" fmla="*/ f58 1 f41"/>
                <a:gd name="f78" fmla="*/ f59 1 f42"/>
                <a:gd name="f79" fmla="*/ f60 1 f41"/>
                <a:gd name="f80" fmla="*/ f61 1 f42"/>
                <a:gd name="f81" fmla="*/ f62 1 f41"/>
                <a:gd name="f82" fmla="*/ f63 1 f42"/>
                <a:gd name="f83" fmla="*/ f64 1 f41"/>
                <a:gd name="f84" fmla="*/ f65 1 f42"/>
                <a:gd name="f85" fmla="*/ f66 1 f41"/>
                <a:gd name="f86" fmla="*/ f67 1 f42"/>
                <a:gd name="f87" fmla="*/ f68 1 f41"/>
                <a:gd name="f88" fmla="*/ f69 1 f42"/>
                <a:gd name="f89" fmla="*/ f70 1 f41"/>
                <a:gd name="f90" fmla="*/ f71 1 f42"/>
                <a:gd name="f91" fmla="*/ f72 f36 1"/>
                <a:gd name="f92" fmla="*/ f73 f36 1"/>
                <a:gd name="f93" fmla="*/ f75 f37 1"/>
                <a:gd name="f94" fmla="*/ f74 f37 1"/>
                <a:gd name="f95" fmla="*/ f77 f36 1"/>
                <a:gd name="f96" fmla="*/ f78 f37 1"/>
                <a:gd name="f97" fmla="*/ f79 f36 1"/>
                <a:gd name="f98" fmla="*/ f80 f37 1"/>
                <a:gd name="f99" fmla="*/ f81 f36 1"/>
                <a:gd name="f100" fmla="*/ f82 f37 1"/>
                <a:gd name="f101" fmla="*/ f83 f36 1"/>
                <a:gd name="f102" fmla="*/ f84 f37 1"/>
                <a:gd name="f103" fmla="*/ f85 f36 1"/>
                <a:gd name="f104" fmla="*/ f86 f37 1"/>
                <a:gd name="f105" fmla="*/ f87 f36 1"/>
                <a:gd name="f106" fmla="*/ f88 f37 1"/>
                <a:gd name="f107" fmla="*/ f89 f36 1"/>
                <a:gd name="f108" fmla="*/ f90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6">
                  <a:pos x="f95" y="f96"/>
                </a:cxn>
                <a:cxn ang="f76">
                  <a:pos x="f97" y="f98"/>
                </a:cxn>
                <a:cxn ang="f76">
                  <a:pos x="f99" y="f100"/>
                </a:cxn>
                <a:cxn ang="f76">
                  <a:pos x="f101" y="f102"/>
                </a:cxn>
                <a:cxn ang="f76">
                  <a:pos x="f103" y="f102"/>
                </a:cxn>
                <a:cxn ang="f76">
                  <a:pos x="f103" y="f104"/>
                </a:cxn>
                <a:cxn ang="f76">
                  <a:pos x="f105" y="f106"/>
                </a:cxn>
                <a:cxn ang="f76">
                  <a:pos x="f107" y="f108"/>
                </a:cxn>
                <a:cxn ang="f76">
                  <a:pos x="f95" y="f96"/>
                </a:cxn>
              </a:cxnLst>
              <a:rect l="f91" t="f94" r="f92" b="f93"/>
              <a:pathLst>
                <a:path w="7111369" h="1757730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6" y="f7"/>
                  </a:lnTo>
                  <a:lnTo>
                    <a:pt x="f5" y="f7"/>
                  </a:lnTo>
                  <a:lnTo>
                    <a:pt x="f5" y="f22"/>
                  </a:lnTo>
                  <a:lnTo>
                    <a:pt x="f23" y="f24"/>
                  </a:ln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8" y="f9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4" name="Freeform 19">
              <a:extLst>
                <a:ext uri="{FF2B5EF4-FFF2-40B4-BE49-F238E27FC236}">
                  <a16:creationId xmlns:a16="http://schemas.microsoft.com/office/drawing/2014/main" id="{F04A3FDB-49FF-6137-D8E0-2C874205A7A0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19056"/>
                <a:gd name="f8" fmla="val 1590347"/>
                <a:gd name="f9" fmla="val 12188220"/>
                <a:gd name="f10" fmla="val 11380834"/>
                <a:gd name="f11" fmla="val 11595183"/>
                <a:gd name="f12" fmla="val 1770580"/>
                <a:gd name="f13" fmla="val 11796947"/>
                <a:gd name="f14" fmla="val 1720044"/>
                <a:gd name="f15" fmla="val 11996151"/>
                <a:gd name="f16" fmla="val 1660154"/>
                <a:gd name="f17" fmla="val 758403"/>
                <a:gd name="f18" fmla="val 2043"/>
                <a:gd name="f19" fmla="val 1686489"/>
                <a:gd name="f20" fmla="val 25125"/>
                <a:gd name="f21" fmla="val 2647016"/>
                <a:gd name="f22" fmla="val 241445"/>
                <a:gd name="f23" fmla="val 3624304"/>
                <a:gd name="f24" fmla="val 526182"/>
                <a:gd name="f25" fmla="val 4845769"/>
                <a:gd name="f26" fmla="val 882033"/>
                <a:gd name="f27" fmla="val 6018540"/>
                <a:gd name="f28" fmla="val 1319108"/>
                <a:gd name="f29" fmla="val 7255331"/>
                <a:gd name="f30" fmla="val 1648964"/>
                <a:gd name="f31" fmla="val 7453869"/>
                <a:gd name="f32" fmla="val 1701922"/>
                <a:gd name="f33" fmla="val 7655427"/>
                <a:gd name="f34" fmla="val 1749451"/>
                <a:gd name="f35" fmla="val 7859208"/>
                <a:gd name="f36" fmla="val 1790989"/>
                <a:gd name="f37" fmla="val 8008547"/>
                <a:gd name="f38" fmla="val 6697152"/>
                <a:gd name="f39" fmla="val 6692612"/>
                <a:gd name="f40" fmla="val 1817638"/>
                <a:gd name="f41" fmla="val 5687256"/>
                <a:gd name="f42" fmla="val 1488590"/>
                <a:gd name="f43" fmla="val 4686470"/>
                <a:gd name="f44" fmla="val 1078099"/>
                <a:gd name="f45" fmla="val 3598861"/>
                <a:gd name="f46" fmla="val 695028"/>
                <a:gd name="f47" fmla="val 2581993"/>
                <a:gd name="f48" fmla="val 336916"/>
                <a:gd name="f49" fmla="val 1520053"/>
                <a:gd name="f50" fmla="val 58744"/>
                <a:gd name="f51" fmla="val 357248"/>
                <a:gd name="f52" fmla="val 79163"/>
                <a:gd name="f53" fmla="val 243154"/>
                <a:gd name="f54" fmla="val 81169"/>
                <a:gd name="f55" fmla="val 129832"/>
                <a:gd name="f56" fmla="val 86358"/>
                <a:gd name="f57" fmla="val 17144"/>
                <a:gd name="f58" fmla="val 95022"/>
                <a:gd name="f59" fmla="val 96893"/>
                <a:gd name="f60" fmla="val 29948"/>
                <a:gd name="f61" fmla="val 15757"/>
                <a:gd name="f62" fmla="val 27869"/>
                <a:gd name="f63" fmla="val 130823"/>
                <a:gd name="f64" fmla="val 16482"/>
                <a:gd name="f65" fmla="val 246476"/>
                <a:gd name="f66" fmla="val 8725"/>
                <a:gd name="f67" fmla="val 362684"/>
                <a:gd name="f68" fmla="val 4345"/>
                <a:gd name="f69" fmla="val 493898"/>
                <a:gd name="f70" fmla="+- 0 0 608"/>
                <a:gd name="f71" fmla="val 625820"/>
                <a:gd name="f72" fmla="+- 0 0 1255"/>
                <a:gd name="f73" fmla="+- 0 0 -90"/>
                <a:gd name="f74" fmla="*/ f3 1 12192000"/>
                <a:gd name="f75" fmla="*/ f4 1 1819056"/>
                <a:gd name="f76" fmla="+- f7 0 f5"/>
                <a:gd name="f77" fmla="+- f6 0 f5"/>
                <a:gd name="f78" fmla="*/ f73 f0 1"/>
                <a:gd name="f79" fmla="*/ f77 1 12192000"/>
                <a:gd name="f80" fmla="*/ f76 1 1819056"/>
                <a:gd name="f81" fmla="*/ 12192000 f77 1"/>
                <a:gd name="f82" fmla="*/ 1590347 f76 1"/>
                <a:gd name="f83" fmla="*/ 12188220 f77 1"/>
                <a:gd name="f84" fmla="*/ 1819056 f76 1"/>
                <a:gd name="f85" fmla="*/ 11380834 f77 1"/>
                <a:gd name="f86" fmla="*/ 11595183 f77 1"/>
                <a:gd name="f87" fmla="*/ 1770580 f76 1"/>
                <a:gd name="f88" fmla="*/ 758403 f77 1"/>
                <a:gd name="f89" fmla="*/ 2043 f76 1"/>
                <a:gd name="f90" fmla="*/ 3624304 f77 1"/>
                <a:gd name="f91" fmla="*/ 526182 f76 1"/>
                <a:gd name="f92" fmla="*/ 7255331 f77 1"/>
                <a:gd name="f93" fmla="*/ 1648964 f76 1"/>
                <a:gd name="f94" fmla="*/ 7859208 f77 1"/>
                <a:gd name="f95" fmla="*/ 1790989 f76 1"/>
                <a:gd name="f96" fmla="*/ 8008547 f77 1"/>
                <a:gd name="f97" fmla="*/ 6697152 f77 1"/>
                <a:gd name="f98" fmla="*/ 6692612 f77 1"/>
                <a:gd name="f99" fmla="*/ 1817638 f76 1"/>
                <a:gd name="f100" fmla="*/ 3598861 f77 1"/>
                <a:gd name="f101" fmla="*/ 695028 f76 1"/>
                <a:gd name="f102" fmla="*/ 357248 f77 1"/>
                <a:gd name="f103" fmla="*/ 79163 f76 1"/>
                <a:gd name="f104" fmla="*/ 17144 f77 1"/>
                <a:gd name="f105" fmla="*/ 95022 f76 1"/>
                <a:gd name="f106" fmla="*/ 0 f77 1"/>
                <a:gd name="f107" fmla="*/ 96893 f76 1"/>
                <a:gd name="f108" fmla="*/ 29948 f76 1"/>
                <a:gd name="f109" fmla="*/ 15757 f77 1"/>
                <a:gd name="f110" fmla="*/ 27869 f76 1"/>
                <a:gd name="f111" fmla="*/ 362684 f77 1"/>
                <a:gd name="f112" fmla="*/ 4345 f76 1"/>
                <a:gd name="f113" fmla="*/ f78 1 f2"/>
                <a:gd name="f114" fmla="*/ f81 1 12192000"/>
                <a:gd name="f115" fmla="*/ f82 1 1819056"/>
                <a:gd name="f116" fmla="*/ f83 1 12192000"/>
                <a:gd name="f117" fmla="*/ f84 1 1819056"/>
                <a:gd name="f118" fmla="*/ f85 1 12192000"/>
                <a:gd name="f119" fmla="*/ f86 1 12192000"/>
                <a:gd name="f120" fmla="*/ f87 1 1819056"/>
                <a:gd name="f121" fmla="*/ f88 1 12192000"/>
                <a:gd name="f122" fmla="*/ f89 1 1819056"/>
                <a:gd name="f123" fmla="*/ f90 1 12192000"/>
                <a:gd name="f124" fmla="*/ f91 1 1819056"/>
                <a:gd name="f125" fmla="*/ f92 1 12192000"/>
                <a:gd name="f126" fmla="*/ f93 1 1819056"/>
                <a:gd name="f127" fmla="*/ f94 1 12192000"/>
                <a:gd name="f128" fmla="*/ f95 1 1819056"/>
                <a:gd name="f129" fmla="*/ f96 1 12192000"/>
                <a:gd name="f130" fmla="*/ f97 1 12192000"/>
                <a:gd name="f131" fmla="*/ f98 1 12192000"/>
                <a:gd name="f132" fmla="*/ f99 1 1819056"/>
                <a:gd name="f133" fmla="*/ f100 1 12192000"/>
                <a:gd name="f134" fmla="*/ f101 1 1819056"/>
                <a:gd name="f135" fmla="*/ f102 1 12192000"/>
                <a:gd name="f136" fmla="*/ f103 1 1819056"/>
                <a:gd name="f137" fmla="*/ f104 1 12192000"/>
                <a:gd name="f138" fmla="*/ f105 1 1819056"/>
                <a:gd name="f139" fmla="*/ f106 1 12192000"/>
                <a:gd name="f140" fmla="*/ f107 1 1819056"/>
                <a:gd name="f141" fmla="*/ f108 1 1819056"/>
                <a:gd name="f142" fmla="*/ f109 1 12192000"/>
                <a:gd name="f143" fmla="*/ f110 1 1819056"/>
                <a:gd name="f144" fmla="*/ f111 1 12192000"/>
                <a:gd name="f145" fmla="*/ f112 1 1819056"/>
                <a:gd name="f146" fmla="*/ f5 1 f79"/>
                <a:gd name="f147" fmla="*/ f6 1 f79"/>
                <a:gd name="f148" fmla="*/ f5 1 f80"/>
                <a:gd name="f149" fmla="*/ f7 1 f80"/>
                <a:gd name="f150" fmla="+- f113 0 f1"/>
                <a:gd name="f151" fmla="*/ f114 1 f79"/>
                <a:gd name="f152" fmla="*/ f115 1 f80"/>
                <a:gd name="f153" fmla="*/ f116 1 f79"/>
                <a:gd name="f154" fmla="*/ f117 1 f80"/>
                <a:gd name="f155" fmla="*/ f118 1 f79"/>
                <a:gd name="f156" fmla="*/ f119 1 f79"/>
                <a:gd name="f157" fmla="*/ f120 1 f80"/>
                <a:gd name="f158" fmla="*/ f121 1 f79"/>
                <a:gd name="f159" fmla="*/ f122 1 f80"/>
                <a:gd name="f160" fmla="*/ f123 1 f79"/>
                <a:gd name="f161" fmla="*/ f124 1 f80"/>
                <a:gd name="f162" fmla="*/ f125 1 f79"/>
                <a:gd name="f163" fmla="*/ f126 1 f80"/>
                <a:gd name="f164" fmla="*/ f127 1 f79"/>
                <a:gd name="f165" fmla="*/ f128 1 f80"/>
                <a:gd name="f166" fmla="*/ f129 1 f79"/>
                <a:gd name="f167" fmla="*/ f130 1 f79"/>
                <a:gd name="f168" fmla="*/ f131 1 f79"/>
                <a:gd name="f169" fmla="*/ f132 1 f80"/>
                <a:gd name="f170" fmla="*/ f133 1 f79"/>
                <a:gd name="f171" fmla="*/ f134 1 f80"/>
                <a:gd name="f172" fmla="*/ f135 1 f79"/>
                <a:gd name="f173" fmla="*/ f136 1 f80"/>
                <a:gd name="f174" fmla="*/ f137 1 f79"/>
                <a:gd name="f175" fmla="*/ f138 1 f80"/>
                <a:gd name="f176" fmla="*/ f139 1 f79"/>
                <a:gd name="f177" fmla="*/ f140 1 f80"/>
                <a:gd name="f178" fmla="*/ f141 1 f80"/>
                <a:gd name="f179" fmla="*/ f142 1 f79"/>
                <a:gd name="f180" fmla="*/ f143 1 f80"/>
                <a:gd name="f181" fmla="*/ f144 1 f79"/>
                <a:gd name="f182" fmla="*/ f145 1 f80"/>
                <a:gd name="f183" fmla="*/ f146 f74 1"/>
                <a:gd name="f184" fmla="*/ f147 f74 1"/>
                <a:gd name="f185" fmla="*/ f149 f75 1"/>
                <a:gd name="f186" fmla="*/ f148 f75 1"/>
                <a:gd name="f187" fmla="*/ f151 f74 1"/>
                <a:gd name="f188" fmla="*/ f152 f75 1"/>
                <a:gd name="f189" fmla="*/ f153 f74 1"/>
                <a:gd name="f190" fmla="*/ f154 f75 1"/>
                <a:gd name="f191" fmla="*/ f155 f74 1"/>
                <a:gd name="f192" fmla="*/ f156 f74 1"/>
                <a:gd name="f193" fmla="*/ f157 f75 1"/>
                <a:gd name="f194" fmla="*/ f158 f74 1"/>
                <a:gd name="f195" fmla="*/ f159 f75 1"/>
                <a:gd name="f196" fmla="*/ f160 f74 1"/>
                <a:gd name="f197" fmla="*/ f161 f75 1"/>
                <a:gd name="f198" fmla="*/ f162 f74 1"/>
                <a:gd name="f199" fmla="*/ f163 f75 1"/>
                <a:gd name="f200" fmla="*/ f164 f74 1"/>
                <a:gd name="f201" fmla="*/ f165 f75 1"/>
                <a:gd name="f202" fmla="*/ f166 f74 1"/>
                <a:gd name="f203" fmla="*/ f167 f74 1"/>
                <a:gd name="f204" fmla="*/ f168 f74 1"/>
                <a:gd name="f205" fmla="*/ f169 f75 1"/>
                <a:gd name="f206" fmla="*/ f170 f74 1"/>
                <a:gd name="f207" fmla="*/ f171 f75 1"/>
                <a:gd name="f208" fmla="*/ f172 f74 1"/>
                <a:gd name="f209" fmla="*/ f173 f75 1"/>
                <a:gd name="f210" fmla="*/ f174 f74 1"/>
                <a:gd name="f211" fmla="*/ f175 f75 1"/>
                <a:gd name="f212" fmla="*/ f176 f74 1"/>
                <a:gd name="f213" fmla="*/ f177 f75 1"/>
                <a:gd name="f214" fmla="*/ f178 f75 1"/>
                <a:gd name="f215" fmla="*/ f179 f74 1"/>
                <a:gd name="f216" fmla="*/ f180 f75 1"/>
                <a:gd name="f217" fmla="*/ f181 f74 1"/>
                <a:gd name="f218" fmla="*/ f182 f7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0">
                  <a:pos x="f187" y="f188"/>
                </a:cxn>
                <a:cxn ang="f150">
                  <a:pos x="f189" y="f190"/>
                </a:cxn>
                <a:cxn ang="f150">
                  <a:pos x="f191" y="f190"/>
                </a:cxn>
                <a:cxn ang="f150">
                  <a:pos x="f192" y="f193"/>
                </a:cxn>
                <a:cxn ang="f150">
                  <a:pos x="f187" y="f188"/>
                </a:cxn>
                <a:cxn ang="f150">
                  <a:pos x="f194" y="f195"/>
                </a:cxn>
                <a:cxn ang="f150">
                  <a:pos x="f196" y="f197"/>
                </a:cxn>
                <a:cxn ang="f150">
                  <a:pos x="f198" y="f199"/>
                </a:cxn>
                <a:cxn ang="f150">
                  <a:pos x="f200" y="f201"/>
                </a:cxn>
                <a:cxn ang="f150">
                  <a:pos x="f202" y="f190"/>
                </a:cxn>
                <a:cxn ang="f150">
                  <a:pos x="f203" y="f190"/>
                </a:cxn>
                <a:cxn ang="f150">
                  <a:pos x="f204" y="f205"/>
                </a:cxn>
                <a:cxn ang="f150">
                  <a:pos x="f206" y="f207"/>
                </a:cxn>
                <a:cxn ang="f150">
                  <a:pos x="f208" y="f209"/>
                </a:cxn>
                <a:cxn ang="f150">
                  <a:pos x="f210" y="f211"/>
                </a:cxn>
                <a:cxn ang="f150">
                  <a:pos x="f212" y="f213"/>
                </a:cxn>
                <a:cxn ang="f150">
                  <a:pos x="f212" y="f214"/>
                </a:cxn>
                <a:cxn ang="f150">
                  <a:pos x="f215" y="f216"/>
                </a:cxn>
                <a:cxn ang="f150">
                  <a:pos x="f217" y="f218"/>
                </a:cxn>
                <a:cxn ang="f150">
                  <a:pos x="f194" y="f195"/>
                </a:cxn>
              </a:cxnLst>
              <a:rect l="f183" t="f186" r="f184" b="f185"/>
              <a:pathLst>
                <a:path w="12192000" h="1819056">
                  <a:moveTo>
                    <a:pt x="f6" y="f8"/>
                  </a:moveTo>
                  <a:lnTo>
                    <a:pt x="f9" y="f7"/>
                  </a:lnTo>
                  <a:lnTo>
                    <a:pt x="f10" y="f7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6" y="f8"/>
                  </a:cubicBezTo>
                  <a:close/>
                  <a:moveTo>
                    <a:pt x="f17" y="f18"/>
                  </a:move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7" y="f7"/>
                  </a:lnTo>
                  <a:lnTo>
                    <a:pt x="f38" y="f7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lnTo>
                    <a:pt x="f5" y="f59"/>
                  </a:lnTo>
                  <a:lnTo>
                    <a:pt x="f5" y="f60"/>
                  </a:lnTo>
                  <a:lnTo>
                    <a:pt x="f61" y="f62"/>
                  </a:ln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17" y="f18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5654BAA7-AA68-0728-CBCF-FFE75DCF9031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37653"/>
                <a:gd name="f8" fmla="val 631978"/>
                <a:gd name="f9" fmla="val 192"/>
                <a:gd name="f10" fmla="val 919158"/>
                <a:gd name="f11" fmla="+- 0 0 2016"/>
                <a:gd name="f12" fmla="val 1209873"/>
                <a:gd name="f13" fmla="val 14922"/>
                <a:gd name="f14" fmla="val 1503520"/>
                <a:gd name="f15" fmla="val 46905"/>
                <a:gd name="f16" fmla="val 3549714"/>
                <a:gd name="f17" fmla="val 172355"/>
                <a:gd name="f18" fmla="val 5706358"/>
                <a:gd name="f19" fmla="val 1115591"/>
                <a:gd name="f20" fmla="val 7786904"/>
                <a:gd name="f21" fmla="val 1473930"/>
                <a:gd name="f22" fmla="val 9204661"/>
                <a:gd name="f23" fmla="val 1718045"/>
                <a:gd name="f24" fmla="val 10875183"/>
                <a:gd name="f25" fmla="val 1584536"/>
                <a:gd name="f26" fmla="val 1008678"/>
                <a:gd name="f27" fmla="val 1399189"/>
                <a:gd name="f28" fmla="val 1684971"/>
                <a:gd name="f29" fmla="val 7111369"/>
                <a:gd name="f30" fmla="val 6700767"/>
                <a:gd name="f31" fmla="val 1716805"/>
                <a:gd name="f32" fmla="val 5690778"/>
                <a:gd name="f33" fmla="val 1404548"/>
                <a:gd name="f34" fmla="val 4684008"/>
                <a:gd name="f35" fmla="val 1010844"/>
                <a:gd name="f36" fmla="val 3590934"/>
                <a:gd name="f37" fmla="val 645969"/>
                <a:gd name="f38" fmla="val 2569009"/>
                <a:gd name="f39" fmla="val 304809"/>
                <a:gd name="f40" fmla="val 1503293"/>
                <a:gd name="f41" fmla="val 44345"/>
                <a:gd name="f42" fmla="val 341773"/>
                <a:gd name="f43" fmla="val 83899"/>
                <a:gd name="f44" fmla="val 227801"/>
                <a:gd name="f45" fmla="val 87780"/>
                <a:gd name="f46" fmla="val 114653"/>
                <a:gd name="f47" fmla="val 94828"/>
                <a:gd name="f48" fmla="val 2197"/>
                <a:gd name="f49" fmla="val 105337"/>
                <a:gd name="f50" fmla="val 105613"/>
                <a:gd name="f51" fmla="val 38154"/>
                <a:gd name="f52" fmla="val 346000"/>
                <a:gd name="f53" fmla="val 8933"/>
                <a:gd name="f54" fmla="val 440918"/>
                <a:gd name="f55" fmla="val 3791"/>
                <a:gd name="f56" fmla="val 536252"/>
                <a:gd name="f57" fmla="val 928"/>
                <a:gd name="f58" fmla="+- 0 0 -90"/>
                <a:gd name="f59" fmla="*/ f3 1 12192000"/>
                <a:gd name="f60" fmla="*/ f4 1 1837653"/>
                <a:gd name="f61" fmla="+- f7 0 f5"/>
                <a:gd name="f62" fmla="+- f6 0 f5"/>
                <a:gd name="f63" fmla="*/ f58 f0 1"/>
                <a:gd name="f64" fmla="*/ f62 1 12192000"/>
                <a:gd name="f65" fmla="*/ f61 1 1837653"/>
                <a:gd name="f66" fmla="*/ 631978 f62 1"/>
                <a:gd name="f67" fmla="*/ 192 f61 1"/>
                <a:gd name="f68" fmla="*/ 1503520 f62 1"/>
                <a:gd name="f69" fmla="*/ 46905 f61 1"/>
                <a:gd name="f70" fmla="*/ 7786904 f62 1"/>
                <a:gd name="f71" fmla="*/ 1473930 f61 1"/>
                <a:gd name="f72" fmla="*/ 12192000 f62 1"/>
                <a:gd name="f73" fmla="*/ 1008678 f61 1"/>
                <a:gd name="f74" fmla="*/ 1399189 f61 1"/>
                <a:gd name="f75" fmla="*/ 1684971 f61 1"/>
                <a:gd name="f76" fmla="*/ 1837653 f61 1"/>
                <a:gd name="f77" fmla="*/ 7111369 f62 1"/>
                <a:gd name="f78" fmla="*/ 6700767 f62 1"/>
                <a:gd name="f79" fmla="*/ 1716805 f61 1"/>
                <a:gd name="f80" fmla="*/ 3590934 f62 1"/>
                <a:gd name="f81" fmla="*/ 645969 f61 1"/>
                <a:gd name="f82" fmla="*/ 341773 f62 1"/>
                <a:gd name="f83" fmla="*/ 83899 f61 1"/>
                <a:gd name="f84" fmla="*/ 2197 f62 1"/>
                <a:gd name="f85" fmla="*/ 105337 f61 1"/>
                <a:gd name="f86" fmla="*/ 0 f62 1"/>
                <a:gd name="f87" fmla="*/ 105613 f61 1"/>
                <a:gd name="f88" fmla="*/ 38154 f61 1"/>
                <a:gd name="f89" fmla="*/ 346000 f62 1"/>
                <a:gd name="f90" fmla="*/ 8933 f61 1"/>
                <a:gd name="f91" fmla="*/ f63 1 f2"/>
                <a:gd name="f92" fmla="*/ f66 1 12192000"/>
                <a:gd name="f93" fmla="*/ f67 1 1837653"/>
                <a:gd name="f94" fmla="*/ f68 1 12192000"/>
                <a:gd name="f95" fmla="*/ f69 1 1837653"/>
                <a:gd name="f96" fmla="*/ f70 1 12192000"/>
                <a:gd name="f97" fmla="*/ f71 1 1837653"/>
                <a:gd name="f98" fmla="*/ f72 1 12192000"/>
                <a:gd name="f99" fmla="*/ f73 1 1837653"/>
                <a:gd name="f100" fmla="*/ f74 1 1837653"/>
                <a:gd name="f101" fmla="*/ f75 1 1837653"/>
                <a:gd name="f102" fmla="*/ f76 1 1837653"/>
                <a:gd name="f103" fmla="*/ f77 1 12192000"/>
                <a:gd name="f104" fmla="*/ f78 1 12192000"/>
                <a:gd name="f105" fmla="*/ f79 1 1837653"/>
                <a:gd name="f106" fmla="*/ f80 1 12192000"/>
                <a:gd name="f107" fmla="*/ f81 1 1837653"/>
                <a:gd name="f108" fmla="*/ f82 1 12192000"/>
                <a:gd name="f109" fmla="*/ f83 1 1837653"/>
                <a:gd name="f110" fmla="*/ f84 1 12192000"/>
                <a:gd name="f111" fmla="*/ f85 1 1837653"/>
                <a:gd name="f112" fmla="*/ f86 1 12192000"/>
                <a:gd name="f113" fmla="*/ f87 1 1837653"/>
                <a:gd name="f114" fmla="*/ f88 1 1837653"/>
                <a:gd name="f115" fmla="*/ f89 1 12192000"/>
                <a:gd name="f116" fmla="*/ f90 1 1837653"/>
                <a:gd name="f117" fmla="*/ f5 1 f64"/>
                <a:gd name="f118" fmla="*/ f6 1 f64"/>
                <a:gd name="f119" fmla="*/ f5 1 f65"/>
                <a:gd name="f120" fmla="*/ f7 1 f65"/>
                <a:gd name="f121" fmla="+- f91 0 f1"/>
                <a:gd name="f122" fmla="*/ f92 1 f64"/>
                <a:gd name="f123" fmla="*/ f93 1 f65"/>
                <a:gd name="f124" fmla="*/ f94 1 f64"/>
                <a:gd name="f125" fmla="*/ f95 1 f65"/>
                <a:gd name="f126" fmla="*/ f96 1 f64"/>
                <a:gd name="f127" fmla="*/ f97 1 f65"/>
                <a:gd name="f128" fmla="*/ f98 1 f64"/>
                <a:gd name="f129" fmla="*/ f99 1 f65"/>
                <a:gd name="f130" fmla="*/ f100 1 f65"/>
                <a:gd name="f131" fmla="*/ f101 1 f65"/>
                <a:gd name="f132" fmla="*/ f102 1 f65"/>
                <a:gd name="f133" fmla="*/ f103 1 f64"/>
                <a:gd name="f134" fmla="*/ f104 1 f64"/>
                <a:gd name="f135" fmla="*/ f105 1 f65"/>
                <a:gd name="f136" fmla="*/ f106 1 f64"/>
                <a:gd name="f137" fmla="*/ f107 1 f65"/>
                <a:gd name="f138" fmla="*/ f108 1 f64"/>
                <a:gd name="f139" fmla="*/ f109 1 f65"/>
                <a:gd name="f140" fmla="*/ f110 1 f64"/>
                <a:gd name="f141" fmla="*/ f111 1 f65"/>
                <a:gd name="f142" fmla="*/ f112 1 f64"/>
                <a:gd name="f143" fmla="*/ f113 1 f65"/>
                <a:gd name="f144" fmla="*/ f114 1 f65"/>
                <a:gd name="f145" fmla="*/ f115 1 f64"/>
                <a:gd name="f146" fmla="*/ f116 1 f65"/>
                <a:gd name="f147" fmla="*/ f117 f59 1"/>
                <a:gd name="f148" fmla="*/ f118 f59 1"/>
                <a:gd name="f149" fmla="*/ f120 f60 1"/>
                <a:gd name="f150" fmla="*/ f119 f60 1"/>
                <a:gd name="f151" fmla="*/ f122 f59 1"/>
                <a:gd name="f152" fmla="*/ f123 f60 1"/>
                <a:gd name="f153" fmla="*/ f124 f59 1"/>
                <a:gd name="f154" fmla="*/ f125 f60 1"/>
                <a:gd name="f155" fmla="*/ f126 f59 1"/>
                <a:gd name="f156" fmla="*/ f127 f60 1"/>
                <a:gd name="f157" fmla="*/ f128 f59 1"/>
                <a:gd name="f158" fmla="*/ f129 f60 1"/>
                <a:gd name="f159" fmla="*/ f130 f60 1"/>
                <a:gd name="f160" fmla="*/ f131 f60 1"/>
                <a:gd name="f161" fmla="*/ f132 f60 1"/>
                <a:gd name="f162" fmla="*/ f133 f59 1"/>
                <a:gd name="f163" fmla="*/ f134 f59 1"/>
                <a:gd name="f164" fmla="*/ f135 f60 1"/>
                <a:gd name="f165" fmla="*/ f136 f59 1"/>
                <a:gd name="f166" fmla="*/ f137 f60 1"/>
                <a:gd name="f167" fmla="*/ f138 f59 1"/>
                <a:gd name="f168" fmla="*/ f139 f60 1"/>
                <a:gd name="f169" fmla="*/ f140 f59 1"/>
                <a:gd name="f170" fmla="*/ f141 f60 1"/>
                <a:gd name="f171" fmla="*/ f142 f59 1"/>
                <a:gd name="f172" fmla="*/ f143 f60 1"/>
                <a:gd name="f173" fmla="*/ f144 f60 1"/>
                <a:gd name="f174" fmla="*/ f145 f59 1"/>
                <a:gd name="f175" fmla="*/ f146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1">
                  <a:pos x="f151" y="f152"/>
                </a:cxn>
                <a:cxn ang="f121">
                  <a:pos x="f153" y="f154"/>
                </a:cxn>
                <a:cxn ang="f121">
                  <a:pos x="f155" y="f156"/>
                </a:cxn>
                <a:cxn ang="f121">
                  <a:pos x="f157" y="f158"/>
                </a:cxn>
                <a:cxn ang="f121">
                  <a:pos x="f157" y="f159"/>
                </a:cxn>
                <a:cxn ang="f121">
                  <a:pos x="f157" y="f160"/>
                </a:cxn>
                <a:cxn ang="f121">
                  <a:pos x="f157" y="f161"/>
                </a:cxn>
                <a:cxn ang="f121">
                  <a:pos x="f162" y="f161"/>
                </a:cxn>
                <a:cxn ang="f121">
                  <a:pos x="f163" y="f164"/>
                </a:cxn>
                <a:cxn ang="f121">
                  <a:pos x="f165" y="f166"/>
                </a:cxn>
                <a:cxn ang="f121">
                  <a:pos x="f167" y="f168"/>
                </a:cxn>
                <a:cxn ang="f121">
                  <a:pos x="f169" y="f170"/>
                </a:cxn>
                <a:cxn ang="f121">
                  <a:pos x="f171" y="f172"/>
                </a:cxn>
                <a:cxn ang="f121">
                  <a:pos x="f171" y="f173"/>
                </a:cxn>
                <a:cxn ang="f121">
                  <a:pos x="f174" y="f175"/>
                </a:cxn>
                <a:cxn ang="f121">
                  <a:pos x="f151" y="f152"/>
                </a:cxn>
              </a:cxnLst>
              <a:rect l="f147" t="f150" r="f148" b="f149"/>
              <a:pathLst>
                <a:path w="12192000" h="1837653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6" y="f26"/>
                  </a:cubicBezTo>
                  <a:lnTo>
                    <a:pt x="f6" y="f27"/>
                  </a:lnTo>
                  <a:lnTo>
                    <a:pt x="f6" y="f28"/>
                  </a:lnTo>
                  <a:lnTo>
                    <a:pt x="f6" y="f7"/>
                  </a:lnTo>
                  <a:lnTo>
                    <a:pt x="f29" y="f7"/>
                  </a:lnTo>
                  <a:lnTo>
                    <a:pt x="f30" y="f31"/>
                  </a:lnTo>
                  <a:cubicBezTo>
                    <a:pt x="f32" y="f33"/>
                    <a:pt x="f34" y="f35"/>
                    <a:pt x="f36" y="f37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lnTo>
                    <a:pt x="f5" y="f50"/>
                  </a:lnTo>
                  <a:lnTo>
                    <a:pt x="f5" y="f51"/>
                  </a:lnTo>
                  <a:lnTo>
                    <a:pt x="f52" y="f53"/>
                  </a:lnTo>
                  <a:cubicBezTo>
                    <a:pt x="f54" y="f55"/>
                    <a:pt x="f56" y="f57"/>
                    <a:pt x="f8" y="f9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pic>
          <p:nvPicPr>
            <p:cNvPr id="6" name="Picture 20">
              <a:extLst>
                <a:ext uri="{FF2B5EF4-FFF2-40B4-BE49-F238E27FC236}">
                  <a16:creationId xmlns:a16="http://schemas.microsoft.com/office/drawing/2014/main" id="{E1A305E4-7C3C-0CC0-0AFB-CFFF06379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Title 10">
            <a:extLst>
              <a:ext uri="{FF2B5EF4-FFF2-40B4-BE49-F238E27FC236}">
                <a16:creationId xmlns:a16="http://schemas.microsoft.com/office/drawing/2014/main" id="{3D1346F5-17D4-43BF-A515-800839AB76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8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34B4C36-E70D-1B01-4574-F9A1A81E837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16503712"/>
      </p:ext>
    </p:extLst>
  </p:cSld>
  <p:clrMapOvr>
    <a:masterClrMapping/>
  </p:clrMapOvr>
</p:sldLayout>
</file>

<file path=ppt/slideLayouts/slideLayout26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646F6621-395E-AA3F-4C95-C3B3DD6BDD29}"/>
              </a:ext>
            </a:extLst>
          </p:cNvPr>
          <p:cNvSpPr/>
          <p:nvPr/>
        </p:nvSpPr>
        <p:spPr>
          <a:xfrm>
            <a:off x="1427360" y="1387868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6D1EBF-7749-7C90-AFAB-38F2203899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20" tIns="274320" rIns="274320" bIns="274320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447A1B4-789F-F549-D80E-21F454798B7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427360" y="5007456"/>
            <a:ext cx="10155042" cy="8251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25805F7-D5C0-FAB0-3974-15AAC3D0C97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AFB71609-314F-4F7B-8BF6-0A492ABBD85C}" type="slidenum">
              <a:t>‹#›</a:t>
            </a:fld>
            <a:endParaRPr lang="en-US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A4F0A134-C12A-28A0-1024-B2059E889B7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99EA662-5636-B9F7-3FA4-5700F3F8C0A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  <p:grpSp>
        <p:nvGrpSpPr>
          <p:cNvPr id="8" name="Group 32">
            <a:extLst>
              <a:ext uri="{FF2B5EF4-FFF2-40B4-BE49-F238E27FC236}">
                <a16:creationId xmlns:a16="http://schemas.microsoft.com/office/drawing/2014/main" id="{C5D6F4C4-0A0D-D489-632E-6474E6A553D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Picture 33">
              <a:extLst>
                <a:ext uri="{FF2B5EF4-FFF2-40B4-BE49-F238E27FC236}">
                  <a16:creationId xmlns:a16="http://schemas.microsoft.com/office/drawing/2014/main" id="{336FF487-052B-E459-90C4-B9DE9DD71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roup 34">
              <a:extLst>
                <a:ext uri="{FF2B5EF4-FFF2-40B4-BE49-F238E27FC236}">
                  <a16:creationId xmlns:a16="http://schemas.microsoft.com/office/drawing/2014/main" id="{BAC722C0-9211-70E9-8FC7-177E05B3D46A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Freeform 35">
                <a:extLst>
                  <a:ext uri="{FF2B5EF4-FFF2-40B4-BE49-F238E27FC236}">
                    <a16:creationId xmlns:a16="http://schemas.microsoft.com/office/drawing/2014/main" id="{81526EA7-2875-4517-CC70-0254FE007F4A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937B4EA3-00ED-4C4A-A216-DA452C55BF78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pic>
        <p:nvPicPr>
          <p:cNvPr id="13" name="Graphic 8" descr="Open quotation mark with solid fill">
            <a:extLst>
              <a:ext uri="{FF2B5EF4-FFF2-40B4-BE49-F238E27FC236}">
                <a16:creationId xmlns:a16="http://schemas.microsoft.com/office/drawing/2014/main" id="{981E9981-F507-3FA4-C6B6-735E4B8D784B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30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128647553"/>
      </p:ext>
    </p:extLst>
  </p:cSld>
  <p:clrMapOvr>
    <a:masterClrMapping/>
  </p:clrMapOvr>
</p:sldLayout>
</file>

<file path=ppt/slideLayouts/slideLayout26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3">
            <a:extLst>
              <a:ext uri="{FF2B5EF4-FFF2-40B4-BE49-F238E27FC236}">
                <a16:creationId xmlns:a16="http://schemas.microsoft.com/office/drawing/2014/main" id="{2797D6D1-9657-07EB-A09D-C237DBE732B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Picture 64">
              <a:extLst>
                <a:ext uri="{FF2B5EF4-FFF2-40B4-BE49-F238E27FC236}">
                  <a16:creationId xmlns:a16="http://schemas.microsoft.com/office/drawing/2014/main" id="{3EB0E195-C751-E88D-561F-D808250C5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1CB1F43A-82CB-67AA-0213-FE0ABC31CF8D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Freeform 66">
                <a:extLst>
                  <a:ext uri="{FF2B5EF4-FFF2-40B4-BE49-F238E27FC236}">
                    <a16:creationId xmlns:a16="http://schemas.microsoft.com/office/drawing/2014/main" id="{653963FD-300D-8958-E3F4-36DA58B0F8E2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6" name="Freeform 67">
                <a:extLst>
                  <a:ext uri="{FF2B5EF4-FFF2-40B4-BE49-F238E27FC236}">
                    <a16:creationId xmlns:a16="http://schemas.microsoft.com/office/drawing/2014/main" id="{C4EA4C07-F151-6044-AB10-8DBF8A342F1D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36EB81-509A-B2C9-4520-23482707538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6A8BE1E-4BD4-B305-8926-BE0A15254E85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CF553C2-48AC-C614-4DF2-505DB87CC27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99D1825B-3D7C-49D9-B649-7968541339D1}" type="slidenum">
              <a:t>‹#›</a:t>
            </a:fld>
            <a:endParaRPr lang="en-US"/>
          </a:p>
        </p:txBody>
      </p:sp>
      <p:cxnSp>
        <p:nvCxnSpPr>
          <p:cNvPr id="10" name="Straight Connector 7">
            <a:extLst>
              <a:ext uri="{FF2B5EF4-FFF2-40B4-BE49-F238E27FC236}">
                <a16:creationId xmlns:a16="http://schemas.microsoft.com/office/drawing/2014/main" id="{63D89353-A217-19F5-9085-52705A4063D9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4BEEA04-75C6-75FA-16B5-56EF7298432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1151185"/>
      </p:ext>
    </p:extLst>
  </p:cSld>
  <p:clrMapOvr>
    <a:masterClrMapping/>
  </p:clrMapOvr>
  <p:hf sldNum="0" hdr="0" ftr="0" dt="0"/>
</p:sldLayout>
</file>

<file path=ppt/slideLayouts/slideLayout26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5FB73-B069-7F82-9362-253EE2B0C8A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64E4F2-FA40-29E7-AC1C-FF9989C0BF10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9604" y="1825627"/>
            <a:ext cx="54102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43">
            <a:extLst>
              <a:ext uri="{FF2B5EF4-FFF2-40B4-BE49-F238E27FC236}">
                <a16:creationId xmlns:a16="http://schemas.microsoft.com/office/drawing/2014/main" id="{304F8B02-8CBE-EE96-6842-88CF9B2F727F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5" name="Picture 19">
              <a:extLst>
                <a:ext uri="{FF2B5EF4-FFF2-40B4-BE49-F238E27FC236}">
                  <a16:creationId xmlns:a16="http://schemas.microsoft.com/office/drawing/2014/main" id="{F6DEE65F-2634-5AEE-6C9A-E1C838265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6" name="Group 42">
              <a:extLst>
                <a:ext uri="{FF2B5EF4-FFF2-40B4-BE49-F238E27FC236}">
                  <a16:creationId xmlns:a16="http://schemas.microsoft.com/office/drawing/2014/main" id="{3D3CE874-B4F9-1573-0915-48D379E6EA1C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7" name="Freeform 41">
                <a:extLst>
                  <a:ext uri="{FF2B5EF4-FFF2-40B4-BE49-F238E27FC236}">
                    <a16:creationId xmlns:a16="http://schemas.microsoft.com/office/drawing/2014/main" id="{83F2DB88-8513-E3D8-CC80-46D3D4865EB6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8" name="Freeform 39">
                <a:extLst>
                  <a:ext uri="{FF2B5EF4-FFF2-40B4-BE49-F238E27FC236}">
                    <a16:creationId xmlns:a16="http://schemas.microsoft.com/office/drawing/2014/main" id="{8AF06923-DF75-50C4-C60E-366A5ED53D2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995824D-C7DB-1A0C-F5B2-EBDC3BE74CC0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1" y="1825627"/>
            <a:ext cx="54102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027A6ADA-C472-A649-848D-0673AC752AA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8839193" y="6356352"/>
            <a:ext cx="2743200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A496878E-9DB7-4F31-87A9-9BFF80114D58}" type="slidenum">
              <a:t>‹#›</a:t>
            </a:fld>
            <a:endParaRPr lang="en-US"/>
          </a:p>
        </p:txBody>
      </p: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6A556799-97C6-8E73-0DB6-6564426A3DFC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3D5BC53-3AE1-C1EE-959E-70739DE23B4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4838260"/>
      </p:ext>
    </p:extLst>
  </p:cSld>
  <p:clrMapOvr>
    <a:masterClrMapping/>
  </p:clrMapOvr>
</p:sldLayout>
</file>

<file path=ppt/slideLayouts/slideLayout2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2B7B984-A09F-07E5-6FC3-23CAAB7CC11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5">
            <a:extLst>
              <a:ext uri="{FF2B5EF4-FFF2-40B4-BE49-F238E27FC236}">
                <a16:creationId xmlns:a16="http://schemas.microsoft.com/office/drawing/2014/main" id="{8C27912E-E766-F92D-C809-A71FD5DC0A1C}"/>
              </a:ext>
            </a:extLst>
          </p:cNvPr>
          <p:cNvCxnSpPr/>
          <p:nvPr/>
        </p:nvCxnSpPr>
        <p:spPr>
          <a:xfrm>
            <a:off x="457201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roup 2">
            <a:extLst>
              <a:ext uri="{FF2B5EF4-FFF2-40B4-BE49-F238E27FC236}">
                <a16:creationId xmlns:a16="http://schemas.microsoft.com/office/drawing/2014/main" id="{DD85EF44-9C62-CEBA-EEC0-67FFAB739A23}"/>
              </a:ext>
            </a:extLst>
          </p:cNvPr>
          <p:cNvGrpSpPr/>
          <p:nvPr/>
        </p:nvGrpSpPr>
        <p:grpSpPr>
          <a:xfrm>
            <a:off x="1" y="5379425"/>
            <a:ext cx="2807363" cy="753895"/>
            <a:chOff x="0" y="5379424"/>
            <a:chExt cx="2807363" cy="753895"/>
          </a:xfrm>
        </p:grpSpPr>
        <p:sp>
          <p:nvSpPr>
            <p:cNvPr id="5" name="Freeform 21">
              <a:extLst>
                <a:ext uri="{FF2B5EF4-FFF2-40B4-BE49-F238E27FC236}">
                  <a16:creationId xmlns:a16="http://schemas.microsoft.com/office/drawing/2014/main" id="{0A06A9AD-6721-66EB-0FE5-EE2CDE304DF2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00807"/>
                <a:gd name="f8" fmla="val 429971"/>
                <a:gd name="f9" fmla="val 123998"/>
                <a:gd name="f10" fmla="val 1184765"/>
                <a:gd name="f11" fmla="val 325331"/>
                <a:gd name="f12" fmla="val 2014184"/>
                <a:gd name="f13" fmla="val 392492"/>
                <a:gd name="f14" fmla="val 2790212"/>
                <a:gd name="f15" fmla="val 235402"/>
                <a:gd name="f16" fmla="val 231522"/>
                <a:gd name="f17" fmla="val 566106"/>
                <a:gd name="f18" fmla="val 2593885"/>
                <a:gd name="f19" fmla="val 587498"/>
                <a:gd name="f20" fmla="val 1673646"/>
                <a:gd name="f21" fmla="val 651184"/>
                <a:gd name="f22" fmla="val 884869"/>
                <a:gd name="f23" fmla="val 479260"/>
                <a:gd name="f24" fmla="val 100844"/>
                <a:gd name="f25" fmla="val 222653"/>
                <a:gd name="f26" fmla="val 188389"/>
                <a:gd name="f27" fmla="+- 0 0 -90"/>
                <a:gd name="f28" fmla="*/ f3 1 2807368"/>
                <a:gd name="f29" fmla="*/ f4 1 600807"/>
                <a:gd name="f30" fmla="+- f7 0 f5"/>
                <a:gd name="f31" fmla="+- f6 0 f5"/>
                <a:gd name="f32" fmla="*/ f27 f0 1"/>
                <a:gd name="f33" fmla="*/ f31 1 2807368"/>
                <a:gd name="f34" fmla="*/ f30 1 600807"/>
                <a:gd name="f35" fmla="*/ 0 f31 1"/>
                <a:gd name="f36" fmla="*/ 0 f30 1"/>
                <a:gd name="f37" fmla="*/ 429971 f31 1"/>
                <a:gd name="f38" fmla="*/ 123998 f30 1"/>
                <a:gd name="f39" fmla="*/ 2790212 f31 1"/>
                <a:gd name="f40" fmla="*/ 235402 f30 1"/>
                <a:gd name="f41" fmla="*/ 2807368 f31 1"/>
                <a:gd name="f42" fmla="*/ 231522 f30 1"/>
                <a:gd name="f43" fmla="*/ 566106 f30 1"/>
                <a:gd name="f44" fmla="*/ 2593885 f31 1"/>
                <a:gd name="f45" fmla="*/ 587498 f30 1"/>
                <a:gd name="f46" fmla="*/ 100844 f31 1"/>
                <a:gd name="f47" fmla="*/ 222653 f30 1"/>
                <a:gd name="f48" fmla="*/ 188389 f30 1"/>
                <a:gd name="f49" fmla="*/ f32 1 f2"/>
                <a:gd name="f50" fmla="*/ f35 1 2807368"/>
                <a:gd name="f51" fmla="*/ f36 1 600807"/>
                <a:gd name="f52" fmla="*/ f37 1 2807368"/>
                <a:gd name="f53" fmla="*/ f38 1 600807"/>
                <a:gd name="f54" fmla="*/ f39 1 2807368"/>
                <a:gd name="f55" fmla="*/ f40 1 600807"/>
                <a:gd name="f56" fmla="*/ f41 1 2807368"/>
                <a:gd name="f57" fmla="*/ f42 1 600807"/>
                <a:gd name="f58" fmla="*/ f43 1 600807"/>
                <a:gd name="f59" fmla="*/ f44 1 2807368"/>
                <a:gd name="f60" fmla="*/ f45 1 600807"/>
                <a:gd name="f61" fmla="*/ f46 1 2807368"/>
                <a:gd name="f62" fmla="*/ f47 1 600807"/>
                <a:gd name="f63" fmla="*/ f48 1 600807"/>
                <a:gd name="f64" fmla="*/ f5 1 f33"/>
                <a:gd name="f65" fmla="*/ f6 1 f33"/>
                <a:gd name="f66" fmla="*/ f5 1 f34"/>
                <a:gd name="f67" fmla="*/ f7 1 f34"/>
                <a:gd name="f68" fmla="+- f49 0 f1"/>
                <a:gd name="f69" fmla="*/ f50 1 f33"/>
                <a:gd name="f70" fmla="*/ f51 1 f34"/>
                <a:gd name="f71" fmla="*/ f52 1 f33"/>
                <a:gd name="f72" fmla="*/ f53 1 f34"/>
                <a:gd name="f73" fmla="*/ f54 1 f33"/>
                <a:gd name="f74" fmla="*/ f55 1 f34"/>
                <a:gd name="f75" fmla="*/ f56 1 f33"/>
                <a:gd name="f76" fmla="*/ f57 1 f34"/>
                <a:gd name="f77" fmla="*/ f58 1 f34"/>
                <a:gd name="f78" fmla="*/ f59 1 f33"/>
                <a:gd name="f79" fmla="*/ f60 1 f34"/>
                <a:gd name="f80" fmla="*/ f61 1 f33"/>
                <a:gd name="f81" fmla="*/ f62 1 f34"/>
                <a:gd name="f82" fmla="*/ f63 1 f34"/>
                <a:gd name="f83" fmla="*/ f64 f28 1"/>
                <a:gd name="f84" fmla="*/ f65 f28 1"/>
                <a:gd name="f85" fmla="*/ f67 f29 1"/>
                <a:gd name="f86" fmla="*/ f66 f29 1"/>
                <a:gd name="f87" fmla="*/ f69 f28 1"/>
                <a:gd name="f88" fmla="*/ f70 f29 1"/>
                <a:gd name="f89" fmla="*/ f71 f28 1"/>
                <a:gd name="f90" fmla="*/ f72 f29 1"/>
                <a:gd name="f91" fmla="*/ f73 f28 1"/>
                <a:gd name="f92" fmla="*/ f74 f29 1"/>
                <a:gd name="f93" fmla="*/ f75 f28 1"/>
                <a:gd name="f94" fmla="*/ f76 f29 1"/>
                <a:gd name="f95" fmla="*/ f77 f29 1"/>
                <a:gd name="f96" fmla="*/ f78 f28 1"/>
                <a:gd name="f97" fmla="*/ f79 f29 1"/>
                <a:gd name="f98" fmla="*/ f80 f28 1"/>
                <a:gd name="f99" fmla="*/ f81 f29 1"/>
                <a:gd name="f100" fmla="*/ f82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8">
                  <a:pos x="f87" y="f88"/>
                </a:cxn>
                <a:cxn ang="f68">
                  <a:pos x="f89" y="f90"/>
                </a:cxn>
                <a:cxn ang="f68">
                  <a:pos x="f91" y="f92"/>
                </a:cxn>
                <a:cxn ang="f68">
                  <a:pos x="f93" y="f94"/>
                </a:cxn>
                <a:cxn ang="f68">
                  <a:pos x="f93" y="f95"/>
                </a:cxn>
                <a:cxn ang="f68">
                  <a:pos x="f96" y="f97"/>
                </a:cxn>
                <a:cxn ang="f68">
                  <a:pos x="f98" y="f99"/>
                </a:cxn>
                <a:cxn ang="f68">
                  <a:pos x="f87" y="f100"/>
                </a:cxn>
              </a:cxnLst>
              <a:rect l="f83" t="f86" r="f84" b="f85"/>
              <a:pathLst>
                <a:path w="2807368" h="600807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lnTo>
                    <a:pt x="f6" y="f16"/>
                  </a:lnTo>
                  <a:lnTo>
                    <a:pt x="f6" y="f17"/>
                  </a:lnTo>
                  <a:lnTo>
                    <a:pt x="f18" y="f19"/>
                  </a:lnTo>
                  <a:cubicBezTo>
                    <a:pt x="f20" y="f21"/>
                    <a:pt x="f22" y="f23"/>
                    <a:pt x="f24" y="f25"/>
                  </a:cubicBezTo>
                  <a:lnTo>
                    <a:pt x="f5" y="f26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6" name="Freeform 19">
              <a:extLst>
                <a:ext uri="{FF2B5EF4-FFF2-40B4-BE49-F238E27FC236}">
                  <a16:creationId xmlns:a16="http://schemas.microsoft.com/office/drawing/2014/main" id="{F66364FC-8858-40E6-91C7-867E3D66F0F6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49803"/>
                <a:gd name="f8" fmla="val 282676"/>
                <a:gd name="f9" fmla="val 70799"/>
                <a:gd name="f10" fmla="val 435964"/>
                <a:gd name="f11" fmla="val 106085"/>
                <a:gd name="f12" fmla="val 588770"/>
                <a:gd name="f13" fmla="val 137629"/>
                <a:gd name="f14" fmla="val 740881"/>
                <a:gd name="f15" fmla="val 163828"/>
                <a:gd name="f16" fmla="val 1362800"/>
                <a:gd name="f17" fmla="val 270912"/>
                <a:gd name="f18" fmla="val 2067879"/>
                <a:gd name="f19" fmla="val 253759"/>
                <a:gd name="f20" fmla="val 2706471"/>
                <a:gd name="f21" fmla="val 96397"/>
                <a:gd name="f22" fmla="val 67250"/>
                <a:gd name="f23" fmla="val 605551"/>
                <a:gd name="f24" fmla="val 2602685"/>
                <a:gd name="f25" fmla="val 629466"/>
                <a:gd name="f26" fmla="val 1684237"/>
                <a:gd name="f27" fmla="val 708219"/>
                <a:gd name="f28" fmla="val 893252"/>
                <a:gd name="f29" fmla="val 549395"/>
                <a:gd name="f30" fmla="val 105614"/>
                <a:gd name="f31" fmla="val 305882"/>
                <a:gd name="f32" fmla="val 271926"/>
                <a:gd name="f33" fmla="+- 0 0 -90"/>
                <a:gd name="f34" fmla="*/ f3 1 2807368"/>
                <a:gd name="f35" fmla="*/ f4 1 649803"/>
                <a:gd name="f36" fmla="+- f7 0 f5"/>
                <a:gd name="f37" fmla="+- f6 0 f5"/>
                <a:gd name="f38" fmla="*/ f33 f0 1"/>
                <a:gd name="f39" fmla="*/ f37 1 2807368"/>
                <a:gd name="f40" fmla="*/ f36 1 649803"/>
                <a:gd name="f41" fmla="*/ 0 f37 1"/>
                <a:gd name="f42" fmla="*/ 0 f36 1"/>
                <a:gd name="f43" fmla="*/ 282676 f37 1"/>
                <a:gd name="f44" fmla="*/ 70799 f36 1"/>
                <a:gd name="f45" fmla="*/ 740881 f37 1"/>
                <a:gd name="f46" fmla="*/ 163828 f36 1"/>
                <a:gd name="f47" fmla="*/ 2706471 f37 1"/>
                <a:gd name="f48" fmla="*/ 96397 f36 1"/>
                <a:gd name="f49" fmla="*/ 2807368 f37 1"/>
                <a:gd name="f50" fmla="*/ 67250 f36 1"/>
                <a:gd name="f51" fmla="*/ 605551 f36 1"/>
                <a:gd name="f52" fmla="*/ 2602685 f37 1"/>
                <a:gd name="f53" fmla="*/ 629466 f36 1"/>
                <a:gd name="f54" fmla="*/ 105614 f37 1"/>
                <a:gd name="f55" fmla="*/ 305882 f36 1"/>
                <a:gd name="f56" fmla="*/ 271926 f36 1"/>
                <a:gd name="f57" fmla="*/ f38 1 f2"/>
                <a:gd name="f58" fmla="*/ f41 1 2807368"/>
                <a:gd name="f59" fmla="*/ f42 1 649803"/>
                <a:gd name="f60" fmla="*/ f43 1 2807368"/>
                <a:gd name="f61" fmla="*/ f44 1 649803"/>
                <a:gd name="f62" fmla="*/ f45 1 2807368"/>
                <a:gd name="f63" fmla="*/ f46 1 649803"/>
                <a:gd name="f64" fmla="*/ f47 1 2807368"/>
                <a:gd name="f65" fmla="*/ f48 1 649803"/>
                <a:gd name="f66" fmla="*/ f49 1 2807368"/>
                <a:gd name="f67" fmla="*/ f50 1 649803"/>
                <a:gd name="f68" fmla="*/ f51 1 649803"/>
                <a:gd name="f69" fmla="*/ f52 1 2807368"/>
                <a:gd name="f70" fmla="*/ f53 1 649803"/>
                <a:gd name="f71" fmla="*/ f54 1 2807368"/>
                <a:gd name="f72" fmla="*/ f55 1 649803"/>
                <a:gd name="f73" fmla="*/ f56 1 649803"/>
                <a:gd name="f74" fmla="*/ f5 1 f39"/>
                <a:gd name="f75" fmla="*/ f6 1 f39"/>
                <a:gd name="f76" fmla="*/ f5 1 f40"/>
                <a:gd name="f77" fmla="*/ f7 1 f40"/>
                <a:gd name="f78" fmla="+- f57 0 f1"/>
                <a:gd name="f79" fmla="*/ f58 1 f39"/>
                <a:gd name="f80" fmla="*/ f59 1 f40"/>
                <a:gd name="f81" fmla="*/ f60 1 f39"/>
                <a:gd name="f82" fmla="*/ f61 1 f40"/>
                <a:gd name="f83" fmla="*/ f62 1 f39"/>
                <a:gd name="f84" fmla="*/ f63 1 f40"/>
                <a:gd name="f85" fmla="*/ f64 1 f39"/>
                <a:gd name="f86" fmla="*/ f65 1 f40"/>
                <a:gd name="f87" fmla="*/ f66 1 f39"/>
                <a:gd name="f88" fmla="*/ f67 1 f40"/>
                <a:gd name="f89" fmla="*/ f68 1 f40"/>
                <a:gd name="f90" fmla="*/ f69 1 f39"/>
                <a:gd name="f91" fmla="*/ f70 1 f40"/>
                <a:gd name="f92" fmla="*/ f71 1 f39"/>
                <a:gd name="f93" fmla="*/ f72 1 f40"/>
                <a:gd name="f94" fmla="*/ f73 1 f40"/>
                <a:gd name="f95" fmla="*/ f74 f34 1"/>
                <a:gd name="f96" fmla="*/ f75 f34 1"/>
                <a:gd name="f97" fmla="*/ f77 f35 1"/>
                <a:gd name="f98" fmla="*/ f76 f35 1"/>
                <a:gd name="f99" fmla="*/ f79 f34 1"/>
                <a:gd name="f100" fmla="*/ f80 f35 1"/>
                <a:gd name="f101" fmla="*/ f81 f34 1"/>
                <a:gd name="f102" fmla="*/ f82 f35 1"/>
                <a:gd name="f103" fmla="*/ f83 f34 1"/>
                <a:gd name="f104" fmla="*/ f84 f35 1"/>
                <a:gd name="f105" fmla="*/ f85 f34 1"/>
                <a:gd name="f106" fmla="*/ f86 f35 1"/>
                <a:gd name="f107" fmla="*/ f87 f34 1"/>
                <a:gd name="f108" fmla="*/ f88 f35 1"/>
                <a:gd name="f109" fmla="*/ f89 f35 1"/>
                <a:gd name="f110" fmla="*/ f90 f34 1"/>
                <a:gd name="f111" fmla="*/ f91 f35 1"/>
                <a:gd name="f112" fmla="*/ f92 f34 1"/>
                <a:gd name="f113" fmla="*/ f93 f35 1"/>
                <a:gd name="f114" fmla="*/ f94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8">
                  <a:pos x="f99" y="f100"/>
                </a:cxn>
                <a:cxn ang="f78">
                  <a:pos x="f101" y="f102"/>
                </a:cxn>
                <a:cxn ang="f78">
                  <a:pos x="f103" y="f104"/>
                </a:cxn>
                <a:cxn ang="f78">
                  <a:pos x="f105" y="f106"/>
                </a:cxn>
                <a:cxn ang="f78">
                  <a:pos x="f107" y="f108"/>
                </a:cxn>
                <a:cxn ang="f78">
                  <a:pos x="f107" y="f109"/>
                </a:cxn>
                <a:cxn ang="f78">
                  <a:pos x="f110" y="f111"/>
                </a:cxn>
                <a:cxn ang="f78">
                  <a:pos x="f112" y="f113"/>
                </a:cxn>
                <a:cxn ang="f78">
                  <a:pos x="f99" y="f114"/>
                </a:cxn>
              </a:cxnLst>
              <a:rect l="f95" t="f98" r="f96" b="f97"/>
              <a:pathLst>
                <a:path w="2807368" h="649803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6" y="f22"/>
                  </a:lnTo>
                  <a:lnTo>
                    <a:pt x="f6" y="f23"/>
                  </a:lnTo>
                  <a:lnTo>
                    <a:pt x="f24" y="f25"/>
                  </a:lnTo>
                  <a:cubicBezTo>
                    <a:pt x="f26" y="f27"/>
                    <a:pt x="f28" y="f29"/>
                    <a:pt x="f30" y="f31"/>
                  </a:cubicBezTo>
                  <a:lnTo>
                    <a:pt x="f5" y="f32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1E0BF3B-6D85-A95E-FDF8-FFAB336965D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807363" y="457200"/>
            <a:ext cx="8915400" cy="59436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C7447885-D60D-235C-C05E-8856152684C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1335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39652277"/>
      </p:ext>
    </p:extLst>
  </p:cSld>
  <p:clrMapOvr>
    <a:masterClrMapping/>
  </p:clrMapOvr>
</p:sldLayout>
</file>

<file path=ppt/slideLayouts/slideLayout26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4">
            <a:extLst>
              <a:ext uri="{FF2B5EF4-FFF2-40B4-BE49-F238E27FC236}">
                <a16:creationId xmlns:a16="http://schemas.microsoft.com/office/drawing/2014/main" id="{F723DE74-AC63-1C79-09DF-DC224B3FEEAB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Picture 25">
              <a:extLst>
                <a:ext uri="{FF2B5EF4-FFF2-40B4-BE49-F238E27FC236}">
                  <a16:creationId xmlns:a16="http://schemas.microsoft.com/office/drawing/2014/main" id="{8B5BE6BB-365F-F8EC-89DB-888DA233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roup 26">
              <a:extLst>
                <a:ext uri="{FF2B5EF4-FFF2-40B4-BE49-F238E27FC236}">
                  <a16:creationId xmlns:a16="http://schemas.microsoft.com/office/drawing/2014/main" id="{31E6A34B-E359-01EA-38C4-CD0E35B16601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Freeform 27">
                <a:extLst>
                  <a:ext uri="{FF2B5EF4-FFF2-40B4-BE49-F238E27FC236}">
                    <a16:creationId xmlns:a16="http://schemas.microsoft.com/office/drawing/2014/main" id="{797E4569-7C72-B137-5133-9502019F3A13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6" name="Freeform 28">
                <a:extLst>
                  <a:ext uri="{FF2B5EF4-FFF2-40B4-BE49-F238E27FC236}">
                    <a16:creationId xmlns:a16="http://schemas.microsoft.com/office/drawing/2014/main" id="{13114D60-C75E-1FF7-04F0-57A6760D2E22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441DD67D-2638-3376-41AD-FCF233BF2B5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9A408BD-A74D-B0E3-3517-1687CFF55B6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4" y="1681160"/>
            <a:ext cx="5387973" cy="823910"/>
          </a:xfrm>
          <a:solidFill>
            <a:srgbClr val="F3F6FB"/>
          </a:solidFill>
        </p:spPr>
        <p:txBody>
          <a:bodyPr lIns="182880" tIns="0" rIns="182880" bIns="0" anchor="ctr"/>
          <a:lstStyle>
            <a:lvl1pPr marL="0" indent="0">
              <a:buNone/>
              <a:defRPr u="sng">
                <a:uFill>
                  <a:solidFill>
                    <a:srgbClr val="F58366"/>
                  </a:solidFill>
                </a:u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039AD39-2500-AABE-324A-712E18531E20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09604" y="2505072"/>
            <a:ext cx="5387973" cy="3684583"/>
          </a:xfrm>
          <a:solidFill>
            <a:srgbClr val="F3F6FB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B47C073-6B31-6E20-F7F5-AC76239F3E6B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2201" y="1681160"/>
            <a:ext cx="5410203" cy="823910"/>
          </a:xfrm>
          <a:solidFill>
            <a:srgbClr val="F3F6FB"/>
          </a:solidFill>
        </p:spPr>
        <p:txBody>
          <a:bodyPr lIns="182880" tIns="0" rIns="182880" bIns="0" anchor="ctr"/>
          <a:lstStyle>
            <a:lvl1pPr marL="0" indent="0">
              <a:buNone/>
              <a:defRPr u="sng">
                <a:uFill>
                  <a:solidFill>
                    <a:srgbClr val="F58366"/>
                  </a:solidFill>
                </a:u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141F3D7C-30C5-642F-26FE-8996A2F04F1A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1" y="2505072"/>
            <a:ext cx="5410203" cy="3684583"/>
          </a:xfrm>
          <a:solidFill>
            <a:srgbClr val="F3F6FB"/>
          </a:solidFill>
        </p:spPr>
        <p:txBody>
          <a:bodyPr lIns="182880" tIns="0" rIns="182880" bIns="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0587C90C-828C-BAE1-1066-B3C3D8D003D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6993DE1-8A11-41F6-8032-B4CC44677564}" type="slidenum">
              <a:t>‹#›</a:t>
            </a:fld>
            <a:endParaRPr lang="en-US"/>
          </a:p>
        </p:txBody>
      </p:sp>
      <p:cxnSp>
        <p:nvCxnSpPr>
          <p:cNvPr id="13" name="Straight Connector 8">
            <a:extLst>
              <a:ext uri="{FF2B5EF4-FFF2-40B4-BE49-F238E27FC236}">
                <a16:creationId xmlns:a16="http://schemas.microsoft.com/office/drawing/2014/main" id="{39DD2D6B-A0D8-E88A-9750-CB2ABD126A10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A925EDD0-8BF1-E738-6EDA-03AB28DD67D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9949451"/>
      </p:ext>
    </p:extLst>
  </p:cSld>
  <p:clrMapOvr>
    <a:masterClrMapping/>
  </p:clrMapOvr>
</p:sldLayout>
</file>

<file path=ppt/slideLayouts/slideLayout2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6DE9F26E-CA2F-C744-E97F-F017CFD47D64}"/>
              </a:ext>
            </a:extLst>
          </p:cNvPr>
          <p:cNvSpPr/>
          <p:nvPr/>
        </p:nvSpPr>
        <p:spPr>
          <a:xfrm>
            <a:off x="902366" y="1294416"/>
            <a:ext cx="11289630" cy="3822603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EC7D38-4777-9ABD-FCAC-64E3DCFE350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14" y="1561328"/>
            <a:ext cx="5194432" cy="1826340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FF3964B-6C84-0BDE-D81E-15D816E3464E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14" y="3766861"/>
            <a:ext cx="5194432" cy="9865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5" name="Picture Placeholder 21">
            <a:extLst>
              <a:ext uri="{FF2B5EF4-FFF2-40B4-BE49-F238E27FC236}">
                <a16:creationId xmlns:a16="http://schemas.microsoft.com/office/drawing/2014/main" id="{EE287B10-08A6-C392-6293-54A1C180D0E6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18687" y="233912"/>
            <a:ext cx="5073319" cy="59436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grpSp>
        <p:nvGrpSpPr>
          <p:cNvPr id="6" name="Group 26">
            <a:extLst>
              <a:ext uri="{FF2B5EF4-FFF2-40B4-BE49-F238E27FC236}">
                <a16:creationId xmlns:a16="http://schemas.microsoft.com/office/drawing/2014/main" id="{9A18F1F5-39E9-ACDD-D1FF-63820151D996}"/>
              </a:ext>
            </a:extLst>
          </p:cNvPr>
          <p:cNvGrpSpPr/>
          <p:nvPr/>
        </p:nvGrpSpPr>
        <p:grpSpPr>
          <a:xfrm>
            <a:off x="0" y="5020349"/>
            <a:ext cx="12191996" cy="1837651"/>
            <a:chOff x="0" y="5020348"/>
            <a:chExt cx="12191996" cy="1837651"/>
          </a:xfrm>
        </p:grpSpPr>
        <p:sp>
          <p:nvSpPr>
            <p:cNvPr id="7" name="Freeform 27">
              <a:extLst>
                <a:ext uri="{FF2B5EF4-FFF2-40B4-BE49-F238E27FC236}">
                  <a16:creationId xmlns:a16="http://schemas.microsoft.com/office/drawing/2014/main" id="{5EFD3F3E-3C9D-7547-8359-D0D01B824B8B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19056"/>
                <a:gd name="f8" fmla="val 1590347"/>
                <a:gd name="f9" fmla="val 12188220"/>
                <a:gd name="f10" fmla="val 11380834"/>
                <a:gd name="f11" fmla="val 11595183"/>
                <a:gd name="f12" fmla="val 1770580"/>
                <a:gd name="f13" fmla="val 11796947"/>
                <a:gd name="f14" fmla="val 1720044"/>
                <a:gd name="f15" fmla="val 11996151"/>
                <a:gd name="f16" fmla="val 1660154"/>
                <a:gd name="f17" fmla="val 758403"/>
                <a:gd name="f18" fmla="val 2043"/>
                <a:gd name="f19" fmla="val 1686489"/>
                <a:gd name="f20" fmla="val 25125"/>
                <a:gd name="f21" fmla="val 2647016"/>
                <a:gd name="f22" fmla="val 241445"/>
                <a:gd name="f23" fmla="val 3624304"/>
                <a:gd name="f24" fmla="val 526182"/>
                <a:gd name="f25" fmla="val 4845769"/>
                <a:gd name="f26" fmla="val 882033"/>
                <a:gd name="f27" fmla="val 6018540"/>
                <a:gd name="f28" fmla="val 1319108"/>
                <a:gd name="f29" fmla="val 7255331"/>
                <a:gd name="f30" fmla="val 1648964"/>
                <a:gd name="f31" fmla="val 7453869"/>
                <a:gd name="f32" fmla="val 1701922"/>
                <a:gd name="f33" fmla="val 7655427"/>
                <a:gd name="f34" fmla="val 1749451"/>
                <a:gd name="f35" fmla="val 7859208"/>
                <a:gd name="f36" fmla="val 1790989"/>
                <a:gd name="f37" fmla="val 8008547"/>
                <a:gd name="f38" fmla="val 6697152"/>
                <a:gd name="f39" fmla="val 6692612"/>
                <a:gd name="f40" fmla="val 1817638"/>
                <a:gd name="f41" fmla="val 5687256"/>
                <a:gd name="f42" fmla="val 1488590"/>
                <a:gd name="f43" fmla="val 4686470"/>
                <a:gd name="f44" fmla="val 1078099"/>
                <a:gd name="f45" fmla="val 3598861"/>
                <a:gd name="f46" fmla="val 695028"/>
                <a:gd name="f47" fmla="val 2581993"/>
                <a:gd name="f48" fmla="val 336916"/>
                <a:gd name="f49" fmla="val 1520053"/>
                <a:gd name="f50" fmla="val 58744"/>
                <a:gd name="f51" fmla="val 357248"/>
                <a:gd name="f52" fmla="val 79163"/>
                <a:gd name="f53" fmla="val 243154"/>
                <a:gd name="f54" fmla="val 81169"/>
                <a:gd name="f55" fmla="val 129832"/>
                <a:gd name="f56" fmla="val 86358"/>
                <a:gd name="f57" fmla="val 17144"/>
                <a:gd name="f58" fmla="val 95022"/>
                <a:gd name="f59" fmla="val 96893"/>
                <a:gd name="f60" fmla="val 29948"/>
                <a:gd name="f61" fmla="val 15757"/>
                <a:gd name="f62" fmla="val 27869"/>
                <a:gd name="f63" fmla="val 130823"/>
                <a:gd name="f64" fmla="val 16482"/>
                <a:gd name="f65" fmla="val 246476"/>
                <a:gd name="f66" fmla="val 8725"/>
                <a:gd name="f67" fmla="val 362684"/>
                <a:gd name="f68" fmla="val 4345"/>
                <a:gd name="f69" fmla="val 493898"/>
                <a:gd name="f70" fmla="+- 0 0 608"/>
                <a:gd name="f71" fmla="val 625820"/>
                <a:gd name="f72" fmla="+- 0 0 1255"/>
                <a:gd name="f73" fmla="+- 0 0 -90"/>
                <a:gd name="f74" fmla="*/ f3 1 12192000"/>
                <a:gd name="f75" fmla="*/ f4 1 1819056"/>
                <a:gd name="f76" fmla="+- f7 0 f5"/>
                <a:gd name="f77" fmla="+- f6 0 f5"/>
                <a:gd name="f78" fmla="*/ f73 f0 1"/>
                <a:gd name="f79" fmla="*/ f77 1 12192000"/>
                <a:gd name="f80" fmla="*/ f76 1 1819056"/>
                <a:gd name="f81" fmla="*/ 12192000 f77 1"/>
                <a:gd name="f82" fmla="*/ 1590347 f76 1"/>
                <a:gd name="f83" fmla="*/ 12188220 f77 1"/>
                <a:gd name="f84" fmla="*/ 1819056 f76 1"/>
                <a:gd name="f85" fmla="*/ 11380834 f77 1"/>
                <a:gd name="f86" fmla="*/ 11595183 f77 1"/>
                <a:gd name="f87" fmla="*/ 1770580 f76 1"/>
                <a:gd name="f88" fmla="*/ 758403 f77 1"/>
                <a:gd name="f89" fmla="*/ 2043 f76 1"/>
                <a:gd name="f90" fmla="*/ 3624304 f77 1"/>
                <a:gd name="f91" fmla="*/ 526182 f76 1"/>
                <a:gd name="f92" fmla="*/ 7255331 f77 1"/>
                <a:gd name="f93" fmla="*/ 1648964 f76 1"/>
                <a:gd name="f94" fmla="*/ 7859208 f77 1"/>
                <a:gd name="f95" fmla="*/ 1790989 f76 1"/>
                <a:gd name="f96" fmla="*/ 8008547 f77 1"/>
                <a:gd name="f97" fmla="*/ 6697152 f77 1"/>
                <a:gd name="f98" fmla="*/ 6692612 f77 1"/>
                <a:gd name="f99" fmla="*/ 1817638 f76 1"/>
                <a:gd name="f100" fmla="*/ 3598861 f77 1"/>
                <a:gd name="f101" fmla="*/ 695028 f76 1"/>
                <a:gd name="f102" fmla="*/ 357248 f77 1"/>
                <a:gd name="f103" fmla="*/ 79163 f76 1"/>
                <a:gd name="f104" fmla="*/ 17144 f77 1"/>
                <a:gd name="f105" fmla="*/ 95022 f76 1"/>
                <a:gd name="f106" fmla="*/ 0 f77 1"/>
                <a:gd name="f107" fmla="*/ 96893 f76 1"/>
                <a:gd name="f108" fmla="*/ 29948 f76 1"/>
                <a:gd name="f109" fmla="*/ 15757 f77 1"/>
                <a:gd name="f110" fmla="*/ 27869 f76 1"/>
                <a:gd name="f111" fmla="*/ 362684 f77 1"/>
                <a:gd name="f112" fmla="*/ 4345 f76 1"/>
                <a:gd name="f113" fmla="*/ f78 1 f2"/>
                <a:gd name="f114" fmla="*/ f81 1 12192000"/>
                <a:gd name="f115" fmla="*/ f82 1 1819056"/>
                <a:gd name="f116" fmla="*/ f83 1 12192000"/>
                <a:gd name="f117" fmla="*/ f84 1 1819056"/>
                <a:gd name="f118" fmla="*/ f85 1 12192000"/>
                <a:gd name="f119" fmla="*/ f86 1 12192000"/>
                <a:gd name="f120" fmla="*/ f87 1 1819056"/>
                <a:gd name="f121" fmla="*/ f88 1 12192000"/>
                <a:gd name="f122" fmla="*/ f89 1 1819056"/>
                <a:gd name="f123" fmla="*/ f90 1 12192000"/>
                <a:gd name="f124" fmla="*/ f91 1 1819056"/>
                <a:gd name="f125" fmla="*/ f92 1 12192000"/>
                <a:gd name="f126" fmla="*/ f93 1 1819056"/>
                <a:gd name="f127" fmla="*/ f94 1 12192000"/>
                <a:gd name="f128" fmla="*/ f95 1 1819056"/>
                <a:gd name="f129" fmla="*/ f96 1 12192000"/>
                <a:gd name="f130" fmla="*/ f97 1 12192000"/>
                <a:gd name="f131" fmla="*/ f98 1 12192000"/>
                <a:gd name="f132" fmla="*/ f99 1 1819056"/>
                <a:gd name="f133" fmla="*/ f100 1 12192000"/>
                <a:gd name="f134" fmla="*/ f101 1 1819056"/>
                <a:gd name="f135" fmla="*/ f102 1 12192000"/>
                <a:gd name="f136" fmla="*/ f103 1 1819056"/>
                <a:gd name="f137" fmla="*/ f104 1 12192000"/>
                <a:gd name="f138" fmla="*/ f105 1 1819056"/>
                <a:gd name="f139" fmla="*/ f106 1 12192000"/>
                <a:gd name="f140" fmla="*/ f107 1 1819056"/>
                <a:gd name="f141" fmla="*/ f108 1 1819056"/>
                <a:gd name="f142" fmla="*/ f109 1 12192000"/>
                <a:gd name="f143" fmla="*/ f110 1 1819056"/>
                <a:gd name="f144" fmla="*/ f111 1 12192000"/>
                <a:gd name="f145" fmla="*/ f112 1 1819056"/>
                <a:gd name="f146" fmla="*/ f5 1 f79"/>
                <a:gd name="f147" fmla="*/ f6 1 f79"/>
                <a:gd name="f148" fmla="*/ f5 1 f80"/>
                <a:gd name="f149" fmla="*/ f7 1 f80"/>
                <a:gd name="f150" fmla="+- f113 0 f1"/>
                <a:gd name="f151" fmla="*/ f114 1 f79"/>
                <a:gd name="f152" fmla="*/ f115 1 f80"/>
                <a:gd name="f153" fmla="*/ f116 1 f79"/>
                <a:gd name="f154" fmla="*/ f117 1 f80"/>
                <a:gd name="f155" fmla="*/ f118 1 f79"/>
                <a:gd name="f156" fmla="*/ f119 1 f79"/>
                <a:gd name="f157" fmla="*/ f120 1 f80"/>
                <a:gd name="f158" fmla="*/ f121 1 f79"/>
                <a:gd name="f159" fmla="*/ f122 1 f80"/>
                <a:gd name="f160" fmla="*/ f123 1 f79"/>
                <a:gd name="f161" fmla="*/ f124 1 f80"/>
                <a:gd name="f162" fmla="*/ f125 1 f79"/>
                <a:gd name="f163" fmla="*/ f126 1 f80"/>
                <a:gd name="f164" fmla="*/ f127 1 f79"/>
                <a:gd name="f165" fmla="*/ f128 1 f80"/>
                <a:gd name="f166" fmla="*/ f129 1 f79"/>
                <a:gd name="f167" fmla="*/ f130 1 f79"/>
                <a:gd name="f168" fmla="*/ f131 1 f79"/>
                <a:gd name="f169" fmla="*/ f132 1 f80"/>
                <a:gd name="f170" fmla="*/ f133 1 f79"/>
                <a:gd name="f171" fmla="*/ f134 1 f80"/>
                <a:gd name="f172" fmla="*/ f135 1 f79"/>
                <a:gd name="f173" fmla="*/ f136 1 f80"/>
                <a:gd name="f174" fmla="*/ f137 1 f79"/>
                <a:gd name="f175" fmla="*/ f138 1 f80"/>
                <a:gd name="f176" fmla="*/ f139 1 f79"/>
                <a:gd name="f177" fmla="*/ f140 1 f80"/>
                <a:gd name="f178" fmla="*/ f141 1 f80"/>
                <a:gd name="f179" fmla="*/ f142 1 f79"/>
                <a:gd name="f180" fmla="*/ f143 1 f80"/>
                <a:gd name="f181" fmla="*/ f144 1 f79"/>
                <a:gd name="f182" fmla="*/ f145 1 f80"/>
                <a:gd name="f183" fmla="*/ f146 f74 1"/>
                <a:gd name="f184" fmla="*/ f147 f74 1"/>
                <a:gd name="f185" fmla="*/ f149 f75 1"/>
                <a:gd name="f186" fmla="*/ f148 f75 1"/>
                <a:gd name="f187" fmla="*/ f151 f74 1"/>
                <a:gd name="f188" fmla="*/ f152 f75 1"/>
                <a:gd name="f189" fmla="*/ f153 f74 1"/>
                <a:gd name="f190" fmla="*/ f154 f75 1"/>
                <a:gd name="f191" fmla="*/ f155 f74 1"/>
                <a:gd name="f192" fmla="*/ f156 f74 1"/>
                <a:gd name="f193" fmla="*/ f157 f75 1"/>
                <a:gd name="f194" fmla="*/ f158 f74 1"/>
                <a:gd name="f195" fmla="*/ f159 f75 1"/>
                <a:gd name="f196" fmla="*/ f160 f74 1"/>
                <a:gd name="f197" fmla="*/ f161 f75 1"/>
                <a:gd name="f198" fmla="*/ f162 f74 1"/>
                <a:gd name="f199" fmla="*/ f163 f75 1"/>
                <a:gd name="f200" fmla="*/ f164 f74 1"/>
                <a:gd name="f201" fmla="*/ f165 f75 1"/>
                <a:gd name="f202" fmla="*/ f166 f74 1"/>
                <a:gd name="f203" fmla="*/ f167 f74 1"/>
                <a:gd name="f204" fmla="*/ f168 f74 1"/>
                <a:gd name="f205" fmla="*/ f169 f75 1"/>
                <a:gd name="f206" fmla="*/ f170 f74 1"/>
                <a:gd name="f207" fmla="*/ f171 f75 1"/>
                <a:gd name="f208" fmla="*/ f172 f74 1"/>
                <a:gd name="f209" fmla="*/ f173 f75 1"/>
                <a:gd name="f210" fmla="*/ f174 f74 1"/>
                <a:gd name="f211" fmla="*/ f175 f75 1"/>
                <a:gd name="f212" fmla="*/ f176 f74 1"/>
                <a:gd name="f213" fmla="*/ f177 f75 1"/>
                <a:gd name="f214" fmla="*/ f178 f75 1"/>
                <a:gd name="f215" fmla="*/ f179 f74 1"/>
                <a:gd name="f216" fmla="*/ f180 f75 1"/>
                <a:gd name="f217" fmla="*/ f181 f74 1"/>
                <a:gd name="f218" fmla="*/ f182 f7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0">
                  <a:pos x="f187" y="f188"/>
                </a:cxn>
                <a:cxn ang="f150">
                  <a:pos x="f189" y="f190"/>
                </a:cxn>
                <a:cxn ang="f150">
                  <a:pos x="f191" y="f190"/>
                </a:cxn>
                <a:cxn ang="f150">
                  <a:pos x="f192" y="f193"/>
                </a:cxn>
                <a:cxn ang="f150">
                  <a:pos x="f187" y="f188"/>
                </a:cxn>
                <a:cxn ang="f150">
                  <a:pos x="f194" y="f195"/>
                </a:cxn>
                <a:cxn ang="f150">
                  <a:pos x="f196" y="f197"/>
                </a:cxn>
                <a:cxn ang="f150">
                  <a:pos x="f198" y="f199"/>
                </a:cxn>
                <a:cxn ang="f150">
                  <a:pos x="f200" y="f201"/>
                </a:cxn>
                <a:cxn ang="f150">
                  <a:pos x="f202" y="f190"/>
                </a:cxn>
                <a:cxn ang="f150">
                  <a:pos x="f203" y="f190"/>
                </a:cxn>
                <a:cxn ang="f150">
                  <a:pos x="f204" y="f205"/>
                </a:cxn>
                <a:cxn ang="f150">
                  <a:pos x="f206" y="f207"/>
                </a:cxn>
                <a:cxn ang="f150">
                  <a:pos x="f208" y="f209"/>
                </a:cxn>
                <a:cxn ang="f150">
                  <a:pos x="f210" y="f211"/>
                </a:cxn>
                <a:cxn ang="f150">
                  <a:pos x="f212" y="f213"/>
                </a:cxn>
                <a:cxn ang="f150">
                  <a:pos x="f212" y="f214"/>
                </a:cxn>
                <a:cxn ang="f150">
                  <a:pos x="f215" y="f216"/>
                </a:cxn>
                <a:cxn ang="f150">
                  <a:pos x="f217" y="f218"/>
                </a:cxn>
                <a:cxn ang="f150">
                  <a:pos x="f194" y="f195"/>
                </a:cxn>
              </a:cxnLst>
              <a:rect l="f183" t="f186" r="f184" b="f185"/>
              <a:pathLst>
                <a:path w="12192000" h="1819056">
                  <a:moveTo>
                    <a:pt x="f6" y="f8"/>
                  </a:moveTo>
                  <a:lnTo>
                    <a:pt x="f9" y="f7"/>
                  </a:lnTo>
                  <a:lnTo>
                    <a:pt x="f10" y="f7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6" y="f8"/>
                  </a:cubicBezTo>
                  <a:close/>
                  <a:moveTo>
                    <a:pt x="f17" y="f18"/>
                  </a:move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7" y="f7"/>
                  </a:lnTo>
                  <a:lnTo>
                    <a:pt x="f38" y="f7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lnTo>
                    <a:pt x="f5" y="f59"/>
                  </a:lnTo>
                  <a:lnTo>
                    <a:pt x="f5" y="f60"/>
                  </a:lnTo>
                  <a:lnTo>
                    <a:pt x="f61" y="f62"/>
                  </a:ln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17" y="f18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8" name="Freeform 28">
              <a:extLst>
                <a:ext uri="{FF2B5EF4-FFF2-40B4-BE49-F238E27FC236}">
                  <a16:creationId xmlns:a16="http://schemas.microsoft.com/office/drawing/2014/main" id="{D4870467-8758-432E-33A2-A4DF47AA1EC6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37653"/>
                <a:gd name="f8" fmla="val 631978"/>
                <a:gd name="f9" fmla="val 192"/>
                <a:gd name="f10" fmla="val 919158"/>
                <a:gd name="f11" fmla="+- 0 0 2016"/>
                <a:gd name="f12" fmla="val 1209873"/>
                <a:gd name="f13" fmla="val 14922"/>
                <a:gd name="f14" fmla="val 1503520"/>
                <a:gd name="f15" fmla="val 46905"/>
                <a:gd name="f16" fmla="val 3549714"/>
                <a:gd name="f17" fmla="val 172355"/>
                <a:gd name="f18" fmla="val 5706358"/>
                <a:gd name="f19" fmla="val 1115591"/>
                <a:gd name="f20" fmla="val 7786904"/>
                <a:gd name="f21" fmla="val 1473930"/>
                <a:gd name="f22" fmla="val 9204661"/>
                <a:gd name="f23" fmla="val 1718045"/>
                <a:gd name="f24" fmla="val 10875183"/>
                <a:gd name="f25" fmla="val 1584536"/>
                <a:gd name="f26" fmla="val 1008678"/>
                <a:gd name="f27" fmla="val 1399189"/>
                <a:gd name="f28" fmla="val 1684971"/>
                <a:gd name="f29" fmla="val 7111369"/>
                <a:gd name="f30" fmla="val 6700767"/>
                <a:gd name="f31" fmla="val 1716805"/>
                <a:gd name="f32" fmla="val 5690778"/>
                <a:gd name="f33" fmla="val 1404548"/>
                <a:gd name="f34" fmla="val 4684008"/>
                <a:gd name="f35" fmla="val 1010844"/>
                <a:gd name="f36" fmla="val 3590934"/>
                <a:gd name="f37" fmla="val 645969"/>
                <a:gd name="f38" fmla="val 2569009"/>
                <a:gd name="f39" fmla="val 304809"/>
                <a:gd name="f40" fmla="val 1503293"/>
                <a:gd name="f41" fmla="val 44345"/>
                <a:gd name="f42" fmla="val 341773"/>
                <a:gd name="f43" fmla="val 83899"/>
                <a:gd name="f44" fmla="val 227801"/>
                <a:gd name="f45" fmla="val 87780"/>
                <a:gd name="f46" fmla="val 114653"/>
                <a:gd name="f47" fmla="val 94828"/>
                <a:gd name="f48" fmla="val 2197"/>
                <a:gd name="f49" fmla="val 105337"/>
                <a:gd name="f50" fmla="val 105613"/>
                <a:gd name="f51" fmla="val 38154"/>
                <a:gd name="f52" fmla="val 346000"/>
                <a:gd name="f53" fmla="val 8933"/>
                <a:gd name="f54" fmla="val 440918"/>
                <a:gd name="f55" fmla="val 3791"/>
                <a:gd name="f56" fmla="val 536252"/>
                <a:gd name="f57" fmla="val 928"/>
                <a:gd name="f58" fmla="+- 0 0 -90"/>
                <a:gd name="f59" fmla="*/ f3 1 12192000"/>
                <a:gd name="f60" fmla="*/ f4 1 1837653"/>
                <a:gd name="f61" fmla="+- f7 0 f5"/>
                <a:gd name="f62" fmla="+- f6 0 f5"/>
                <a:gd name="f63" fmla="*/ f58 f0 1"/>
                <a:gd name="f64" fmla="*/ f62 1 12192000"/>
                <a:gd name="f65" fmla="*/ f61 1 1837653"/>
                <a:gd name="f66" fmla="*/ 631978 f62 1"/>
                <a:gd name="f67" fmla="*/ 192 f61 1"/>
                <a:gd name="f68" fmla="*/ 1503520 f62 1"/>
                <a:gd name="f69" fmla="*/ 46905 f61 1"/>
                <a:gd name="f70" fmla="*/ 7786904 f62 1"/>
                <a:gd name="f71" fmla="*/ 1473930 f61 1"/>
                <a:gd name="f72" fmla="*/ 12192000 f62 1"/>
                <a:gd name="f73" fmla="*/ 1008678 f61 1"/>
                <a:gd name="f74" fmla="*/ 1399189 f61 1"/>
                <a:gd name="f75" fmla="*/ 1684971 f61 1"/>
                <a:gd name="f76" fmla="*/ 1837653 f61 1"/>
                <a:gd name="f77" fmla="*/ 7111369 f62 1"/>
                <a:gd name="f78" fmla="*/ 6700767 f62 1"/>
                <a:gd name="f79" fmla="*/ 1716805 f61 1"/>
                <a:gd name="f80" fmla="*/ 3590934 f62 1"/>
                <a:gd name="f81" fmla="*/ 645969 f61 1"/>
                <a:gd name="f82" fmla="*/ 341773 f62 1"/>
                <a:gd name="f83" fmla="*/ 83899 f61 1"/>
                <a:gd name="f84" fmla="*/ 2197 f62 1"/>
                <a:gd name="f85" fmla="*/ 105337 f61 1"/>
                <a:gd name="f86" fmla="*/ 0 f62 1"/>
                <a:gd name="f87" fmla="*/ 105613 f61 1"/>
                <a:gd name="f88" fmla="*/ 38154 f61 1"/>
                <a:gd name="f89" fmla="*/ 346000 f62 1"/>
                <a:gd name="f90" fmla="*/ 8933 f61 1"/>
                <a:gd name="f91" fmla="*/ f63 1 f2"/>
                <a:gd name="f92" fmla="*/ f66 1 12192000"/>
                <a:gd name="f93" fmla="*/ f67 1 1837653"/>
                <a:gd name="f94" fmla="*/ f68 1 12192000"/>
                <a:gd name="f95" fmla="*/ f69 1 1837653"/>
                <a:gd name="f96" fmla="*/ f70 1 12192000"/>
                <a:gd name="f97" fmla="*/ f71 1 1837653"/>
                <a:gd name="f98" fmla="*/ f72 1 12192000"/>
                <a:gd name="f99" fmla="*/ f73 1 1837653"/>
                <a:gd name="f100" fmla="*/ f74 1 1837653"/>
                <a:gd name="f101" fmla="*/ f75 1 1837653"/>
                <a:gd name="f102" fmla="*/ f76 1 1837653"/>
                <a:gd name="f103" fmla="*/ f77 1 12192000"/>
                <a:gd name="f104" fmla="*/ f78 1 12192000"/>
                <a:gd name="f105" fmla="*/ f79 1 1837653"/>
                <a:gd name="f106" fmla="*/ f80 1 12192000"/>
                <a:gd name="f107" fmla="*/ f81 1 1837653"/>
                <a:gd name="f108" fmla="*/ f82 1 12192000"/>
                <a:gd name="f109" fmla="*/ f83 1 1837653"/>
                <a:gd name="f110" fmla="*/ f84 1 12192000"/>
                <a:gd name="f111" fmla="*/ f85 1 1837653"/>
                <a:gd name="f112" fmla="*/ f86 1 12192000"/>
                <a:gd name="f113" fmla="*/ f87 1 1837653"/>
                <a:gd name="f114" fmla="*/ f88 1 1837653"/>
                <a:gd name="f115" fmla="*/ f89 1 12192000"/>
                <a:gd name="f116" fmla="*/ f90 1 1837653"/>
                <a:gd name="f117" fmla="*/ f5 1 f64"/>
                <a:gd name="f118" fmla="*/ f6 1 f64"/>
                <a:gd name="f119" fmla="*/ f5 1 f65"/>
                <a:gd name="f120" fmla="*/ f7 1 f65"/>
                <a:gd name="f121" fmla="+- f91 0 f1"/>
                <a:gd name="f122" fmla="*/ f92 1 f64"/>
                <a:gd name="f123" fmla="*/ f93 1 f65"/>
                <a:gd name="f124" fmla="*/ f94 1 f64"/>
                <a:gd name="f125" fmla="*/ f95 1 f65"/>
                <a:gd name="f126" fmla="*/ f96 1 f64"/>
                <a:gd name="f127" fmla="*/ f97 1 f65"/>
                <a:gd name="f128" fmla="*/ f98 1 f64"/>
                <a:gd name="f129" fmla="*/ f99 1 f65"/>
                <a:gd name="f130" fmla="*/ f100 1 f65"/>
                <a:gd name="f131" fmla="*/ f101 1 f65"/>
                <a:gd name="f132" fmla="*/ f102 1 f65"/>
                <a:gd name="f133" fmla="*/ f103 1 f64"/>
                <a:gd name="f134" fmla="*/ f104 1 f64"/>
                <a:gd name="f135" fmla="*/ f105 1 f65"/>
                <a:gd name="f136" fmla="*/ f106 1 f64"/>
                <a:gd name="f137" fmla="*/ f107 1 f65"/>
                <a:gd name="f138" fmla="*/ f108 1 f64"/>
                <a:gd name="f139" fmla="*/ f109 1 f65"/>
                <a:gd name="f140" fmla="*/ f110 1 f64"/>
                <a:gd name="f141" fmla="*/ f111 1 f65"/>
                <a:gd name="f142" fmla="*/ f112 1 f64"/>
                <a:gd name="f143" fmla="*/ f113 1 f65"/>
                <a:gd name="f144" fmla="*/ f114 1 f65"/>
                <a:gd name="f145" fmla="*/ f115 1 f64"/>
                <a:gd name="f146" fmla="*/ f116 1 f65"/>
                <a:gd name="f147" fmla="*/ f117 f59 1"/>
                <a:gd name="f148" fmla="*/ f118 f59 1"/>
                <a:gd name="f149" fmla="*/ f120 f60 1"/>
                <a:gd name="f150" fmla="*/ f119 f60 1"/>
                <a:gd name="f151" fmla="*/ f122 f59 1"/>
                <a:gd name="f152" fmla="*/ f123 f60 1"/>
                <a:gd name="f153" fmla="*/ f124 f59 1"/>
                <a:gd name="f154" fmla="*/ f125 f60 1"/>
                <a:gd name="f155" fmla="*/ f126 f59 1"/>
                <a:gd name="f156" fmla="*/ f127 f60 1"/>
                <a:gd name="f157" fmla="*/ f128 f59 1"/>
                <a:gd name="f158" fmla="*/ f129 f60 1"/>
                <a:gd name="f159" fmla="*/ f130 f60 1"/>
                <a:gd name="f160" fmla="*/ f131 f60 1"/>
                <a:gd name="f161" fmla="*/ f132 f60 1"/>
                <a:gd name="f162" fmla="*/ f133 f59 1"/>
                <a:gd name="f163" fmla="*/ f134 f59 1"/>
                <a:gd name="f164" fmla="*/ f135 f60 1"/>
                <a:gd name="f165" fmla="*/ f136 f59 1"/>
                <a:gd name="f166" fmla="*/ f137 f60 1"/>
                <a:gd name="f167" fmla="*/ f138 f59 1"/>
                <a:gd name="f168" fmla="*/ f139 f60 1"/>
                <a:gd name="f169" fmla="*/ f140 f59 1"/>
                <a:gd name="f170" fmla="*/ f141 f60 1"/>
                <a:gd name="f171" fmla="*/ f142 f59 1"/>
                <a:gd name="f172" fmla="*/ f143 f60 1"/>
                <a:gd name="f173" fmla="*/ f144 f60 1"/>
                <a:gd name="f174" fmla="*/ f145 f59 1"/>
                <a:gd name="f175" fmla="*/ f146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1">
                  <a:pos x="f151" y="f152"/>
                </a:cxn>
                <a:cxn ang="f121">
                  <a:pos x="f153" y="f154"/>
                </a:cxn>
                <a:cxn ang="f121">
                  <a:pos x="f155" y="f156"/>
                </a:cxn>
                <a:cxn ang="f121">
                  <a:pos x="f157" y="f158"/>
                </a:cxn>
                <a:cxn ang="f121">
                  <a:pos x="f157" y="f159"/>
                </a:cxn>
                <a:cxn ang="f121">
                  <a:pos x="f157" y="f160"/>
                </a:cxn>
                <a:cxn ang="f121">
                  <a:pos x="f157" y="f161"/>
                </a:cxn>
                <a:cxn ang="f121">
                  <a:pos x="f162" y="f161"/>
                </a:cxn>
                <a:cxn ang="f121">
                  <a:pos x="f163" y="f164"/>
                </a:cxn>
                <a:cxn ang="f121">
                  <a:pos x="f165" y="f166"/>
                </a:cxn>
                <a:cxn ang="f121">
                  <a:pos x="f167" y="f168"/>
                </a:cxn>
                <a:cxn ang="f121">
                  <a:pos x="f169" y="f170"/>
                </a:cxn>
                <a:cxn ang="f121">
                  <a:pos x="f171" y="f172"/>
                </a:cxn>
                <a:cxn ang="f121">
                  <a:pos x="f171" y="f173"/>
                </a:cxn>
                <a:cxn ang="f121">
                  <a:pos x="f174" y="f175"/>
                </a:cxn>
                <a:cxn ang="f121">
                  <a:pos x="f151" y="f152"/>
                </a:cxn>
              </a:cxnLst>
              <a:rect l="f147" t="f150" r="f148" b="f149"/>
              <a:pathLst>
                <a:path w="12192000" h="1837653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6" y="f26"/>
                  </a:cubicBezTo>
                  <a:lnTo>
                    <a:pt x="f6" y="f27"/>
                  </a:lnTo>
                  <a:lnTo>
                    <a:pt x="f6" y="f28"/>
                  </a:lnTo>
                  <a:lnTo>
                    <a:pt x="f6" y="f7"/>
                  </a:lnTo>
                  <a:lnTo>
                    <a:pt x="f29" y="f7"/>
                  </a:lnTo>
                  <a:lnTo>
                    <a:pt x="f30" y="f31"/>
                  </a:lnTo>
                  <a:cubicBezTo>
                    <a:pt x="f32" y="f33"/>
                    <a:pt x="f34" y="f35"/>
                    <a:pt x="f36" y="f37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lnTo>
                    <a:pt x="f5" y="f50"/>
                  </a:lnTo>
                  <a:lnTo>
                    <a:pt x="f5" y="f51"/>
                  </a:lnTo>
                  <a:lnTo>
                    <a:pt x="f52" y="f53"/>
                  </a:lnTo>
                  <a:cubicBezTo>
                    <a:pt x="f54" y="f55"/>
                    <a:pt x="f56" y="f57"/>
                    <a:pt x="f8" y="f9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pic>
          <p:nvPicPr>
            <p:cNvPr id="9" name="Picture 29">
              <a:extLst>
                <a:ext uri="{FF2B5EF4-FFF2-40B4-BE49-F238E27FC236}">
                  <a16:creationId xmlns:a16="http://schemas.microsoft.com/office/drawing/2014/main" id="{6B63F3BF-2C0D-265A-021F-05EF18F6DC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50971668"/>
      </p:ext>
    </p:extLst>
  </p:cSld>
  <p:clrMapOvr>
    <a:masterClrMapping/>
  </p:clrMapOvr>
</p:sldLayout>
</file>

<file path=ppt/slideLayouts/slideLayout2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>
            <a:extLst>
              <a:ext uri="{FF2B5EF4-FFF2-40B4-BE49-F238E27FC236}">
                <a16:creationId xmlns:a16="http://schemas.microsoft.com/office/drawing/2014/main" id="{71864A41-DFC5-6C84-312A-ECB0FDA38FA3}"/>
              </a:ext>
            </a:extLst>
          </p:cNvPr>
          <p:cNvGrpSpPr/>
          <p:nvPr/>
        </p:nvGrpSpPr>
        <p:grpSpPr>
          <a:xfrm>
            <a:off x="0" y="5020349"/>
            <a:ext cx="12191996" cy="1837651"/>
            <a:chOff x="0" y="5020348"/>
            <a:chExt cx="12191996" cy="1837651"/>
          </a:xfrm>
        </p:grpSpPr>
        <p:sp>
          <p:nvSpPr>
            <p:cNvPr id="3" name="Freeform 25">
              <a:extLst>
                <a:ext uri="{FF2B5EF4-FFF2-40B4-BE49-F238E27FC236}">
                  <a16:creationId xmlns:a16="http://schemas.microsoft.com/office/drawing/2014/main" id="{1E14C90B-7C1E-BA2E-58D8-8818ACF8FB94}"/>
                </a:ext>
              </a:extLst>
            </p:cNvPr>
            <p:cNvSpPr/>
            <p:nvPr/>
          </p:nvSpPr>
          <p:spPr>
            <a:xfrm>
              <a:off x="0" y="5100267"/>
              <a:ext cx="7111371" cy="175773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111369"/>
                <a:gd name="f7" fmla="val 1757730"/>
                <a:gd name="f8" fmla="val 772954"/>
                <a:gd name="f9" fmla="val 2778"/>
                <a:gd name="f10" fmla="val 1769038"/>
                <a:gd name="f11" fmla="val 30799"/>
                <a:gd name="f12" fmla="val 2696750"/>
                <a:gd name="f13" fmla="val 267531"/>
                <a:gd name="f14" fmla="val 3590934"/>
                <a:gd name="f15" fmla="val 566046"/>
                <a:gd name="f16" fmla="val 4684008"/>
                <a:gd name="f17" fmla="val 930921"/>
                <a:gd name="f18" fmla="val 5690778"/>
                <a:gd name="f19" fmla="val 1324625"/>
                <a:gd name="f20" fmla="val 6700767"/>
                <a:gd name="f21" fmla="val 1636882"/>
                <a:gd name="f22" fmla="val 25690"/>
                <a:gd name="f23" fmla="val 2197"/>
                <a:gd name="f24" fmla="val 25414"/>
                <a:gd name="f25" fmla="val 114653"/>
                <a:gd name="f26" fmla="val 14905"/>
                <a:gd name="f27" fmla="val 227801"/>
                <a:gd name="f28" fmla="val 7857"/>
                <a:gd name="f29" fmla="val 341773"/>
                <a:gd name="f30" fmla="val 3976"/>
                <a:gd name="f31" fmla="val 486963"/>
                <a:gd name="f32" fmla="+- 0 0 968"/>
                <a:gd name="f33" fmla="val 630656"/>
                <a:gd name="f34" fmla="+- 0 0 1224"/>
                <a:gd name="f35" fmla="+- 0 0 -90"/>
                <a:gd name="f36" fmla="*/ f3 1 7111369"/>
                <a:gd name="f37" fmla="*/ f4 1 1757730"/>
                <a:gd name="f38" fmla="+- f7 0 f5"/>
                <a:gd name="f39" fmla="+- f6 0 f5"/>
                <a:gd name="f40" fmla="*/ f35 f0 1"/>
                <a:gd name="f41" fmla="*/ f39 1 7111369"/>
                <a:gd name="f42" fmla="*/ f38 1 1757730"/>
                <a:gd name="f43" fmla="*/ 772954 f39 1"/>
                <a:gd name="f44" fmla="*/ 2778 f38 1"/>
                <a:gd name="f45" fmla="*/ 3590934 f39 1"/>
                <a:gd name="f46" fmla="*/ 566046 f38 1"/>
                <a:gd name="f47" fmla="*/ 6700767 f39 1"/>
                <a:gd name="f48" fmla="*/ 1636882 f38 1"/>
                <a:gd name="f49" fmla="*/ 7111369 f39 1"/>
                <a:gd name="f50" fmla="*/ 1757730 f38 1"/>
                <a:gd name="f51" fmla="*/ 0 f39 1"/>
                <a:gd name="f52" fmla="*/ 25690 f38 1"/>
                <a:gd name="f53" fmla="*/ 2197 f39 1"/>
                <a:gd name="f54" fmla="*/ 25414 f38 1"/>
                <a:gd name="f55" fmla="*/ 341773 f39 1"/>
                <a:gd name="f56" fmla="*/ 3976 f38 1"/>
                <a:gd name="f57" fmla="*/ f40 1 f2"/>
                <a:gd name="f58" fmla="*/ f43 1 7111369"/>
                <a:gd name="f59" fmla="*/ f44 1 1757730"/>
                <a:gd name="f60" fmla="*/ f45 1 7111369"/>
                <a:gd name="f61" fmla="*/ f46 1 1757730"/>
                <a:gd name="f62" fmla="*/ f47 1 7111369"/>
                <a:gd name="f63" fmla="*/ f48 1 1757730"/>
                <a:gd name="f64" fmla="*/ f49 1 7111369"/>
                <a:gd name="f65" fmla="*/ f50 1 1757730"/>
                <a:gd name="f66" fmla="*/ f51 1 7111369"/>
                <a:gd name="f67" fmla="*/ f52 1 1757730"/>
                <a:gd name="f68" fmla="*/ f53 1 7111369"/>
                <a:gd name="f69" fmla="*/ f54 1 1757730"/>
                <a:gd name="f70" fmla="*/ f55 1 7111369"/>
                <a:gd name="f71" fmla="*/ f56 1 1757730"/>
                <a:gd name="f72" fmla="*/ f5 1 f41"/>
                <a:gd name="f73" fmla="*/ f6 1 f41"/>
                <a:gd name="f74" fmla="*/ f5 1 f42"/>
                <a:gd name="f75" fmla="*/ f7 1 f42"/>
                <a:gd name="f76" fmla="+- f57 0 f1"/>
                <a:gd name="f77" fmla="*/ f58 1 f41"/>
                <a:gd name="f78" fmla="*/ f59 1 f42"/>
                <a:gd name="f79" fmla="*/ f60 1 f41"/>
                <a:gd name="f80" fmla="*/ f61 1 f42"/>
                <a:gd name="f81" fmla="*/ f62 1 f41"/>
                <a:gd name="f82" fmla="*/ f63 1 f42"/>
                <a:gd name="f83" fmla="*/ f64 1 f41"/>
                <a:gd name="f84" fmla="*/ f65 1 f42"/>
                <a:gd name="f85" fmla="*/ f66 1 f41"/>
                <a:gd name="f86" fmla="*/ f67 1 f42"/>
                <a:gd name="f87" fmla="*/ f68 1 f41"/>
                <a:gd name="f88" fmla="*/ f69 1 f42"/>
                <a:gd name="f89" fmla="*/ f70 1 f41"/>
                <a:gd name="f90" fmla="*/ f71 1 f42"/>
                <a:gd name="f91" fmla="*/ f72 f36 1"/>
                <a:gd name="f92" fmla="*/ f73 f36 1"/>
                <a:gd name="f93" fmla="*/ f75 f37 1"/>
                <a:gd name="f94" fmla="*/ f74 f37 1"/>
                <a:gd name="f95" fmla="*/ f77 f36 1"/>
                <a:gd name="f96" fmla="*/ f78 f37 1"/>
                <a:gd name="f97" fmla="*/ f79 f36 1"/>
                <a:gd name="f98" fmla="*/ f80 f37 1"/>
                <a:gd name="f99" fmla="*/ f81 f36 1"/>
                <a:gd name="f100" fmla="*/ f82 f37 1"/>
                <a:gd name="f101" fmla="*/ f83 f36 1"/>
                <a:gd name="f102" fmla="*/ f84 f37 1"/>
                <a:gd name="f103" fmla="*/ f85 f36 1"/>
                <a:gd name="f104" fmla="*/ f86 f37 1"/>
                <a:gd name="f105" fmla="*/ f87 f36 1"/>
                <a:gd name="f106" fmla="*/ f88 f37 1"/>
                <a:gd name="f107" fmla="*/ f89 f36 1"/>
                <a:gd name="f108" fmla="*/ f90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6">
                  <a:pos x="f95" y="f96"/>
                </a:cxn>
                <a:cxn ang="f76">
                  <a:pos x="f97" y="f98"/>
                </a:cxn>
                <a:cxn ang="f76">
                  <a:pos x="f99" y="f100"/>
                </a:cxn>
                <a:cxn ang="f76">
                  <a:pos x="f101" y="f102"/>
                </a:cxn>
                <a:cxn ang="f76">
                  <a:pos x="f103" y="f102"/>
                </a:cxn>
                <a:cxn ang="f76">
                  <a:pos x="f103" y="f104"/>
                </a:cxn>
                <a:cxn ang="f76">
                  <a:pos x="f105" y="f106"/>
                </a:cxn>
                <a:cxn ang="f76">
                  <a:pos x="f107" y="f108"/>
                </a:cxn>
                <a:cxn ang="f76">
                  <a:pos x="f95" y="f96"/>
                </a:cxn>
              </a:cxnLst>
              <a:rect l="f91" t="f94" r="f92" b="f93"/>
              <a:pathLst>
                <a:path w="7111369" h="1757730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6" y="f7"/>
                  </a:lnTo>
                  <a:lnTo>
                    <a:pt x="f5" y="f7"/>
                  </a:lnTo>
                  <a:lnTo>
                    <a:pt x="f5" y="f22"/>
                  </a:lnTo>
                  <a:lnTo>
                    <a:pt x="f23" y="f24"/>
                  </a:ln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8" y="f9"/>
                  </a:cubicBez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4" name="Freeform 19">
              <a:extLst>
                <a:ext uri="{FF2B5EF4-FFF2-40B4-BE49-F238E27FC236}">
                  <a16:creationId xmlns:a16="http://schemas.microsoft.com/office/drawing/2014/main" id="{A97C3E1E-D446-126C-4A65-914346D28CBA}"/>
                </a:ext>
              </a:extLst>
            </p:cNvPr>
            <p:cNvSpPr/>
            <p:nvPr/>
          </p:nvSpPr>
          <p:spPr>
            <a:xfrm>
              <a:off x="0" y="5038947"/>
              <a:ext cx="12191996" cy="181905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19056"/>
                <a:gd name="f8" fmla="val 1590347"/>
                <a:gd name="f9" fmla="val 12188220"/>
                <a:gd name="f10" fmla="val 11380834"/>
                <a:gd name="f11" fmla="val 11595183"/>
                <a:gd name="f12" fmla="val 1770580"/>
                <a:gd name="f13" fmla="val 11796947"/>
                <a:gd name="f14" fmla="val 1720044"/>
                <a:gd name="f15" fmla="val 11996151"/>
                <a:gd name="f16" fmla="val 1660154"/>
                <a:gd name="f17" fmla="val 758403"/>
                <a:gd name="f18" fmla="val 2043"/>
                <a:gd name="f19" fmla="val 1686489"/>
                <a:gd name="f20" fmla="val 25125"/>
                <a:gd name="f21" fmla="val 2647016"/>
                <a:gd name="f22" fmla="val 241445"/>
                <a:gd name="f23" fmla="val 3624304"/>
                <a:gd name="f24" fmla="val 526182"/>
                <a:gd name="f25" fmla="val 4845769"/>
                <a:gd name="f26" fmla="val 882033"/>
                <a:gd name="f27" fmla="val 6018540"/>
                <a:gd name="f28" fmla="val 1319108"/>
                <a:gd name="f29" fmla="val 7255331"/>
                <a:gd name="f30" fmla="val 1648964"/>
                <a:gd name="f31" fmla="val 7453869"/>
                <a:gd name="f32" fmla="val 1701922"/>
                <a:gd name="f33" fmla="val 7655427"/>
                <a:gd name="f34" fmla="val 1749451"/>
                <a:gd name="f35" fmla="val 7859208"/>
                <a:gd name="f36" fmla="val 1790989"/>
                <a:gd name="f37" fmla="val 8008547"/>
                <a:gd name="f38" fmla="val 6697152"/>
                <a:gd name="f39" fmla="val 6692612"/>
                <a:gd name="f40" fmla="val 1817638"/>
                <a:gd name="f41" fmla="val 5687256"/>
                <a:gd name="f42" fmla="val 1488590"/>
                <a:gd name="f43" fmla="val 4686470"/>
                <a:gd name="f44" fmla="val 1078099"/>
                <a:gd name="f45" fmla="val 3598861"/>
                <a:gd name="f46" fmla="val 695028"/>
                <a:gd name="f47" fmla="val 2581993"/>
                <a:gd name="f48" fmla="val 336916"/>
                <a:gd name="f49" fmla="val 1520053"/>
                <a:gd name="f50" fmla="val 58744"/>
                <a:gd name="f51" fmla="val 357248"/>
                <a:gd name="f52" fmla="val 79163"/>
                <a:gd name="f53" fmla="val 243154"/>
                <a:gd name="f54" fmla="val 81169"/>
                <a:gd name="f55" fmla="val 129832"/>
                <a:gd name="f56" fmla="val 86358"/>
                <a:gd name="f57" fmla="val 17144"/>
                <a:gd name="f58" fmla="val 95022"/>
                <a:gd name="f59" fmla="val 96893"/>
                <a:gd name="f60" fmla="val 29948"/>
                <a:gd name="f61" fmla="val 15757"/>
                <a:gd name="f62" fmla="val 27869"/>
                <a:gd name="f63" fmla="val 130823"/>
                <a:gd name="f64" fmla="val 16482"/>
                <a:gd name="f65" fmla="val 246476"/>
                <a:gd name="f66" fmla="val 8725"/>
                <a:gd name="f67" fmla="val 362684"/>
                <a:gd name="f68" fmla="val 4345"/>
                <a:gd name="f69" fmla="val 493898"/>
                <a:gd name="f70" fmla="+- 0 0 608"/>
                <a:gd name="f71" fmla="val 625820"/>
                <a:gd name="f72" fmla="+- 0 0 1255"/>
                <a:gd name="f73" fmla="+- 0 0 -90"/>
                <a:gd name="f74" fmla="*/ f3 1 12192000"/>
                <a:gd name="f75" fmla="*/ f4 1 1819056"/>
                <a:gd name="f76" fmla="+- f7 0 f5"/>
                <a:gd name="f77" fmla="+- f6 0 f5"/>
                <a:gd name="f78" fmla="*/ f73 f0 1"/>
                <a:gd name="f79" fmla="*/ f77 1 12192000"/>
                <a:gd name="f80" fmla="*/ f76 1 1819056"/>
                <a:gd name="f81" fmla="*/ 12192000 f77 1"/>
                <a:gd name="f82" fmla="*/ 1590347 f76 1"/>
                <a:gd name="f83" fmla="*/ 12188220 f77 1"/>
                <a:gd name="f84" fmla="*/ 1819056 f76 1"/>
                <a:gd name="f85" fmla="*/ 11380834 f77 1"/>
                <a:gd name="f86" fmla="*/ 11595183 f77 1"/>
                <a:gd name="f87" fmla="*/ 1770580 f76 1"/>
                <a:gd name="f88" fmla="*/ 758403 f77 1"/>
                <a:gd name="f89" fmla="*/ 2043 f76 1"/>
                <a:gd name="f90" fmla="*/ 3624304 f77 1"/>
                <a:gd name="f91" fmla="*/ 526182 f76 1"/>
                <a:gd name="f92" fmla="*/ 7255331 f77 1"/>
                <a:gd name="f93" fmla="*/ 1648964 f76 1"/>
                <a:gd name="f94" fmla="*/ 7859208 f77 1"/>
                <a:gd name="f95" fmla="*/ 1790989 f76 1"/>
                <a:gd name="f96" fmla="*/ 8008547 f77 1"/>
                <a:gd name="f97" fmla="*/ 6697152 f77 1"/>
                <a:gd name="f98" fmla="*/ 6692612 f77 1"/>
                <a:gd name="f99" fmla="*/ 1817638 f76 1"/>
                <a:gd name="f100" fmla="*/ 3598861 f77 1"/>
                <a:gd name="f101" fmla="*/ 695028 f76 1"/>
                <a:gd name="f102" fmla="*/ 357248 f77 1"/>
                <a:gd name="f103" fmla="*/ 79163 f76 1"/>
                <a:gd name="f104" fmla="*/ 17144 f77 1"/>
                <a:gd name="f105" fmla="*/ 95022 f76 1"/>
                <a:gd name="f106" fmla="*/ 0 f77 1"/>
                <a:gd name="f107" fmla="*/ 96893 f76 1"/>
                <a:gd name="f108" fmla="*/ 29948 f76 1"/>
                <a:gd name="f109" fmla="*/ 15757 f77 1"/>
                <a:gd name="f110" fmla="*/ 27869 f76 1"/>
                <a:gd name="f111" fmla="*/ 362684 f77 1"/>
                <a:gd name="f112" fmla="*/ 4345 f76 1"/>
                <a:gd name="f113" fmla="*/ f78 1 f2"/>
                <a:gd name="f114" fmla="*/ f81 1 12192000"/>
                <a:gd name="f115" fmla="*/ f82 1 1819056"/>
                <a:gd name="f116" fmla="*/ f83 1 12192000"/>
                <a:gd name="f117" fmla="*/ f84 1 1819056"/>
                <a:gd name="f118" fmla="*/ f85 1 12192000"/>
                <a:gd name="f119" fmla="*/ f86 1 12192000"/>
                <a:gd name="f120" fmla="*/ f87 1 1819056"/>
                <a:gd name="f121" fmla="*/ f88 1 12192000"/>
                <a:gd name="f122" fmla="*/ f89 1 1819056"/>
                <a:gd name="f123" fmla="*/ f90 1 12192000"/>
                <a:gd name="f124" fmla="*/ f91 1 1819056"/>
                <a:gd name="f125" fmla="*/ f92 1 12192000"/>
                <a:gd name="f126" fmla="*/ f93 1 1819056"/>
                <a:gd name="f127" fmla="*/ f94 1 12192000"/>
                <a:gd name="f128" fmla="*/ f95 1 1819056"/>
                <a:gd name="f129" fmla="*/ f96 1 12192000"/>
                <a:gd name="f130" fmla="*/ f97 1 12192000"/>
                <a:gd name="f131" fmla="*/ f98 1 12192000"/>
                <a:gd name="f132" fmla="*/ f99 1 1819056"/>
                <a:gd name="f133" fmla="*/ f100 1 12192000"/>
                <a:gd name="f134" fmla="*/ f101 1 1819056"/>
                <a:gd name="f135" fmla="*/ f102 1 12192000"/>
                <a:gd name="f136" fmla="*/ f103 1 1819056"/>
                <a:gd name="f137" fmla="*/ f104 1 12192000"/>
                <a:gd name="f138" fmla="*/ f105 1 1819056"/>
                <a:gd name="f139" fmla="*/ f106 1 12192000"/>
                <a:gd name="f140" fmla="*/ f107 1 1819056"/>
                <a:gd name="f141" fmla="*/ f108 1 1819056"/>
                <a:gd name="f142" fmla="*/ f109 1 12192000"/>
                <a:gd name="f143" fmla="*/ f110 1 1819056"/>
                <a:gd name="f144" fmla="*/ f111 1 12192000"/>
                <a:gd name="f145" fmla="*/ f112 1 1819056"/>
                <a:gd name="f146" fmla="*/ f5 1 f79"/>
                <a:gd name="f147" fmla="*/ f6 1 f79"/>
                <a:gd name="f148" fmla="*/ f5 1 f80"/>
                <a:gd name="f149" fmla="*/ f7 1 f80"/>
                <a:gd name="f150" fmla="+- f113 0 f1"/>
                <a:gd name="f151" fmla="*/ f114 1 f79"/>
                <a:gd name="f152" fmla="*/ f115 1 f80"/>
                <a:gd name="f153" fmla="*/ f116 1 f79"/>
                <a:gd name="f154" fmla="*/ f117 1 f80"/>
                <a:gd name="f155" fmla="*/ f118 1 f79"/>
                <a:gd name="f156" fmla="*/ f119 1 f79"/>
                <a:gd name="f157" fmla="*/ f120 1 f80"/>
                <a:gd name="f158" fmla="*/ f121 1 f79"/>
                <a:gd name="f159" fmla="*/ f122 1 f80"/>
                <a:gd name="f160" fmla="*/ f123 1 f79"/>
                <a:gd name="f161" fmla="*/ f124 1 f80"/>
                <a:gd name="f162" fmla="*/ f125 1 f79"/>
                <a:gd name="f163" fmla="*/ f126 1 f80"/>
                <a:gd name="f164" fmla="*/ f127 1 f79"/>
                <a:gd name="f165" fmla="*/ f128 1 f80"/>
                <a:gd name="f166" fmla="*/ f129 1 f79"/>
                <a:gd name="f167" fmla="*/ f130 1 f79"/>
                <a:gd name="f168" fmla="*/ f131 1 f79"/>
                <a:gd name="f169" fmla="*/ f132 1 f80"/>
                <a:gd name="f170" fmla="*/ f133 1 f79"/>
                <a:gd name="f171" fmla="*/ f134 1 f80"/>
                <a:gd name="f172" fmla="*/ f135 1 f79"/>
                <a:gd name="f173" fmla="*/ f136 1 f80"/>
                <a:gd name="f174" fmla="*/ f137 1 f79"/>
                <a:gd name="f175" fmla="*/ f138 1 f80"/>
                <a:gd name="f176" fmla="*/ f139 1 f79"/>
                <a:gd name="f177" fmla="*/ f140 1 f80"/>
                <a:gd name="f178" fmla="*/ f141 1 f80"/>
                <a:gd name="f179" fmla="*/ f142 1 f79"/>
                <a:gd name="f180" fmla="*/ f143 1 f80"/>
                <a:gd name="f181" fmla="*/ f144 1 f79"/>
                <a:gd name="f182" fmla="*/ f145 1 f80"/>
                <a:gd name="f183" fmla="*/ f146 f74 1"/>
                <a:gd name="f184" fmla="*/ f147 f74 1"/>
                <a:gd name="f185" fmla="*/ f149 f75 1"/>
                <a:gd name="f186" fmla="*/ f148 f75 1"/>
                <a:gd name="f187" fmla="*/ f151 f74 1"/>
                <a:gd name="f188" fmla="*/ f152 f75 1"/>
                <a:gd name="f189" fmla="*/ f153 f74 1"/>
                <a:gd name="f190" fmla="*/ f154 f75 1"/>
                <a:gd name="f191" fmla="*/ f155 f74 1"/>
                <a:gd name="f192" fmla="*/ f156 f74 1"/>
                <a:gd name="f193" fmla="*/ f157 f75 1"/>
                <a:gd name="f194" fmla="*/ f158 f74 1"/>
                <a:gd name="f195" fmla="*/ f159 f75 1"/>
                <a:gd name="f196" fmla="*/ f160 f74 1"/>
                <a:gd name="f197" fmla="*/ f161 f75 1"/>
                <a:gd name="f198" fmla="*/ f162 f74 1"/>
                <a:gd name="f199" fmla="*/ f163 f75 1"/>
                <a:gd name="f200" fmla="*/ f164 f74 1"/>
                <a:gd name="f201" fmla="*/ f165 f75 1"/>
                <a:gd name="f202" fmla="*/ f166 f74 1"/>
                <a:gd name="f203" fmla="*/ f167 f74 1"/>
                <a:gd name="f204" fmla="*/ f168 f74 1"/>
                <a:gd name="f205" fmla="*/ f169 f75 1"/>
                <a:gd name="f206" fmla="*/ f170 f74 1"/>
                <a:gd name="f207" fmla="*/ f171 f75 1"/>
                <a:gd name="f208" fmla="*/ f172 f74 1"/>
                <a:gd name="f209" fmla="*/ f173 f75 1"/>
                <a:gd name="f210" fmla="*/ f174 f74 1"/>
                <a:gd name="f211" fmla="*/ f175 f75 1"/>
                <a:gd name="f212" fmla="*/ f176 f74 1"/>
                <a:gd name="f213" fmla="*/ f177 f75 1"/>
                <a:gd name="f214" fmla="*/ f178 f75 1"/>
                <a:gd name="f215" fmla="*/ f179 f74 1"/>
                <a:gd name="f216" fmla="*/ f180 f75 1"/>
                <a:gd name="f217" fmla="*/ f181 f74 1"/>
                <a:gd name="f218" fmla="*/ f182 f7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50">
                  <a:pos x="f187" y="f188"/>
                </a:cxn>
                <a:cxn ang="f150">
                  <a:pos x="f189" y="f190"/>
                </a:cxn>
                <a:cxn ang="f150">
                  <a:pos x="f191" y="f190"/>
                </a:cxn>
                <a:cxn ang="f150">
                  <a:pos x="f192" y="f193"/>
                </a:cxn>
                <a:cxn ang="f150">
                  <a:pos x="f187" y="f188"/>
                </a:cxn>
                <a:cxn ang="f150">
                  <a:pos x="f194" y="f195"/>
                </a:cxn>
                <a:cxn ang="f150">
                  <a:pos x="f196" y="f197"/>
                </a:cxn>
                <a:cxn ang="f150">
                  <a:pos x="f198" y="f199"/>
                </a:cxn>
                <a:cxn ang="f150">
                  <a:pos x="f200" y="f201"/>
                </a:cxn>
                <a:cxn ang="f150">
                  <a:pos x="f202" y="f190"/>
                </a:cxn>
                <a:cxn ang="f150">
                  <a:pos x="f203" y="f190"/>
                </a:cxn>
                <a:cxn ang="f150">
                  <a:pos x="f204" y="f205"/>
                </a:cxn>
                <a:cxn ang="f150">
                  <a:pos x="f206" y="f207"/>
                </a:cxn>
                <a:cxn ang="f150">
                  <a:pos x="f208" y="f209"/>
                </a:cxn>
                <a:cxn ang="f150">
                  <a:pos x="f210" y="f211"/>
                </a:cxn>
                <a:cxn ang="f150">
                  <a:pos x="f212" y="f213"/>
                </a:cxn>
                <a:cxn ang="f150">
                  <a:pos x="f212" y="f214"/>
                </a:cxn>
                <a:cxn ang="f150">
                  <a:pos x="f215" y="f216"/>
                </a:cxn>
                <a:cxn ang="f150">
                  <a:pos x="f217" y="f218"/>
                </a:cxn>
                <a:cxn ang="f150">
                  <a:pos x="f194" y="f195"/>
                </a:cxn>
              </a:cxnLst>
              <a:rect l="f183" t="f186" r="f184" b="f185"/>
              <a:pathLst>
                <a:path w="12192000" h="1819056">
                  <a:moveTo>
                    <a:pt x="f6" y="f8"/>
                  </a:moveTo>
                  <a:lnTo>
                    <a:pt x="f9" y="f7"/>
                  </a:lnTo>
                  <a:lnTo>
                    <a:pt x="f10" y="f7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6" y="f8"/>
                  </a:cubicBezTo>
                  <a:close/>
                  <a:moveTo>
                    <a:pt x="f17" y="f18"/>
                  </a:moveTo>
                  <a:cubicBezTo>
                    <a:pt x="f19" y="f20"/>
                    <a:pt x="f21" y="f22"/>
                    <a:pt x="f23" y="f24"/>
                  </a:cubicBezTo>
                  <a:cubicBezTo>
                    <a:pt x="f25" y="f26"/>
                    <a:pt x="f27" y="f28"/>
                    <a:pt x="f29" y="f30"/>
                  </a:cubicBezTo>
                  <a:cubicBezTo>
                    <a:pt x="f31" y="f32"/>
                    <a:pt x="f33" y="f34"/>
                    <a:pt x="f35" y="f36"/>
                  </a:cubicBezTo>
                  <a:lnTo>
                    <a:pt x="f37" y="f7"/>
                  </a:lnTo>
                  <a:lnTo>
                    <a:pt x="f38" y="f7"/>
                  </a:lnTo>
                  <a:lnTo>
                    <a:pt x="f39" y="f40"/>
                  </a:lnTo>
                  <a:cubicBezTo>
                    <a:pt x="f41" y="f42"/>
                    <a:pt x="f43" y="f44"/>
                    <a:pt x="f45" y="f46"/>
                  </a:cubicBezTo>
                  <a:cubicBezTo>
                    <a:pt x="f47" y="f48"/>
                    <a:pt x="f49" y="f50"/>
                    <a:pt x="f51" y="f52"/>
                  </a:cubicBezTo>
                  <a:cubicBezTo>
                    <a:pt x="f53" y="f54"/>
                    <a:pt x="f55" y="f56"/>
                    <a:pt x="f57" y="f58"/>
                  </a:cubicBezTo>
                  <a:lnTo>
                    <a:pt x="f5" y="f59"/>
                  </a:lnTo>
                  <a:lnTo>
                    <a:pt x="f5" y="f60"/>
                  </a:lnTo>
                  <a:lnTo>
                    <a:pt x="f61" y="f62"/>
                  </a:lnTo>
                  <a:cubicBezTo>
                    <a:pt x="f63" y="f64"/>
                    <a:pt x="f65" y="f66"/>
                    <a:pt x="f67" y="f68"/>
                  </a:cubicBezTo>
                  <a:cubicBezTo>
                    <a:pt x="f69" y="f70"/>
                    <a:pt x="f71" y="f72"/>
                    <a:pt x="f17" y="f18"/>
                  </a:cubicBez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C08D1D83-A673-DB82-C33F-11E8EC279868}"/>
                </a:ext>
              </a:extLst>
            </p:cNvPr>
            <p:cNvSpPr/>
            <p:nvPr/>
          </p:nvSpPr>
          <p:spPr>
            <a:xfrm>
              <a:off x="0" y="5020348"/>
              <a:ext cx="12191996" cy="18376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12192000"/>
                <a:gd name="f7" fmla="val 1837653"/>
                <a:gd name="f8" fmla="val 631978"/>
                <a:gd name="f9" fmla="val 192"/>
                <a:gd name="f10" fmla="val 919158"/>
                <a:gd name="f11" fmla="+- 0 0 2016"/>
                <a:gd name="f12" fmla="val 1209873"/>
                <a:gd name="f13" fmla="val 14922"/>
                <a:gd name="f14" fmla="val 1503520"/>
                <a:gd name="f15" fmla="val 46905"/>
                <a:gd name="f16" fmla="val 3549714"/>
                <a:gd name="f17" fmla="val 172355"/>
                <a:gd name="f18" fmla="val 5706358"/>
                <a:gd name="f19" fmla="val 1115591"/>
                <a:gd name="f20" fmla="val 7786904"/>
                <a:gd name="f21" fmla="val 1473930"/>
                <a:gd name="f22" fmla="val 9204661"/>
                <a:gd name="f23" fmla="val 1718045"/>
                <a:gd name="f24" fmla="val 10875183"/>
                <a:gd name="f25" fmla="val 1584536"/>
                <a:gd name="f26" fmla="val 1008678"/>
                <a:gd name="f27" fmla="val 1399189"/>
                <a:gd name="f28" fmla="val 1684971"/>
                <a:gd name="f29" fmla="val 7111369"/>
                <a:gd name="f30" fmla="val 6700767"/>
                <a:gd name="f31" fmla="val 1716805"/>
                <a:gd name="f32" fmla="val 5690778"/>
                <a:gd name="f33" fmla="val 1404548"/>
                <a:gd name="f34" fmla="val 4684008"/>
                <a:gd name="f35" fmla="val 1010844"/>
                <a:gd name="f36" fmla="val 3590934"/>
                <a:gd name="f37" fmla="val 645969"/>
                <a:gd name="f38" fmla="val 2569009"/>
                <a:gd name="f39" fmla="val 304809"/>
                <a:gd name="f40" fmla="val 1503293"/>
                <a:gd name="f41" fmla="val 44345"/>
                <a:gd name="f42" fmla="val 341773"/>
                <a:gd name="f43" fmla="val 83899"/>
                <a:gd name="f44" fmla="val 227801"/>
                <a:gd name="f45" fmla="val 87780"/>
                <a:gd name="f46" fmla="val 114653"/>
                <a:gd name="f47" fmla="val 94828"/>
                <a:gd name="f48" fmla="val 2197"/>
                <a:gd name="f49" fmla="val 105337"/>
                <a:gd name="f50" fmla="val 105613"/>
                <a:gd name="f51" fmla="val 38154"/>
                <a:gd name="f52" fmla="val 346000"/>
                <a:gd name="f53" fmla="val 8933"/>
                <a:gd name="f54" fmla="val 440918"/>
                <a:gd name="f55" fmla="val 3791"/>
                <a:gd name="f56" fmla="val 536252"/>
                <a:gd name="f57" fmla="val 928"/>
                <a:gd name="f58" fmla="+- 0 0 -90"/>
                <a:gd name="f59" fmla="*/ f3 1 12192000"/>
                <a:gd name="f60" fmla="*/ f4 1 1837653"/>
                <a:gd name="f61" fmla="+- f7 0 f5"/>
                <a:gd name="f62" fmla="+- f6 0 f5"/>
                <a:gd name="f63" fmla="*/ f58 f0 1"/>
                <a:gd name="f64" fmla="*/ f62 1 12192000"/>
                <a:gd name="f65" fmla="*/ f61 1 1837653"/>
                <a:gd name="f66" fmla="*/ 631978 f62 1"/>
                <a:gd name="f67" fmla="*/ 192 f61 1"/>
                <a:gd name="f68" fmla="*/ 1503520 f62 1"/>
                <a:gd name="f69" fmla="*/ 46905 f61 1"/>
                <a:gd name="f70" fmla="*/ 7786904 f62 1"/>
                <a:gd name="f71" fmla="*/ 1473930 f61 1"/>
                <a:gd name="f72" fmla="*/ 12192000 f62 1"/>
                <a:gd name="f73" fmla="*/ 1008678 f61 1"/>
                <a:gd name="f74" fmla="*/ 1399189 f61 1"/>
                <a:gd name="f75" fmla="*/ 1684971 f61 1"/>
                <a:gd name="f76" fmla="*/ 1837653 f61 1"/>
                <a:gd name="f77" fmla="*/ 7111369 f62 1"/>
                <a:gd name="f78" fmla="*/ 6700767 f62 1"/>
                <a:gd name="f79" fmla="*/ 1716805 f61 1"/>
                <a:gd name="f80" fmla="*/ 3590934 f62 1"/>
                <a:gd name="f81" fmla="*/ 645969 f61 1"/>
                <a:gd name="f82" fmla="*/ 341773 f62 1"/>
                <a:gd name="f83" fmla="*/ 83899 f61 1"/>
                <a:gd name="f84" fmla="*/ 2197 f62 1"/>
                <a:gd name="f85" fmla="*/ 105337 f61 1"/>
                <a:gd name="f86" fmla="*/ 0 f62 1"/>
                <a:gd name="f87" fmla="*/ 105613 f61 1"/>
                <a:gd name="f88" fmla="*/ 38154 f61 1"/>
                <a:gd name="f89" fmla="*/ 346000 f62 1"/>
                <a:gd name="f90" fmla="*/ 8933 f61 1"/>
                <a:gd name="f91" fmla="*/ f63 1 f2"/>
                <a:gd name="f92" fmla="*/ f66 1 12192000"/>
                <a:gd name="f93" fmla="*/ f67 1 1837653"/>
                <a:gd name="f94" fmla="*/ f68 1 12192000"/>
                <a:gd name="f95" fmla="*/ f69 1 1837653"/>
                <a:gd name="f96" fmla="*/ f70 1 12192000"/>
                <a:gd name="f97" fmla="*/ f71 1 1837653"/>
                <a:gd name="f98" fmla="*/ f72 1 12192000"/>
                <a:gd name="f99" fmla="*/ f73 1 1837653"/>
                <a:gd name="f100" fmla="*/ f74 1 1837653"/>
                <a:gd name="f101" fmla="*/ f75 1 1837653"/>
                <a:gd name="f102" fmla="*/ f76 1 1837653"/>
                <a:gd name="f103" fmla="*/ f77 1 12192000"/>
                <a:gd name="f104" fmla="*/ f78 1 12192000"/>
                <a:gd name="f105" fmla="*/ f79 1 1837653"/>
                <a:gd name="f106" fmla="*/ f80 1 12192000"/>
                <a:gd name="f107" fmla="*/ f81 1 1837653"/>
                <a:gd name="f108" fmla="*/ f82 1 12192000"/>
                <a:gd name="f109" fmla="*/ f83 1 1837653"/>
                <a:gd name="f110" fmla="*/ f84 1 12192000"/>
                <a:gd name="f111" fmla="*/ f85 1 1837653"/>
                <a:gd name="f112" fmla="*/ f86 1 12192000"/>
                <a:gd name="f113" fmla="*/ f87 1 1837653"/>
                <a:gd name="f114" fmla="*/ f88 1 1837653"/>
                <a:gd name="f115" fmla="*/ f89 1 12192000"/>
                <a:gd name="f116" fmla="*/ f90 1 1837653"/>
                <a:gd name="f117" fmla="*/ f5 1 f64"/>
                <a:gd name="f118" fmla="*/ f6 1 f64"/>
                <a:gd name="f119" fmla="*/ f5 1 f65"/>
                <a:gd name="f120" fmla="*/ f7 1 f65"/>
                <a:gd name="f121" fmla="+- f91 0 f1"/>
                <a:gd name="f122" fmla="*/ f92 1 f64"/>
                <a:gd name="f123" fmla="*/ f93 1 f65"/>
                <a:gd name="f124" fmla="*/ f94 1 f64"/>
                <a:gd name="f125" fmla="*/ f95 1 f65"/>
                <a:gd name="f126" fmla="*/ f96 1 f64"/>
                <a:gd name="f127" fmla="*/ f97 1 f65"/>
                <a:gd name="f128" fmla="*/ f98 1 f64"/>
                <a:gd name="f129" fmla="*/ f99 1 f65"/>
                <a:gd name="f130" fmla="*/ f100 1 f65"/>
                <a:gd name="f131" fmla="*/ f101 1 f65"/>
                <a:gd name="f132" fmla="*/ f102 1 f65"/>
                <a:gd name="f133" fmla="*/ f103 1 f64"/>
                <a:gd name="f134" fmla="*/ f104 1 f64"/>
                <a:gd name="f135" fmla="*/ f105 1 f65"/>
                <a:gd name="f136" fmla="*/ f106 1 f64"/>
                <a:gd name="f137" fmla="*/ f107 1 f65"/>
                <a:gd name="f138" fmla="*/ f108 1 f64"/>
                <a:gd name="f139" fmla="*/ f109 1 f65"/>
                <a:gd name="f140" fmla="*/ f110 1 f64"/>
                <a:gd name="f141" fmla="*/ f111 1 f65"/>
                <a:gd name="f142" fmla="*/ f112 1 f64"/>
                <a:gd name="f143" fmla="*/ f113 1 f65"/>
                <a:gd name="f144" fmla="*/ f114 1 f65"/>
                <a:gd name="f145" fmla="*/ f115 1 f64"/>
                <a:gd name="f146" fmla="*/ f116 1 f65"/>
                <a:gd name="f147" fmla="*/ f117 f59 1"/>
                <a:gd name="f148" fmla="*/ f118 f59 1"/>
                <a:gd name="f149" fmla="*/ f120 f60 1"/>
                <a:gd name="f150" fmla="*/ f119 f60 1"/>
                <a:gd name="f151" fmla="*/ f122 f59 1"/>
                <a:gd name="f152" fmla="*/ f123 f60 1"/>
                <a:gd name="f153" fmla="*/ f124 f59 1"/>
                <a:gd name="f154" fmla="*/ f125 f60 1"/>
                <a:gd name="f155" fmla="*/ f126 f59 1"/>
                <a:gd name="f156" fmla="*/ f127 f60 1"/>
                <a:gd name="f157" fmla="*/ f128 f59 1"/>
                <a:gd name="f158" fmla="*/ f129 f60 1"/>
                <a:gd name="f159" fmla="*/ f130 f60 1"/>
                <a:gd name="f160" fmla="*/ f131 f60 1"/>
                <a:gd name="f161" fmla="*/ f132 f60 1"/>
                <a:gd name="f162" fmla="*/ f133 f59 1"/>
                <a:gd name="f163" fmla="*/ f134 f59 1"/>
                <a:gd name="f164" fmla="*/ f135 f60 1"/>
                <a:gd name="f165" fmla="*/ f136 f59 1"/>
                <a:gd name="f166" fmla="*/ f137 f60 1"/>
                <a:gd name="f167" fmla="*/ f138 f59 1"/>
                <a:gd name="f168" fmla="*/ f139 f60 1"/>
                <a:gd name="f169" fmla="*/ f140 f59 1"/>
                <a:gd name="f170" fmla="*/ f141 f60 1"/>
                <a:gd name="f171" fmla="*/ f142 f59 1"/>
                <a:gd name="f172" fmla="*/ f143 f60 1"/>
                <a:gd name="f173" fmla="*/ f144 f60 1"/>
                <a:gd name="f174" fmla="*/ f145 f59 1"/>
                <a:gd name="f175" fmla="*/ f146 f6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21">
                  <a:pos x="f151" y="f152"/>
                </a:cxn>
                <a:cxn ang="f121">
                  <a:pos x="f153" y="f154"/>
                </a:cxn>
                <a:cxn ang="f121">
                  <a:pos x="f155" y="f156"/>
                </a:cxn>
                <a:cxn ang="f121">
                  <a:pos x="f157" y="f158"/>
                </a:cxn>
                <a:cxn ang="f121">
                  <a:pos x="f157" y="f159"/>
                </a:cxn>
                <a:cxn ang="f121">
                  <a:pos x="f157" y="f160"/>
                </a:cxn>
                <a:cxn ang="f121">
                  <a:pos x="f157" y="f161"/>
                </a:cxn>
                <a:cxn ang="f121">
                  <a:pos x="f162" y="f161"/>
                </a:cxn>
                <a:cxn ang="f121">
                  <a:pos x="f163" y="f164"/>
                </a:cxn>
                <a:cxn ang="f121">
                  <a:pos x="f165" y="f166"/>
                </a:cxn>
                <a:cxn ang="f121">
                  <a:pos x="f167" y="f168"/>
                </a:cxn>
                <a:cxn ang="f121">
                  <a:pos x="f169" y="f170"/>
                </a:cxn>
                <a:cxn ang="f121">
                  <a:pos x="f171" y="f172"/>
                </a:cxn>
                <a:cxn ang="f121">
                  <a:pos x="f171" y="f173"/>
                </a:cxn>
                <a:cxn ang="f121">
                  <a:pos x="f174" y="f175"/>
                </a:cxn>
                <a:cxn ang="f121">
                  <a:pos x="f151" y="f152"/>
                </a:cxn>
              </a:cxnLst>
              <a:rect l="f147" t="f150" r="f148" b="f149"/>
              <a:pathLst>
                <a:path w="12192000" h="1837653">
                  <a:moveTo>
                    <a:pt x="f8" y="f9"/>
                  </a:move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cubicBezTo>
                    <a:pt x="f22" y="f23"/>
                    <a:pt x="f24" y="f25"/>
                    <a:pt x="f6" y="f26"/>
                  </a:cubicBezTo>
                  <a:lnTo>
                    <a:pt x="f6" y="f27"/>
                  </a:lnTo>
                  <a:lnTo>
                    <a:pt x="f6" y="f28"/>
                  </a:lnTo>
                  <a:lnTo>
                    <a:pt x="f6" y="f7"/>
                  </a:lnTo>
                  <a:lnTo>
                    <a:pt x="f29" y="f7"/>
                  </a:lnTo>
                  <a:lnTo>
                    <a:pt x="f30" y="f31"/>
                  </a:lnTo>
                  <a:cubicBezTo>
                    <a:pt x="f32" y="f33"/>
                    <a:pt x="f34" y="f35"/>
                    <a:pt x="f36" y="f37"/>
                  </a:cubicBezTo>
                  <a:cubicBezTo>
                    <a:pt x="f38" y="f39"/>
                    <a:pt x="f40" y="f41"/>
                    <a:pt x="f42" y="f43"/>
                  </a:cubicBezTo>
                  <a:cubicBezTo>
                    <a:pt x="f44" y="f45"/>
                    <a:pt x="f46" y="f47"/>
                    <a:pt x="f48" y="f49"/>
                  </a:cubicBezTo>
                  <a:lnTo>
                    <a:pt x="f5" y="f50"/>
                  </a:lnTo>
                  <a:lnTo>
                    <a:pt x="f5" y="f51"/>
                  </a:lnTo>
                  <a:lnTo>
                    <a:pt x="f52" y="f53"/>
                  </a:lnTo>
                  <a:cubicBezTo>
                    <a:pt x="f54" y="f55"/>
                    <a:pt x="f56" y="f57"/>
                    <a:pt x="f8" y="f9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pic>
          <p:nvPicPr>
            <p:cNvPr id="6" name="Picture 20">
              <a:extLst>
                <a:ext uri="{FF2B5EF4-FFF2-40B4-BE49-F238E27FC236}">
                  <a16:creationId xmlns:a16="http://schemas.microsoft.com/office/drawing/2014/main" id="{B18045E1-9BEA-5172-6F75-D3AC7E494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313291" y="5563584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7" name="Title 10">
            <a:extLst>
              <a:ext uri="{FF2B5EF4-FFF2-40B4-BE49-F238E27FC236}">
                <a16:creationId xmlns:a16="http://schemas.microsoft.com/office/drawing/2014/main" id="{98283719-5DE7-79D9-1522-1EF48DDCC5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3305" y="701748"/>
            <a:ext cx="9365376" cy="2014679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E170D6-08A5-7952-3C86-95D26344145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1413305" y="3081637"/>
            <a:ext cx="9365376" cy="9865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39374"/>
      </p:ext>
    </p:extLst>
  </p:cSld>
  <p:clrMapOvr>
    <a:masterClrMapping/>
  </p:clrMapOvr>
</p:sldLayout>
</file>

<file path=ppt/slideLayouts/slideLayout2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BA9B29D-92FD-8E2B-EBEC-8209D69BAAB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57200" y="1146255"/>
            <a:ext cx="2350172" cy="297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5">
            <a:extLst>
              <a:ext uri="{FF2B5EF4-FFF2-40B4-BE49-F238E27FC236}">
                <a16:creationId xmlns:a16="http://schemas.microsoft.com/office/drawing/2014/main" id="{AFDC99CB-219D-4DA8-6C75-DBF3876F352A}"/>
              </a:ext>
            </a:extLst>
          </p:cNvPr>
          <p:cNvCxnSpPr/>
          <p:nvPr/>
        </p:nvCxnSpPr>
        <p:spPr>
          <a:xfrm>
            <a:off x="457201" y="947985"/>
            <a:ext cx="2350163" cy="0"/>
          </a:xfrm>
          <a:prstGeom prst="straightConnector1">
            <a:avLst/>
          </a:prstGeom>
          <a:noFill/>
          <a:ln w="31747" cap="flat">
            <a:solidFill>
              <a:srgbClr val="F58366"/>
            </a:solidFill>
            <a:prstDash val="solid"/>
            <a:miter/>
          </a:ln>
        </p:spPr>
      </p:cxnSp>
      <p:grpSp>
        <p:nvGrpSpPr>
          <p:cNvPr id="4" name="Group 2">
            <a:extLst>
              <a:ext uri="{FF2B5EF4-FFF2-40B4-BE49-F238E27FC236}">
                <a16:creationId xmlns:a16="http://schemas.microsoft.com/office/drawing/2014/main" id="{AAB75D64-2167-744C-C34B-2A7A52BE8109}"/>
              </a:ext>
            </a:extLst>
          </p:cNvPr>
          <p:cNvGrpSpPr/>
          <p:nvPr/>
        </p:nvGrpSpPr>
        <p:grpSpPr>
          <a:xfrm>
            <a:off x="1" y="5379425"/>
            <a:ext cx="2807363" cy="753895"/>
            <a:chOff x="0" y="5379424"/>
            <a:chExt cx="2807363" cy="753895"/>
          </a:xfrm>
        </p:grpSpPr>
        <p:sp>
          <p:nvSpPr>
            <p:cNvPr id="5" name="Freeform 21">
              <a:extLst>
                <a:ext uri="{FF2B5EF4-FFF2-40B4-BE49-F238E27FC236}">
                  <a16:creationId xmlns:a16="http://schemas.microsoft.com/office/drawing/2014/main" id="{5374FB82-46D5-D765-378F-0AB3137B1E53}"/>
                </a:ext>
              </a:extLst>
            </p:cNvPr>
            <p:cNvSpPr/>
            <p:nvPr/>
          </p:nvSpPr>
          <p:spPr>
            <a:xfrm>
              <a:off x="0" y="5532513"/>
              <a:ext cx="2807363" cy="60080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00807"/>
                <a:gd name="f8" fmla="val 429971"/>
                <a:gd name="f9" fmla="val 123998"/>
                <a:gd name="f10" fmla="val 1184765"/>
                <a:gd name="f11" fmla="val 325331"/>
                <a:gd name="f12" fmla="val 2014184"/>
                <a:gd name="f13" fmla="val 392492"/>
                <a:gd name="f14" fmla="val 2790212"/>
                <a:gd name="f15" fmla="val 235402"/>
                <a:gd name="f16" fmla="val 231522"/>
                <a:gd name="f17" fmla="val 566106"/>
                <a:gd name="f18" fmla="val 2593885"/>
                <a:gd name="f19" fmla="val 587498"/>
                <a:gd name="f20" fmla="val 1673646"/>
                <a:gd name="f21" fmla="val 651184"/>
                <a:gd name="f22" fmla="val 884869"/>
                <a:gd name="f23" fmla="val 479260"/>
                <a:gd name="f24" fmla="val 100844"/>
                <a:gd name="f25" fmla="val 222653"/>
                <a:gd name="f26" fmla="val 188389"/>
                <a:gd name="f27" fmla="+- 0 0 -90"/>
                <a:gd name="f28" fmla="*/ f3 1 2807368"/>
                <a:gd name="f29" fmla="*/ f4 1 600807"/>
                <a:gd name="f30" fmla="+- f7 0 f5"/>
                <a:gd name="f31" fmla="+- f6 0 f5"/>
                <a:gd name="f32" fmla="*/ f27 f0 1"/>
                <a:gd name="f33" fmla="*/ f31 1 2807368"/>
                <a:gd name="f34" fmla="*/ f30 1 600807"/>
                <a:gd name="f35" fmla="*/ 0 f31 1"/>
                <a:gd name="f36" fmla="*/ 0 f30 1"/>
                <a:gd name="f37" fmla="*/ 429971 f31 1"/>
                <a:gd name="f38" fmla="*/ 123998 f30 1"/>
                <a:gd name="f39" fmla="*/ 2790212 f31 1"/>
                <a:gd name="f40" fmla="*/ 235402 f30 1"/>
                <a:gd name="f41" fmla="*/ 2807368 f31 1"/>
                <a:gd name="f42" fmla="*/ 231522 f30 1"/>
                <a:gd name="f43" fmla="*/ 566106 f30 1"/>
                <a:gd name="f44" fmla="*/ 2593885 f31 1"/>
                <a:gd name="f45" fmla="*/ 587498 f30 1"/>
                <a:gd name="f46" fmla="*/ 100844 f31 1"/>
                <a:gd name="f47" fmla="*/ 222653 f30 1"/>
                <a:gd name="f48" fmla="*/ 188389 f30 1"/>
                <a:gd name="f49" fmla="*/ f32 1 f2"/>
                <a:gd name="f50" fmla="*/ f35 1 2807368"/>
                <a:gd name="f51" fmla="*/ f36 1 600807"/>
                <a:gd name="f52" fmla="*/ f37 1 2807368"/>
                <a:gd name="f53" fmla="*/ f38 1 600807"/>
                <a:gd name="f54" fmla="*/ f39 1 2807368"/>
                <a:gd name="f55" fmla="*/ f40 1 600807"/>
                <a:gd name="f56" fmla="*/ f41 1 2807368"/>
                <a:gd name="f57" fmla="*/ f42 1 600807"/>
                <a:gd name="f58" fmla="*/ f43 1 600807"/>
                <a:gd name="f59" fmla="*/ f44 1 2807368"/>
                <a:gd name="f60" fmla="*/ f45 1 600807"/>
                <a:gd name="f61" fmla="*/ f46 1 2807368"/>
                <a:gd name="f62" fmla="*/ f47 1 600807"/>
                <a:gd name="f63" fmla="*/ f48 1 600807"/>
                <a:gd name="f64" fmla="*/ f5 1 f33"/>
                <a:gd name="f65" fmla="*/ f6 1 f33"/>
                <a:gd name="f66" fmla="*/ f5 1 f34"/>
                <a:gd name="f67" fmla="*/ f7 1 f34"/>
                <a:gd name="f68" fmla="+- f49 0 f1"/>
                <a:gd name="f69" fmla="*/ f50 1 f33"/>
                <a:gd name="f70" fmla="*/ f51 1 f34"/>
                <a:gd name="f71" fmla="*/ f52 1 f33"/>
                <a:gd name="f72" fmla="*/ f53 1 f34"/>
                <a:gd name="f73" fmla="*/ f54 1 f33"/>
                <a:gd name="f74" fmla="*/ f55 1 f34"/>
                <a:gd name="f75" fmla="*/ f56 1 f33"/>
                <a:gd name="f76" fmla="*/ f57 1 f34"/>
                <a:gd name="f77" fmla="*/ f58 1 f34"/>
                <a:gd name="f78" fmla="*/ f59 1 f33"/>
                <a:gd name="f79" fmla="*/ f60 1 f34"/>
                <a:gd name="f80" fmla="*/ f61 1 f33"/>
                <a:gd name="f81" fmla="*/ f62 1 f34"/>
                <a:gd name="f82" fmla="*/ f63 1 f34"/>
                <a:gd name="f83" fmla="*/ f64 f28 1"/>
                <a:gd name="f84" fmla="*/ f65 f28 1"/>
                <a:gd name="f85" fmla="*/ f67 f29 1"/>
                <a:gd name="f86" fmla="*/ f66 f29 1"/>
                <a:gd name="f87" fmla="*/ f69 f28 1"/>
                <a:gd name="f88" fmla="*/ f70 f29 1"/>
                <a:gd name="f89" fmla="*/ f71 f28 1"/>
                <a:gd name="f90" fmla="*/ f72 f29 1"/>
                <a:gd name="f91" fmla="*/ f73 f28 1"/>
                <a:gd name="f92" fmla="*/ f74 f29 1"/>
                <a:gd name="f93" fmla="*/ f75 f28 1"/>
                <a:gd name="f94" fmla="*/ f76 f29 1"/>
                <a:gd name="f95" fmla="*/ f77 f29 1"/>
                <a:gd name="f96" fmla="*/ f78 f28 1"/>
                <a:gd name="f97" fmla="*/ f79 f29 1"/>
                <a:gd name="f98" fmla="*/ f80 f28 1"/>
                <a:gd name="f99" fmla="*/ f81 f29 1"/>
                <a:gd name="f100" fmla="*/ f82 f2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68">
                  <a:pos x="f87" y="f88"/>
                </a:cxn>
                <a:cxn ang="f68">
                  <a:pos x="f89" y="f90"/>
                </a:cxn>
                <a:cxn ang="f68">
                  <a:pos x="f91" y="f92"/>
                </a:cxn>
                <a:cxn ang="f68">
                  <a:pos x="f93" y="f94"/>
                </a:cxn>
                <a:cxn ang="f68">
                  <a:pos x="f93" y="f95"/>
                </a:cxn>
                <a:cxn ang="f68">
                  <a:pos x="f96" y="f97"/>
                </a:cxn>
                <a:cxn ang="f68">
                  <a:pos x="f98" y="f99"/>
                </a:cxn>
                <a:cxn ang="f68">
                  <a:pos x="f87" y="f100"/>
                </a:cxn>
              </a:cxnLst>
              <a:rect l="f83" t="f86" r="f84" b="f85"/>
              <a:pathLst>
                <a:path w="2807368" h="600807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lnTo>
                    <a:pt x="f6" y="f16"/>
                  </a:lnTo>
                  <a:lnTo>
                    <a:pt x="f6" y="f17"/>
                  </a:lnTo>
                  <a:lnTo>
                    <a:pt x="f18" y="f19"/>
                  </a:lnTo>
                  <a:cubicBezTo>
                    <a:pt x="f20" y="f21"/>
                    <a:pt x="f22" y="f23"/>
                    <a:pt x="f24" y="f25"/>
                  </a:cubicBezTo>
                  <a:lnTo>
                    <a:pt x="f5" y="f26"/>
                  </a:lnTo>
                  <a:close/>
                </a:path>
              </a:pathLst>
            </a:custGeom>
            <a:gradFill>
              <a:gsLst>
                <a:gs pos="0">
                  <a:srgbClr val="F58366"/>
                </a:gs>
                <a:gs pos="100000">
                  <a:srgbClr val="F04115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  <p:sp>
          <p:nvSpPr>
            <p:cNvPr id="6" name="Freeform 19">
              <a:extLst>
                <a:ext uri="{FF2B5EF4-FFF2-40B4-BE49-F238E27FC236}">
                  <a16:creationId xmlns:a16="http://schemas.microsoft.com/office/drawing/2014/main" id="{6780579B-3DB3-1F77-8599-AA913E476150}"/>
                </a:ext>
              </a:extLst>
            </p:cNvPr>
            <p:cNvSpPr/>
            <p:nvPr/>
          </p:nvSpPr>
          <p:spPr>
            <a:xfrm>
              <a:off x="0" y="5379424"/>
              <a:ext cx="2807363" cy="64980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807368"/>
                <a:gd name="f7" fmla="val 649803"/>
                <a:gd name="f8" fmla="val 282676"/>
                <a:gd name="f9" fmla="val 70799"/>
                <a:gd name="f10" fmla="val 435964"/>
                <a:gd name="f11" fmla="val 106085"/>
                <a:gd name="f12" fmla="val 588770"/>
                <a:gd name="f13" fmla="val 137629"/>
                <a:gd name="f14" fmla="val 740881"/>
                <a:gd name="f15" fmla="val 163828"/>
                <a:gd name="f16" fmla="val 1362800"/>
                <a:gd name="f17" fmla="val 270912"/>
                <a:gd name="f18" fmla="val 2067879"/>
                <a:gd name="f19" fmla="val 253759"/>
                <a:gd name="f20" fmla="val 2706471"/>
                <a:gd name="f21" fmla="val 96397"/>
                <a:gd name="f22" fmla="val 67250"/>
                <a:gd name="f23" fmla="val 605551"/>
                <a:gd name="f24" fmla="val 2602685"/>
                <a:gd name="f25" fmla="val 629466"/>
                <a:gd name="f26" fmla="val 1684237"/>
                <a:gd name="f27" fmla="val 708219"/>
                <a:gd name="f28" fmla="val 893252"/>
                <a:gd name="f29" fmla="val 549395"/>
                <a:gd name="f30" fmla="val 105614"/>
                <a:gd name="f31" fmla="val 305882"/>
                <a:gd name="f32" fmla="val 271926"/>
                <a:gd name="f33" fmla="+- 0 0 -90"/>
                <a:gd name="f34" fmla="*/ f3 1 2807368"/>
                <a:gd name="f35" fmla="*/ f4 1 649803"/>
                <a:gd name="f36" fmla="+- f7 0 f5"/>
                <a:gd name="f37" fmla="+- f6 0 f5"/>
                <a:gd name="f38" fmla="*/ f33 f0 1"/>
                <a:gd name="f39" fmla="*/ f37 1 2807368"/>
                <a:gd name="f40" fmla="*/ f36 1 649803"/>
                <a:gd name="f41" fmla="*/ 0 f37 1"/>
                <a:gd name="f42" fmla="*/ 0 f36 1"/>
                <a:gd name="f43" fmla="*/ 282676 f37 1"/>
                <a:gd name="f44" fmla="*/ 70799 f36 1"/>
                <a:gd name="f45" fmla="*/ 740881 f37 1"/>
                <a:gd name="f46" fmla="*/ 163828 f36 1"/>
                <a:gd name="f47" fmla="*/ 2706471 f37 1"/>
                <a:gd name="f48" fmla="*/ 96397 f36 1"/>
                <a:gd name="f49" fmla="*/ 2807368 f37 1"/>
                <a:gd name="f50" fmla="*/ 67250 f36 1"/>
                <a:gd name="f51" fmla="*/ 605551 f36 1"/>
                <a:gd name="f52" fmla="*/ 2602685 f37 1"/>
                <a:gd name="f53" fmla="*/ 629466 f36 1"/>
                <a:gd name="f54" fmla="*/ 105614 f37 1"/>
                <a:gd name="f55" fmla="*/ 305882 f36 1"/>
                <a:gd name="f56" fmla="*/ 271926 f36 1"/>
                <a:gd name="f57" fmla="*/ f38 1 f2"/>
                <a:gd name="f58" fmla="*/ f41 1 2807368"/>
                <a:gd name="f59" fmla="*/ f42 1 649803"/>
                <a:gd name="f60" fmla="*/ f43 1 2807368"/>
                <a:gd name="f61" fmla="*/ f44 1 649803"/>
                <a:gd name="f62" fmla="*/ f45 1 2807368"/>
                <a:gd name="f63" fmla="*/ f46 1 649803"/>
                <a:gd name="f64" fmla="*/ f47 1 2807368"/>
                <a:gd name="f65" fmla="*/ f48 1 649803"/>
                <a:gd name="f66" fmla="*/ f49 1 2807368"/>
                <a:gd name="f67" fmla="*/ f50 1 649803"/>
                <a:gd name="f68" fmla="*/ f51 1 649803"/>
                <a:gd name="f69" fmla="*/ f52 1 2807368"/>
                <a:gd name="f70" fmla="*/ f53 1 649803"/>
                <a:gd name="f71" fmla="*/ f54 1 2807368"/>
                <a:gd name="f72" fmla="*/ f55 1 649803"/>
                <a:gd name="f73" fmla="*/ f56 1 649803"/>
                <a:gd name="f74" fmla="*/ f5 1 f39"/>
                <a:gd name="f75" fmla="*/ f6 1 f39"/>
                <a:gd name="f76" fmla="*/ f5 1 f40"/>
                <a:gd name="f77" fmla="*/ f7 1 f40"/>
                <a:gd name="f78" fmla="+- f57 0 f1"/>
                <a:gd name="f79" fmla="*/ f58 1 f39"/>
                <a:gd name="f80" fmla="*/ f59 1 f40"/>
                <a:gd name="f81" fmla="*/ f60 1 f39"/>
                <a:gd name="f82" fmla="*/ f61 1 f40"/>
                <a:gd name="f83" fmla="*/ f62 1 f39"/>
                <a:gd name="f84" fmla="*/ f63 1 f40"/>
                <a:gd name="f85" fmla="*/ f64 1 f39"/>
                <a:gd name="f86" fmla="*/ f65 1 f40"/>
                <a:gd name="f87" fmla="*/ f66 1 f39"/>
                <a:gd name="f88" fmla="*/ f67 1 f40"/>
                <a:gd name="f89" fmla="*/ f68 1 f40"/>
                <a:gd name="f90" fmla="*/ f69 1 f39"/>
                <a:gd name="f91" fmla="*/ f70 1 f40"/>
                <a:gd name="f92" fmla="*/ f71 1 f39"/>
                <a:gd name="f93" fmla="*/ f72 1 f40"/>
                <a:gd name="f94" fmla="*/ f73 1 f40"/>
                <a:gd name="f95" fmla="*/ f74 f34 1"/>
                <a:gd name="f96" fmla="*/ f75 f34 1"/>
                <a:gd name="f97" fmla="*/ f77 f35 1"/>
                <a:gd name="f98" fmla="*/ f76 f35 1"/>
                <a:gd name="f99" fmla="*/ f79 f34 1"/>
                <a:gd name="f100" fmla="*/ f80 f35 1"/>
                <a:gd name="f101" fmla="*/ f81 f34 1"/>
                <a:gd name="f102" fmla="*/ f82 f35 1"/>
                <a:gd name="f103" fmla="*/ f83 f34 1"/>
                <a:gd name="f104" fmla="*/ f84 f35 1"/>
                <a:gd name="f105" fmla="*/ f85 f34 1"/>
                <a:gd name="f106" fmla="*/ f86 f35 1"/>
                <a:gd name="f107" fmla="*/ f87 f34 1"/>
                <a:gd name="f108" fmla="*/ f88 f35 1"/>
                <a:gd name="f109" fmla="*/ f89 f35 1"/>
                <a:gd name="f110" fmla="*/ f90 f34 1"/>
                <a:gd name="f111" fmla="*/ f91 f35 1"/>
                <a:gd name="f112" fmla="*/ f92 f34 1"/>
                <a:gd name="f113" fmla="*/ f93 f35 1"/>
                <a:gd name="f114" fmla="*/ f94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8">
                  <a:pos x="f99" y="f100"/>
                </a:cxn>
                <a:cxn ang="f78">
                  <a:pos x="f101" y="f102"/>
                </a:cxn>
                <a:cxn ang="f78">
                  <a:pos x="f103" y="f104"/>
                </a:cxn>
                <a:cxn ang="f78">
                  <a:pos x="f105" y="f106"/>
                </a:cxn>
                <a:cxn ang="f78">
                  <a:pos x="f107" y="f108"/>
                </a:cxn>
                <a:cxn ang="f78">
                  <a:pos x="f107" y="f109"/>
                </a:cxn>
                <a:cxn ang="f78">
                  <a:pos x="f110" y="f111"/>
                </a:cxn>
                <a:cxn ang="f78">
                  <a:pos x="f112" y="f113"/>
                </a:cxn>
                <a:cxn ang="f78">
                  <a:pos x="f99" y="f114"/>
                </a:cxn>
              </a:cxnLst>
              <a:rect l="f95" t="f98" r="f96" b="f97"/>
              <a:pathLst>
                <a:path w="2807368" h="649803">
                  <a:moveTo>
                    <a:pt x="f5" y="f5"/>
                  </a:moveTo>
                  <a:lnTo>
                    <a:pt x="f8" y="f9"/>
                  </a:lnTo>
                  <a:cubicBezTo>
                    <a:pt x="f10" y="f11"/>
                    <a:pt x="f12" y="f13"/>
                    <a:pt x="f14" y="f15"/>
                  </a:cubicBezTo>
                  <a:cubicBezTo>
                    <a:pt x="f16" y="f17"/>
                    <a:pt x="f18" y="f19"/>
                    <a:pt x="f20" y="f21"/>
                  </a:cubicBezTo>
                  <a:lnTo>
                    <a:pt x="f6" y="f22"/>
                  </a:lnTo>
                  <a:lnTo>
                    <a:pt x="f6" y="f23"/>
                  </a:lnTo>
                  <a:lnTo>
                    <a:pt x="f24" y="f25"/>
                  </a:lnTo>
                  <a:cubicBezTo>
                    <a:pt x="f26" y="f27"/>
                    <a:pt x="f28" y="f29"/>
                    <a:pt x="f30" y="f31"/>
                  </a:cubicBezTo>
                  <a:lnTo>
                    <a:pt x="f5" y="f32"/>
                  </a:ln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endParaRPr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B2991C6-2059-E989-E0D2-2E98E0417EA2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807363" y="457200"/>
            <a:ext cx="8915400" cy="59436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B23CB9D1-8677-F344-A57E-CBD53485348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13354" y="4385535"/>
            <a:ext cx="2025313" cy="91194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63447373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2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7" name="Google Shape;2647;g3681a448973_2_156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8" name="Google Shape;2648;g3681a448973_2_156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9" name="Google Shape;2649;g3681a448973_2_156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50" name="Google Shape;2650;g3681a448973_2_15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1" name="Google Shape;2651;g3681a448973_2_156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52" name="Google Shape;2652;g3681a448973_2_156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3" name="Google Shape;2653;g3681a448973_2_156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4" name="Google Shape;2654;g3681a448973_2_156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55" name="Google Shape;2655;g3681a448973_2_156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56" name="Google Shape;2656;g3681a448973_2_156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7" name="Google Shape;2657;g3681a448973_2_156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BA161ED9-813D-3C44-68BE-51F305F6BBC2}"/>
              </a:ext>
            </a:extLst>
          </p:cNvPr>
          <p:cNvSpPr/>
          <p:nvPr/>
        </p:nvSpPr>
        <p:spPr>
          <a:xfrm>
            <a:off x="1427360" y="1387868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6204B57-503D-3DD4-B38A-7567728FAD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20" tIns="274320" rIns="274320" bIns="274320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FD0D9A3-34CF-DCB1-61A5-141582FF52D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427360" y="5007456"/>
            <a:ext cx="10155042" cy="8251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A21A190D-7DC2-60B1-6783-258BC877778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BD3EFB93-B1BE-4F73-9712-0D9216CDB168}" type="slidenum">
              <a:t>‹#›</a:t>
            </a:fld>
            <a:endParaRPr lang="en-US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F29B8BB7-415A-8191-7D87-5F4D70466BE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47D2C71-E565-DAC7-4256-7F8B5B7AE87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  <p:grpSp>
        <p:nvGrpSpPr>
          <p:cNvPr id="8" name="Group 32">
            <a:extLst>
              <a:ext uri="{FF2B5EF4-FFF2-40B4-BE49-F238E27FC236}">
                <a16:creationId xmlns:a16="http://schemas.microsoft.com/office/drawing/2014/main" id="{1F07C41B-A158-100F-6A9A-436C9AF24E16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Picture 33">
              <a:extLst>
                <a:ext uri="{FF2B5EF4-FFF2-40B4-BE49-F238E27FC236}">
                  <a16:creationId xmlns:a16="http://schemas.microsoft.com/office/drawing/2014/main" id="{7BB40DFF-13A4-4CF6-B13C-ACC3768260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roup 34">
              <a:extLst>
                <a:ext uri="{FF2B5EF4-FFF2-40B4-BE49-F238E27FC236}">
                  <a16:creationId xmlns:a16="http://schemas.microsoft.com/office/drawing/2014/main" id="{1320D8E9-0F9A-6425-9004-C1F648419D99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Freeform 35">
                <a:extLst>
                  <a:ext uri="{FF2B5EF4-FFF2-40B4-BE49-F238E27FC236}">
                    <a16:creationId xmlns:a16="http://schemas.microsoft.com/office/drawing/2014/main" id="{C941F33A-11E1-6A94-BB18-D70DDB2D8C57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AF343705-CCA1-E7D5-83C4-96AACDB41987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pic>
        <p:nvPicPr>
          <p:cNvPr id="13" name="Graphic 8" descr="Open quotation mark with solid fill">
            <a:extLst>
              <a:ext uri="{FF2B5EF4-FFF2-40B4-BE49-F238E27FC236}">
                <a16:creationId xmlns:a16="http://schemas.microsoft.com/office/drawing/2014/main" id="{123BB337-E8BC-EB3D-5DAB-CF8F2FE6287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30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42817088"/>
      </p:ext>
    </p:extLst>
  </p:cSld>
  <p:clrMapOvr>
    <a:masterClrMapping/>
  </p:clrMapOvr>
</p:sldLayout>
</file>

<file path=ppt/slideLayouts/slideLayout26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3">
            <a:extLst>
              <a:ext uri="{FF2B5EF4-FFF2-40B4-BE49-F238E27FC236}">
                <a16:creationId xmlns:a16="http://schemas.microsoft.com/office/drawing/2014/main" id="{1D426EB3-0165-D594-3B50-6334647EA4A2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3" name="Picture 64">
              <a:extLst>
                <a:ext uri="{FF2B5EF4-FFF2-40B4-BE49-F238E27FC236}">
                  <a16:creationId xmlns:a16="http://schemas.microsoft.com/office/drawing/2014/main" id="{0F79578A-3382-8E1D-88D8-45FFBCDA8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4" name="Group 65">
              <a:extLst>
                <a:ext uri="{FF2B5EF4-FFF2-40B4-BE49-F238E27FC236}">
                  <a16:creationId xmlns:a16="http://schemas.microsoft.com/office/drawing/2014/main" id="{520922D4-AE4E-1ED5-D6C1-952876942DF0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5" name="Freeform 66">
                <a:extLst>
                  <a:ext uri="{FF2B5EF4-FFF2-40B4-BE49-F238E27FC236}">
                    <a16:creationId xmlns:a16="http://schemas.microsoft.com/office/drawing/2014/main" id="{52870FF3-9CDB-E199-5813-5898F9C6CE9C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6" name="Freeform 67">
                <a:extLst>
                  <a:ext uri="{FF2B5EF4-FFF2-40B4-BE49-F238E27FC236}">
                    <a16:creationId xmlns:a16="http://schemas.microsoft.com/office/drawing/2014/main" id="{D0A81FC3-B621-2766-8827-51F4743D0C34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E98B703C-B2D8-6C3C-7941-1DA1DC41F33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1607D5-5FE0-4ABF-3FF9-E844318B7FF4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2B23F65E-60CA-912C-BF35-5371DAE4525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06A24ABD-FA30-47BC-A854-B0A4EFD70329}" type="slidenum">
              <a:t>‹#›</a:t>
            </a:fld>
            <a:endParaRPr lang="en-US"/>
          </a:p>
        </p:txBody>
      </p:sp>
      <p:cxnSp>
        <p:nvCxnSpPr>
          <p:cNvPr id="10" name="Straight Connector 7">
            <a:extLst>
              <a:ext uri="{FF2B5EF4-FFF2-40B4-BE49-F238E27FC236}">
                <a16:creationId xmlns:a16="http://schemas.microsoft.com/office/drawing/2014/main" id="{32C34B2B-DCB4-2148-007F-367BC7AB515A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8D9CD88F-AF78-4302-6C13-72609E132A1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1192944"/>
      </p:ext>
    </p:extLst>
  </p:cSld>
  <p:clrMapOvr>
    <a:masterClrMapping/>
  </p:clrMapOvr>
</p:sldLayout>
</file>

<file path=ppt/slideLayouts/slideLayout2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9CB8593B-89F3-0C8D-9798-5CDD78D307D5}"/>
              </a:ext>
            </a:extLst>
          </p:cNvPr>
          <p:cNvSpPr/>
          <p:nvPr/>
        </p:nvSpPr>
        <p:spPr>
          <a:xfrm>
            <a:off x="1427360" y="1387868"/>
            <a:ext cx="10155042" cy="3506934"/>
          </a:xfrm>
          <a:prstGeom prst="rect">
            <a:avLst/>
          </a:prstGeom>
          <a:solidFill>
            <a:srgbClr val="F3F6FB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4298B9B-0670-C61D-D759-2BB82E0819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27360" y="1377232"/>
            <a:ext cx="10155042" cy="3506934"/>
          </a:xfrm>
        </p:spPr>
        <p:txBody>
          <a:bodyPr lIns="274320" tIns="274320" rIns="274320" bIns="274320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F974F67-446E-AF6D-6170-76DF0413274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427360" y="5007456"/>
            <a:ext cx="10155042" cy="8251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52039251-30C6-8377-77DA-36A35733E89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AFB3B9"/>
                </a:solidFill>
              </a:defRPr>
            </a:lvl1pPr>
          </a:lstStyle>
          <a:p>
            <a:pPr lvl="0"/>
            <a:fld id="{41F0F51F-502E-4583-BC4D-204779C9B03A}" type="slidenum">
              <a:t>‹#›</a:t>
            </a:fld>
            <a:endParaRPr lang="en-US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E451161B-61AC-FF1F-F35A-2A4393AB25D1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96C0C6B-4C71-A9A9-B0A2-625BCAD9EE6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  <p:grpSp>
        <p:nvGrpSpPr>
          <p:cNvPr id="8" name="Group 32">
            <a:extLst>
              <a:ext uri="{FF2B5EF4-FFF2-40B4-BE49-F238E27FC236}">
                <a16:creationId xmlns:a16="http://schemas.microsoft.com/office/drawing/2014/main" id="{68C1162E-B93A-2CF3-B1DE-33763A461339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9" name="Picture 33">
              <a:extLst>
                <a:ext uri="{FF2B5EF4-FFF2-40B4-BE49-F238E27FC236}">
                  <a16:creationId xmlns:a16="http://schemas.microsoft.com/office/drawing/2014/main" id="{00AFFB04-2131-BFC5-4513-978FB4774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0" name="Group 34">
              <a:extLst>
                <a:ext uri="{FF2B5EF4-FFF2-40B4-BE49-F238E27FC236}">
                  <a16:creationId xmlns:a16="http://schemas.microsoft.com/office/drawing/2014/main" id="{3E2F63C4-AD1F-4242-88DE-BC36E6056EBB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11" name="Freeform 35">
                <a:extLst>
                  <a:ext uri="{FF2B5EF4-FFF2-40B4-BE49-F238E27FC236}">
                    <a16:creationId xmlns:a16="http://schemas.microsoft.com/office/drawing/2014/main" id="{61437670-7855-30B9-1EB7-2B01EF0F2205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5F650FAC-72D5-F589-7BDC-7FE2F3576E55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  <p:pic>
        <p:nvPicPr>
          <p:cNvPr id="13" name="Graphic 8" descr="Open quotation mark with solid fill">
            <a:extLst>
              <a:ext uri="{FF2B5EF4-FFF2-40B4-BE49-F238E27FC236}">
                <a16:creationId xmlns:a16="http://schemas.microsoft.com/office/drawing/2014/main" id="{39790E97-1815-24DD-F0EA-8EE2F8C916E1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12" y="136530"/>
            <a:ext cx="2036761" cy="203676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299544284"/>
      </p:ext>
    </p:extLst>
  </p:cSld>
  <p:clrMapOvr>
    <a:masterClrMapping/>
  </p:clrMapOvr>
</p:sldLayout>
</file>

<file path=ppt/slideLayouts/slideLayout2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057CB-64C6-5EF7-7D8F-C49CBCC6E7C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353" y="2633536"/>
            <a:ext cx="5194432" cy="2387598"/>
          </a:xfrm>
        </p:spPr>
        <p:txBody>
          <a:bodyPr anchor="b"/>
          <a:lstStyle>
            <a:lvl1pPr>
              <a:defRPr sz="4000">
                <a:solidFill>
                  <a:srgbClr val="444C55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05C7C8-90A1-B87C-4597-01FAE560830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3353" y="5400327"/>
            <a:ext cx="5194432" cy="9865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4" name="Group 27">
            <a:extLst>
              <a:ext uri="{FF2B5EF4-FFF2-40B4-BE49-F238E27FC236}">
                <a16:creationId xmlns:a16="http://schemas.microsoft.com/office/drawing/2014/main" id="{6888F53A-EC16-7549-E628-C7CF818FC48A}"/>
              </a:ext>
            </a:extLst>
          </p:cNvPr>
          <p:cNvGrpSpPr/>
          <p:nvPr/>
        </p:nvGrpSpPr>
        <p:grpSpPr>
          <a:xfrm>
            <a:off x="0" y="0"/>
            <a:ext cx="6418722" cy="1509820"/>
            <a:chOff x="0" y="0"/>
            <a:chExt cx="6418722" cy="1509820"/>
          </a:xfrm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DBAB75BF-C623-F754-098A-2FA282C32FD7}"/>
                </a:ext>
              </a:extLst>
            </p:cNvPr>
            <p:cNvSpPr/>
            <p:nvPr/>
          </p:nvSpPr>
          <p:spPr>
            <a:xfrm flipH="1">
              <a:off x="0" y="0"/>
              <a:ext cx="6418722" cy="1509820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69459"/>
                <a:gd name="f7" fmla="val 1098357"/>
                <a:gd name="f8" fmla="val 393099"/>
                <a:gd name="f9" fmla="val 485580"/>
                <a:gd name="f10" fmla="val 28411"/>
                <a:gd name="f11" fmla="val 1068094"/>
                <a:gd name="f12" fmla="val 214503"/>
                <a:gd name="f13" fmla="val 1643165"/>
                <a:gd name="f14" fmla="val 412971"/>
                <a:gd name="f15" fmla="val 2241464"/>
                <a:gd name="f16" fmla="val 572540"/>
                <a:gd name="f17" fmla="val 3009808"/>
                <a:gd name="f18" fmla="val 777487"/>
                <a:gd name="f19" fmla="val 3848273"/>
                <a:gd name="f20" fmla="val 856360"/>
                <a:gd name="f21" fmla="val 4645823"/>
                <a:gd name="f22" fmla="val 731027"/>
                <a:gd name="f23" fmla="val 726784"/>
                <a:gd name="f24" fmla="val 1079503"/>
                <a:gd name="f25" fmla="val 4627787"/>
                <a:gd name="f26" fmla="val 1083679"/>
                <a:gd name="f27" fmla="val 3105555"/>
                <a:gd name="f28" fmla="val 1189027"/>
                <a:gd name="f29" fmla="val 1909512"/>
                <a:gd name="f30" fmla="val 709765"/>
                <a:gd name="f31" fmla="val 568062"/>
                <a:gd name="f32" fmla="val 207626"/>
                <a:gd name="f33" fmla="+- 0 0 -90"/>
                <a:gd name="f34" fmla="*/ f3 1 4669459"/>
                <a:gd name="f35" fmla="*/ f4 1 1098357"/>
                <a:gd name="f36" fmla="+- f7 0 f5"/>
                <a:gd name="f37" fmla="+- f6 0 f5"/>
                <a:gd name="f38" fmla="*/ f33 f0 1"/>
                <a:gd name="f39" fmla="*/ f37 1 4669459"/>
                <a:gd name="f40" fmla="*/ f36 1 1098357"/>
                <a:gd name="f41" fmla="*/ 0 f37 1"/>
                <a:gd name="f42" fmla="*/ 0 f36 1"/>
                <a:gd name="f43" fmla="*/ 393099 f37 1"/>
                <a:gd name="f44" fmla="*/ 485580 f37 1"/>
                <a:gd name="f45" fmla="*/ 28411 f36 1"/>
                <a:gd name="f46" fmla="*/ 2241464 f37 1"/>
                <a:gd name="f47" fmla="*/ 572540 f36 1"/>
                <a:gd name="f48" fmla="*/ 4645823 f37 1"/>
                <a:gd name="f49" fmla="*/ 731027 f36 1"/>
                <a:gd name="f50" fmla="*/ 4669459 f37 1"/>
                <a:gd name="f51" fmla="*/ 726784 f36 1"/>
                <a:gd name="f52" fmla="*/ 1079503 f36 1"/>
                <a:gd name="f53" fmla="*/ 4627787 f37 1"/>
                <a:gd name="f54" fmla="*/ 1083679 f36 1"/>
                <a:gd name="f55" fmla="*/ 568062 f37 1"/>
                <a:gd name="f56" fmla="*/ 207626 f36 1"/>
                <a:gd name="f57" fmla="*/ f38 1 f2"/>
                <a:gd name="f58" fmla="*/ f41 1 4669459"/>
                <a:gd name="f59" fmla="*/ f42 1 1098357"/>
                <a:gd name="f60" fmla="*/ f43 1 4669459"/>
                <a:gd name="f61" fmla="*/ f44 1 4669459"/>
                <a:gd name="f62" fmla="*/ f45 1 1098357"/>
                <a:gd name="f63" fmla="*/ f46 1 4669459"/>
                <a:gd name="f64" fmla="*/ f47 1 1098357"/>
                <a:gd name="f65" fmla="*/ f48 1 4669459"/>
                <a:gd name="f66" fmla="*/ f49 1 1098357"/>
                <a:gd name="f67" fmla="*/ f50 1 4669459"/>
                <a:gd name="f68" fmla="*/ f51 1 1098357"/>
                <a:gd name="f69" fmla="*/ f52 1 1098357"/>
                <a:gd name="f70" fmla="*/ f53 1 4669459"/>
                <a:gd name="f71" fmla="*/ f54 1 1098357"/>
                <a:gd name="f72" fmla="*/ f55 1 4669459"/>
                <a:gd name="f73" fmla="*/ f56 1 1098357"/>
                <a:gd name="f74" fmla="*/ f5 1 f39"/>
                <a:gd name="f75" fmla="*/ f6 1 f39"/>
                <a:gd name="f76" fmla="*/ f5 1 f40"/>
                <a:gd name="f77" fmla="*/ f7 1 f40"/>
                <a:gd name="f78" fmla="+- f57 0 f1"/>
                <a:gd name="f79" fmla="*/ f58 1 f39"/>
                <a:gd name="f80" fmla="*/ f59 1 f40"/>
                <a:gd name="f81" fmla="*/ f60 1 f39"/>
                <a:gd name="f82" fmla="*/ f61 1 f39"/>
                <a:gd name="f83" fmla="*/ f62 1 f40"/>
                <a:gd name="f84" fmla="*/ f63 1 f39"/>
                <a:gd name="f85" fmla="*/ f64 1 f40"/>
                <a:gd name="f86" fmla="*/ f65 1 f39"/>
                <a:gd name="f87" fmla="*/ f66 1 f40"/>
                <a:gd name="f88" fmla="*/ f67 1 f39"/>
                <a:gd name="f89" fmla="*/ f68 1 f40"/>
                <a:gd name="f90" fmla="*/ f69 1 f40"/>
                <a:gd name="f91" fmla="*/ f70 1 f39"/>
                <a:gd name="f92" fmla="*/ f71 1 f40"/>
                <a:gd name="f93" fmla="*/ f72 1 f39"/>
                <a:gd name="f94" fmla="*/ f73 1 f40"/>
                <a:gd name="f95" fmla="*/ f74 f34 1"/>
                <a:gd name="f96" fmla="*/ f75 f34 1"/>
                <a:gd name="f97" fmla="*/ f77 f35 1"/>
                <a:gd name="f98" fmla="*/ f76 f35 1"/>
                <a:gd name="f99" fmla="*/ f79 f34 1"/>
                <a:gd name="f100" fmla="*/ f80 f35 1"/>
                <a:gd name="f101" fmla="*/ f81 f34 1"/>
                <a:gd name="f102" fmla="*/ f82 f34 1"/>
                <a:gd name="f103" fmla="*/ f83 f35 1"/>
                <a:gd name="f104" fmla="*/ f84 f34 1"/>
                <a:gd name="f105" fmla="*/ f85 f35 1"/>
                <a:gd name="f106" fmla="*/ f86 f34 1"/>
                <a:gd name="f107" fmla="*/ f87 f35 1"/>
                <a:gd name="f108" fmla="*/ f88 f34 1"/>
                <a:gd name="f109" fmla="*/ f89 f35 1"/>
                <a:gd name="f110" fmla="*/ f90 f35 1"/>
                <a:gd name="f111" fmla="*/ f91 f34 1"/>
                <a:gd name="f112" fmla="*/ f92 f35 1"/>
                <a:gd name="f113" fmla="*/ f93 f34 1"/>
                <a:gd name="f114" fmla="*/ f94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8">
                  <a:pos x="f99" y="f100"/>
                </a:cxn>
                <a:cxn ang="f78">
                  <a:pos x="f101" y="f100"/>
                </a:cxn>
                <a:cxn ang="f78">
                  <a:pos x="f102" y="f103"/>
                </a:cxn>
                <a:cxn ang="f78">
                  <a:pos x="f104" y="f105"/>
                </a:cxn>
                <a:cxn ang="f78">
                  <a:pos x="f106" y="f107"/>
                </a:cxn>
                <a:cxn ang="f78">
                  <a:pos x="f108" y="f109"/>
                </a:cxn>
                <a:cxn ang="f78">
                  <a:pos x="f108" y="f110"/>
                </a:cxn>
                <a:cxn ang="f78">
                  <a:pos x="f111" y="f112"/>
                </a:cxn>
                <a:cxn ang="f78">
                  <a:pos x="f113" y="f114"/>
                </a:cxn>
              </a:cxnLst>
              <a:rect l="f95" t="f98" r="f96" b="f97"/>
              <a:pathLst>
                <a:path w="4669459" h="1098357">
                  <a:moveTo>
                    <a:pt x="f5" y="f5"/>
                  </a:moveTo>
                  <a:lnTo>
                    <a:pt x="f8" y="f5"/>
                  </a:lnTo>
                  <a:lnTo>
                    <a:pt x="f9" y="f10"/>
                  </a:lnTo>
                  <a:cubicBezTo>
                    <a:pt x="f11" y="f12"/>
                    <a:pt x="f13" y="f14"/>
                    <a:pt x="f15" y="f16"/>
                  </a:cubicBezTo>
                  <a:cubicBezTo>
                    <a:pt x="f17" y="f18"/>
                    <a:pt x="f19" y="f20"/>
                    <a:pt x="f21" y="f22"/>
                  </a:cubicBezTo>
                  <a:lnTo>
                    <a:pt x="f6" y="f23"/>
                  </a:lnTo>
                  <a:lnTo>
                    <a:pt x="f6" y="f24"/>
                  </a:lnTo>
                  <a:lnTo>
                    <a:pt x="f25" y="f26"/>
                  </a:lnTo>
                  <a:cubicBezTo>
                    <a:pt x="f27" y="f28"/>
                    <a:pt x="f29" y="f30"/>
                    <a:pt x="f31" y="f32"/>
                  </a:cubicBezTo>
                  <a:close/>
                </a:path>
              </a:pathLst>
            </a:custGeom>
            <a:gradFill>
              <a:gsLst>
                <a:gs pos="0">
                  <a:srgbClr val="F04115"/>
                </a:gs>
                <a:gs pos="100000">
                  <a:srgbClr val="F58366"/>
                </a:gs>
              </a:gsLst>
              <a:lin ang="0"/>
            </a:gra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75D96059-F579-479B-2BF3-BF4203EE6F9D}"/>
                </a:ext>
              </a:extLst>
            </p:cNvPr>
            <p:cNvSpPr/>
            <p:nvPr/>
          </p:nvSpPr>
          <p:spPr>
            <a:xfrm flipH="1">
              <a:off x="0" y="0"/>
              <a:ext cx="6244227" cy="135202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542519"/>
                <a:gd name="f7" fmla="val 983565"/>
                <a:gd name="f8" fmla="val 957397"/>
                <a:gd name="f9" fmla="val 4542518"/>
                <a:gd name="f10" fmla="val 957403"/>
                <a:gd name="f11" fmla="val 4510552"/>
                <a:gd name="f12" fmla="val 961138"/>
                <a:gd name="f13" fmla="val 2991282"/>
                <a:gd name="f14" fmla="val 1091409"/>
                <a:gd name="f15" fmla="val 1788278"/>
                <a:gd name="f16" fmla="val 632191"/>
                <a:gd name="f17" fmla="val 439600"/>
                <a:gd name="f18" fmla="val 152515"/>
                <a:gd name="f19" fmla="+- 0 0 -90"/>
                <a:gd name="f20" fmla="*/ f3 1 4542519"/>
                <a:gd name="f21" fmla="*/ f4 1 983565"/>
                <a:gd name="f22" fmla="+- f7 0 f5"/>
                <a:gd name="f23" fmla="+- f6 0 f5"/>
                <a:gd name="f24" fmla="*/ f19 f0 1"/>
                <a:gd name="f25" fmla="*/ f23 1 4542519"/>
                <a:gd name="f26" fmla="*/ f22 1 983565"/>
                <a:gd name="f27" fmla="*/ 0 f23 1"/>
                <a:gd name="f28" fmla="*/ 0 f22 1"/>
                <a:gd name="f29" fmla="*/ 4542519 f23 1"/>
                <a:gd name="f30" fmla="*/ 957397 f22 1"/>
                <a:gd name="f31" fmla="*/ 4542518 f23 1"/>
                <a:gd name="f32" fmla="*/ 957403 f22 1"/>
                <a:gd name="f33" fmla="*/ 4510552 f23 1"/>
                <a:gd name="f34" fmla="*/ 961138 f22 1"/>
                <a:gd name="f35" fmla="*/ 439600 f23 1"/>
                <a:gd name="f36" fmla="*/ 152515 f22 1"/>
                <a:gd name="f37" fmla="*/ f24 1 f2"/>
                <a:gd name="f38" fmla="*/ f27 1 4542519"/>
                <a:gd name="f39" fmla="*/ f28 1 983565"/>
                <a:gd name="f40" fmla="*/ f29 1 4542519"/>
                <a:gd name="f41" fmla="*/ f30 1 983565"/>
                <a:gd name="f42" fmla="*/ f31 1 4542519"/>
                <a:gd name="f43" fmla="*/ f32 1 983565"/>
                <a:gd name="f44" fmla="*/ f33 1 4542519"/>
                <a:gd name="f45" fmla="*/ f34 1 983565"/>
                <a:gd name="f46" fmla="*/ f35 1 4542519"/>
                <a:gd name="f47" fmla="*/ f36 1 983565"/>
                <a:gd name="f48" fmla="*/ f5 1 f25"/>
                <a:gd name="f49" fmla="*/ f6 1 f25"/>
                <a:gd name="f50" fmla="*/ f5 1 f26"/>
                <a:gd name="f51" fmla="*/ f7 1 f26"/>
                <a:gd name="f52" fmla="+- f37 0 f1"/>
                <a:gd name="f53" fmla="*/ f38 1 f25"/>
                <a:gd name="f54" fmla="*/ f39 1 f26"/>
                <a:gd name="f55" fmla="*/ f40 1 f25"/>
                <a:gd name="f56" fmla="*/ f41 1 f26"/>
                <a:gd name="f57" fmla="*/ f42 1 f25"/>
                <a:gd name="f58" fmla="*/ f43 1 f26"/>
                <a:gd name="f59" fmla="*/ f44 1 f25"/>
                <a:gd name="f60" fmla="*/ f45 1 f26"/>
                <a:gd name="f61" fmla="*/ f46 1 f25"/>
                <a:gd name="f62" fmla="*/ f47 1 f26"/>
                <a:gd name="f63" fmla="*/ f48 f20 1"/>
                <a:gd name="f64" fmla="*/ f49 f20 1"/>
                <a:gd name="f65" fmla="*/ f51 f21 1"/>
                <a:gd name="f66" fmla="*/ f50 f21 1"/>
                <a:gd name="f67" fmla="*/ f53 f20 1"/>
                <a:gd name="f68" fmla="*/ f54 f21 1"/>
                <a:gd name="f69" fmla="*/ f55 f20 1"/>
                <a:gd name="f70" fmla="*/ f56 f21 1"/>
                <a:gd name="f71" fmla="*/ f57 f20 1"/>
                <a:gd name="f72" fmla="*/ f58 f21 1"/>
                <a:gd name="f73" fmla="*/ f59 f20 1"/>
                <a:gd name="f74" fmla="*/ f60 f21 1"/>
                <a:gd name="f75" fmla="*/ f61 f20 1"/>
                <a:gd name="f76" fmla="*/ f62 f2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52">
                  <a:pos x="f67" y="f68"/>
                </a:cxn>
                <a:cxn ang="f52">
                  <a:pos x="f69" y="f68"/>
                </a:cxn>
                <a:cxn ang="f52">
                  <a:pos x="f69" y="f70"/>
                </a:cxn>
                <a:cxn ang="f52">
                  <a:pos x="f71" y="f72"/>
                </a:cxn>
                <a:cxn ang="f52">
                  <a:pos x="f73" y="f74"/>
                </a:cxn>
                <a:cxn ang="f52">
                  <a:pos x="f75" y="f76"/>
                </a:cxn>
              </a:cxnLst>
              <a:rect l="f63" t="f66" r="f64" b="f65"/>
              <a:pathLst>
                <a:path w="4542519" h="983565">
                  <a:moveTo>
                    <a:pt x="f5" y="f5"/>
                  </a:moveTo>
                  <a:lnTo>
                    <a:pt x="f6" y="f5"/>
                  </a:lnTo>
                  <a:lnTo>
                    <a:pt x="f6" y="f8"/>
                  </a:lnTo>
                  <a:lnTo>
                    <a:pt x="f9" y="f10"/>
                  </a:lnTo>
                  <a:lnTo>
                    <a:pt x="f11" y="f12"/>
                  </a:lnTo>
                  <a:cubicBezTo>
                    <a:pt x="f13" y="f14"/>
                    <a:pt x="f15" y="f16"/>
                    <a:pt x="f17" y="f18"/>
                  </a:cubicBezTo>
                  <a:close/>
                </a:path>
              </a:pathLst>
            </a:custGeom>
            <a:solidFill>
              <a:srgbClr val="1C498B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l" defTabSz="914446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800" b="0" i="0" u="none" strike="noStrike" kern="1200" cap="none" spc="0" baseline="0">
                <a:solidFill>
                  <a:srgbClr val="444C55"/>
                </a:solidFill>
                <a:uFillTx/>
                <a:latin typeface="Calibri"/>
              </a:endParaRPr>
            </a:p>
          </p:txBody>
        </p:sp>
      </p:grpSp>
      <p:pic>
        <p:nvPicPr>
          <p:cNvPr id="7" name="Picture 28">
            <a:extLst>
              <a:ext uri="{FF2B5EF4-FFF2-40B4-BE49-F238E27FC236}">
                <a16:creationId xmlns:a16="http://schemas.microsoft.com/office/drawing/2014/main" id="{F78475E5-618C-46DB-2222-FAC4168D0B4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5" y="136529"/>
            <a:ext cx="1945203" cy="8799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76659224"/>
      </p:ext>
    </p:extLst>
  </p:cSld>
  <p:clrMapOvr>
    <a:masterClrMapping/>
  </p:clrMapOvr>
</p:sldLayout>
</file>

<file path=ppt/slideLayouts/slideLayout26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B6729745-16C0-3C61-8D3B-73B778AEB1E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43BDFCF-406D-4233-B03B-6E4FDFAA8D64}" type="slidenum">
              <a:t>‹#›</a:t>
            </a:fld>
            <a:endParaRPr lang="en-US"/>
          </a:p>
        </p:txBody>
      </p:sp>
      <p:cxnSp>
        <p:nvCxnSpPr>
          <p:cNvPr id="3" name="Straight Connector 3">
            <a:extLst>
              <a:ext uri="{FF2B5EF4-FFF2-40B4-BE49-F238E27FC236}">
                <a16:creationId xmlns:a16="http://schemas.microsoft.com/office/drawing/2014/main" id="{55A31F2B-1537-32A7-85C1-624F20B0A3D4}"/>
              </a:ext>
            </a:extLst>
          </p:cNvPr>
          <p:cNvCxnSpPr/>
          <p:nvPr/>
        </p:nvCxnSpPr>
        <p:spPr>
          <a:xfrm>
            <a:off x="609603" y="6335713"/>
            <a:ext cx="10972800" cy="0"/>
          </a:xfrm>
          <a:prstGeom prst="straightConnector1">
            <a:avLst/>
          </a:prstGeom>
          <a:noFill/>
          <a:ln w="6345" cap="flat">
            <a:solidFill>
              <a:srgbClr val="AFB3B9"/>
            </a:solidFill>
            <a:prstDash val="solid"/>
            <a:miter/>
          </a:ln>
        </p:spPr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537C8DF-BCFA-7B4D-7A0C-79A00095BE6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0F572238-8609-EEF3-79DD-9A0CBEE19177}"/>
              </a:ext>
            </a:extLst>
          </p:cNvPr>
          <p:cNvGrpSpPr/>
          <p:nvPr/>
        </p:nvGrpSpPr>
        <p:grpSpPr>
          <a:xfrm>
            <a:off x="7191545" y="0"/>
            <a:ext cx="5000460" cy="1425988"/>
            <a:chOff x="7191545" y="0"/>
            <a:chExt cx="5000460" cy="1425988"/>
          </a:xfrm>
        </p:grpSpPr>
        <p:pic>
          <p:nvPicPr>
            <p:cNvPr id="6" name="Picture 6">
              <a:extLst>
                <a:ext uri="{FF2B5EF4-FFF2-40B4-BE49-F238E27FC236}">
                  <a16:creationId xmlns:a16="http://schemas.microsoft.com/office/drawing/2014/main" id="{164040C0-B0A1-90C1-9D52-968ABBD42E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264316" y="228371"/>
              <a:ext cx="2025313" cy="911940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96FA1B00-EE40-56ED-E1C1-C1ADD2B6EC03}"/>
                </a:ext>
              </a:extLst>
            </p:cNvPr>
            <p:cNvGrpSpPr/>
            <p:nvPr/>
          </p:nvGrpSpPr>
          <p:grpSpPr>
            <a:xfrm>
              <a:off x="7191545" y="0"/>
              <a:ext cx="5000460" cy="1425988"/>
              <a:chOff x="7191545" y="0"/>
              <a:chExt cx="5000460" cy="1425988"/>
            </a:xfrm>
          </p:grpSpPr>
          <p:sp>
            <p:nvSpPr>
              <p:cNvPr id="8" name="Freeform 8">
                <a:extLst>
                  <a:ext uri="{FF2B5EF4-FFF2-40B4-BE49-F238E27FC236}">
                    <a16:creationId xmlns:a16="http://schemas.microsoft.com/office/drawing/2014/main" id="{59690B7B-8B09-3E4B-00DB-F710B49E42FF}"/>
                  </a:ext>
                </a:extLst>
              </p:cNvPr>
              <p:cNvSpPr/>
              <p:nvPr/>
            </p:nvSpPr>
            <p:spPr>
              <a:xfrm>
                <a:off x="7191545" y="0"/>
                <a:ext cx="5000460" cy="142598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005729"/>
                  <a:gd name="f7" fmla="val 1427495"/>
                  <a:gd name="f8" fmla="val 165533"/>
                  <a:gd name="f9" fmla="val 215699"/>
                  <a:gd name="f10" fmla="val 35841"/>
                  <a:gd name="f11" fmla="val 434496"/>
                  <a:gd name="f12" fmla="val 193047"/>
                  <a:gd name="f13" fmla="val 652894"/>
                  <a:gd name="f14" fmla="val 349789"/>
                  <a:gd name="f15" fmla="val 876476"/>
                  <a:gd name="f16" fmla="val 498295"/>
                  <a:gd name="f17" fmla="val 1099792"/>
                  <a:gd name="f18" fmla="val 647067"/>
                  <a:gd name="f19" fmla="val 1328957"/>
                  <a:gd name="f20" fmla="val 787337"/>
                  <a:gd name="f21" fmla="val 1566628"/>
                  <a:gd name="f22" fmla="val 910605"/>
                  <a:gd name="f23" fmla="val 1804301"/>
                  <a:gd name="f24" fmla="val 1033874"/>
                  <a:gd name="f25" fmla="val 2051544"/>
                  <a:gd name="f26" fmla="val 1139076"/>
                  <a:gd name="f27" fmla="val 2307294"/>
                  <a:gd name="f28" fmla="val 1218776"/>
                  <a:gd name="f29" fmla="val 2434903"/>
                  <a:gd name="f30" fmla="val 1258625"/>
                  <a:gd name="f31" fmla="val 2565171"/>
                  <a:gd name="f32" fmla="val 1291568"/>
                  <a:gd name="f33" fmla="val 2696502"/>
                  <a:gd name="f34" fmla="val 1318134"/>
                  <a:gd name="f35" fmla="val 2827833"/>
                  <a:gd name="f36" fmla="val 1344700"/>
                  <a:gd name="f37" fmla="val 2960760"/>
                  <a:gd name="f38" fmla="val 1363297"/>
                  <a:gd name="f39" fmla="val 3094217"/>
                  <a:gd name="f40" fmla="val 1375517"/>
                  <a:gd name="f41" fmla="val 3227675"/>
                  <a:gd name="f42" fmla="val 1387738"/>
                  <a:gd name="f43" fmla="val 3361665"/>
                  <a:gd name="f44" fmla="val 1393051"/>
                  <a:gd name="f45" fmla="val 3496186"/>
                  <a:gd name="f46" fmla="val 1391457"/>
                  <a:gd name="f47" fmla="val 3596679"/>
                  <a:gd name="f48" fmla="val 1388800"/>
                  <a:gd name="f49" fmla="val 3613693"/>
                  <a:gd name="f50" fmla="val 1388269"/>
                  <a:gd name="f51" fmla="val 3630176"/>
                  <a:gd name="f52" fmla="val 3647191"/>
                  <a:gd name="f53" fmla="val 1387207"/>
                  <a:gd name="f54" fmla="val 3697703"/>
                  <a:gd name="f55" fmla="val 1384018"/>
                  <a:gd name="f56" fmla="val 3798195"/>
                  <a:gd name="f57" fmla="val 1377643"/>
                  <a:gd name="f58" fmla="val 3898687"/>
                  <a:gd name="f59" fmla="val 1367547"/>
                  <a:gd name="f60" fmla="val 3948667"/>
                  <a:gd name="f61" fmla="val 1362234"/>
                  <a:gd name="f62" fmla="val 3998648"/>
                  <a:gd name="f63" fmla="val 1355327"/>
                  <a:gd name="f64" fmla="val 4032146"/>
                  <a:gd name="f65" fmla="val 1350545"/>
                  <a:gd name="f66" fmla="val 4065111"/>
                  <a:gd name="f67" fmla="val 1346294"/>
                  <a:gd name="f68" fmla="val 4098609"/>
                  <a:gd name="f69" fmla="val 1341512"/>
                  <a:gd name="f70" fmla="val 4198037"/>
                  <a:gd name="f71" fmla="val 1324510"/>
                  <a:gd name="f72" fmla="val 4223027"/>
                  <a:gd name="f73" fmla="val 1320259"/>
                  <a:gd name="f74" fmla="val 4231535"/>
                  <a:gd name="f75" fmla="val 1318665"/>
                  <a:gd name="f76" fmla="val 4239511"/>
                  <a:gd name="f77" fmla="val 1317602"/>
                  <a:gd name="f78" fmla="val 4248017"/>
                  <a:gd name="f79" fmla="val 1315477"/>
                  <a:gd name="f80" fmla="val 4297466"/>
                  <a:gd name="f81" fmla="val 1305382"/>
                  <a:gd name="f82" fmla="val 4346915"/>
                  <a:gd name="f83" fmla="val 1295287"/>
                  <a:gd name="f84" fmla="val 4371374"/>
                  <a:gd name="f85" fmla="val 1289974"/>
                  <a:gd name="f86" fmla="val 4379349"/>
                  <a:gd name="f87" fmla="val 1288379"/>
                  <a:gd name="f88" fmla="val 4387856"/>
                  <a:gd name="f89" fmla="val 1286254"/>
                  <a:gd name="f90" fmla="val 4395831"/>
                  <a:gd name="f91" fmla="val 1284129"/>
                  <a:gd name="f92" fmla="val 4494197"/>
                  <a:gd name="f93" fmla="val 1260751"/>
                  <a:gd name="f94" fmla="val 4506426"/>
                  <a:gd name="f95" fmla="val 1258094"/>
                  <a:gd name="f96" fmla="val 4518656"/>
                  <a:gd name="f97" fmla="val 1254906"/>
                  <a:gd name="f98" fmla="val 4543113"/>
                  <a:gd name="f99" fmla="val 1248530"/>
                  <a:gd name="f100" fmla="val 4592031"/>
                  <a:gd name="f101" fmla="val 1235247"/>
                  <a:gd name="f102" fmla="val 4607983"/>
                  <a:gd name="f103" fmla="val 1230996"/>
                  <a:gd name="f104" fmla="val 4624465"/>
                  <a:gd name="f105" fmla="val 1226746"/>
                  <a:gd name="f106" fmla="val 4640948"/>
                  <a:gd name="f107" fmla="val 1221963"/>
                  <a:gd name="f108" fmla="val 4689332"/>
                  <a:gd name="f109" fmla="val 1207618"/>
                  <a:gd name="f110" fmla="val 4753935"/>
                  <a:gd name="f111" fmla="val 1188490"/>
                  <a:gd name="f112" fmla="val 4818038"/>
                  <a:gd name="f113" fmla="val 1167901"/>
                  <a:gd name="f114" fmla="val 4881644"/>
                  <a:gd name="f115" fmla="val 1145934"/>
                  <a:gd name="f116" fmla="val 1100085"/>
                  <a:gd name="f117" fmla="val 1108460"/>
                  <a:gd name="f118" fmla="val 4884859"/>
                  <a:gd name="f119" fmla="val 1155423"/>
                  <a:gd name="f120" fmla="val 4821462"/>
                  <a:gd name="f121" fmla="val 1178495"/>
                  <a:gd name="f122" fmla="val 4757524"/>
                  <a:gd name="f123" fmla="val 1200180"/>
                  <a:gd name="f124" fmla="val 4693055"/>
                  <a:gd name="f125" fmla="val 1220370"/>
                  <a:gd name="f126" fmla="val 4644670"/>
                  <a:gd name="f127" fmla="val 1235778"/>
                  <a:gd name="f128" fmla="val 4628719"/>
                  <a:gd name="f129" fmla="val 1240560"/>
                  <a:gd name="f130" fmla="val 4612235"/>
                  <a:gd name="f131" fmla="val 1245342"/>
                  <a:gd name="f132" fmla="val 4596284"/>
                  <a:gd name="f133" fmla="val 1250124"/>
                  <a:gd name="f134" fmla="val 4547367"/>
                  <a:gd name="f135" fmla="val 1263938"/>
                  <a:gd name="f136" fmla="val 4522910"/>
                  <a:gd name="f137" fmla="val 1270846"/>
                  <a:gd name="f138" fmla="val 4510680"/>
                  <a:gd name="f139" fmla="val 1274565"/>
                  <a:gd name="f140" fmla="val 4498451"/>
                  <a:gd name="f141" fmla="val 1277753"/>
                  <a:gd name="f142" fmla="val 4400085"/>
                  <a:gd name="f143" fmla="val 1302725"/>
                  <a:gd name="f144" fmla="val 4392110"/>
                  <a:gd name="f145" fmla="val 1304851"/>
                  <a:gd name="f146" fmla="val 4383602"/>
                  <a:gd name="f147" fmla="val 1306976"/>
                  <a:gd name="f148" fmla="val 4375626"/>
                  <a:gd name="f149" fmla="val 1309101"/>
                  <a:gd name="f150" fmla="val 4351169"/>
                  <a:gd name="f151" fmla="val 1314415"/>
                  <a:gd name="f152" fmla="val 4301720"/>
                  <a:gd name="f153" fmla="val 1325572"/>
                  <a:gd name="f154" fmla="val 4252271"/>
                  <a:gd name="f155" fmla="val 1336730"/>
                  <a:gd name="f156" fmla="val 4244295"/>
                  <a:gd name="f157" fmla="val 1338856"/>
                  <a:gd name="f158" fmla="val 4235789"/>
                  <a:gd name="f159" fmla="val 1340450"/>
                  <a:gd name="f160" fmla="val 4227281"/>
                  <a:gd name="f161" fmla="val 1342044"/>
                  <a:gd name="f162" fmla="val 4202291"/>
                  <a:gd name="f163" fmla="val 1346825"/>
                  <a:gd name="f164" fmla="val 4102862"/>
                  <a:gd name="f165" fmla="val 1365422"/>
                  <a:gd name="f166" fmla="val 4069365"/>
                  <a:gd name="f167" fmla="val 1370735"/>
                  <a:gd name="f168" fmla="val 4035867"/>
                  <a:gd name="f169" fmla="val 4002902"/>
                  <a:gd name="f170" fmla="val 1380831"/>
                  <a:gd name="f171" fmla="val 3952921"/>
                  <a:gd name="f172" fmla="val 3902409"/>
                  <a:gd name="f173" fmla="val 1394645"/>
                  <a:gd name="f174" fmla="val 3801917"/>
                  <a:gd name="f175" fmla="val 1406334"/>
                  <a:gd name="f176" fmla="val 3700893"/>
                  <a:gd name="f177" fmla="val 1414836"/>
                  <a:gd name="f178" fmla="val 3650381"/>
                  <a:gd name="f179" fmla="val 1419086"/>
                  <a:gd name="f180" fmla="val 3633367"/>
                  <a:gd name="f181" fmla="val 1420680"/>
                  <a:gd name="f182" fmla="val 3616352"/>
                  <a:gd name="f183" fmla="val 3599869"/>
                  <a:gd name="f184" fmla="val 1421743"/>
                  <a:gd name="f185" fmla="val 3498313"/>
                  <a:gd name="f186" fmla="val 1425993"/>
                  <a:gd name="f187" fmla="val 3363260"/>
                  <a:gd name="f188" fmla="val 1429713"/>
                  <a:gd name="f189" fmla="val 1426525"/>
                  <a:gd name="f190" fmla="val 3092622"/>
                  <a:gd name="f191" fmla="val 1416430"/>
                  <a:gd name="f192" fmla="val 2957569"/>
                  <a:gd name="f193" fmla="val 2823048"/>
                  <a:gd name="f194" fmla="val 1389863"/>
                  <a:gd name="f195" fmla="val 2689590"/>
                  <a:gd name="f196" fmla="val 1364891"/>
                  <a:gd name="f197" fmla="val 2556131"/>
                  <a:gd name="f198" fmla="val 2424269"/>
                  <a:gd name="f199" fmla="val 1308570"/>
                  <a:gd name="f200" fmla="val 2294001"/>
                  <a:gd name="f201" fmla="val 2033466"/>
                  <a:gd name="f202" fmla="val 1194866"/>
                  <a:gd name="f203" fmla="val 1781438"/>
                  <a:gd name="f204" fmla="val 1091788"/>
                  <a:gd name="f205" fmla="val 1538448"/>
                  <a:gd name="f206" fmla="val 971177"/>
                  <a:gd name="f207" fmla="val 1295459"/>
                  <a:gd name="f208" fmla="val 850565"/>
                  <a:gd name="f209" fmla="val 1062040"/>
                  <a:gd name="f210" fmla="val 712420"/>
                  <a:gd name="f211" fmla="val 834471"/>
                  <a:gd name="f212" fmla="val 566305"/>
                  <a:gd name="f213" fmla="val 606901"/>
                  <a:gd name="f214" fmla="val 420190"/>
                  <a:gd name="f215" fmla="val 384914"/>
                  <a:gd name="f216" fmla="val 266371"/>
                  <a:gd name="f217" fmla="val 163459"/>
                  <a:gd name="f218" fmla="val 112750"/>
                  <a:gd name="f219" fmla="+- 0 0 -90"/>
                  <a:gd name="f220" fmla="*/ f3 1 5005729"/>
                  <a:gd name="f221" fmla="*/ f4 1 1427495"/>
                  <a:gd name="f222" fmla="+- f7 0 f5"/>
                  <a:gd name="f223" fmla="+- f6 0 f5"/>
                  <a:gd name="f224" fmla="*/ f219 f0 1"/>
                  <a:gd name="f225" fmla="*/ f223 1 5005729"/>
                  <a:gd name="f226" fmla="*/ f222 1 1427495"/>
                  <a:gd name="f227" fmla="*/ 0 f223 1"/>
                  <a:gd name="f228" fmla="*/ 0 f222 1"/>
                  <a:gd name="f229" fmla="*/ 165533 f223 1"/>
                  <a:gd name="f230" fmla="*/ 215699 f223 1"/>
                  <a:gd name="f231" fmla="*/ 35841 f222 1"/>
                  <a:gd name="f232" fmla="*/ 876476 f223 1"/>
                  <a:gd name="f233" fmla="*/ 498295 f222 1"/>
                  <a:gd name="f234" fmla="*/ 1566628 f223 1"/>
                  <a:gd name="f235" fmla="*/ 910605 f222 1"/>
                  <a:gd name="f236" fmla="*/ 2307294 f223 1"/>
                  <a:gd name="f237" fmla="*/ 1218776 f222 1"/>
                  <a:gd name="f238" fmla="*/ 2696502 f223 1"/>
                  <a:gd name="f239" fmla="*/ 1318134 f222 1"/>
                  <a:gd name="f240" fmla="*/ 3094217 f223 1"/>
                  <a:gd name="f241" fmla="*/ 1375517 f222 1"/>
                  <a:gd name="f242" fmla="*/ 3496186 f223 1"/>
                  <a:gd name="f243" fmla="*/ 1391457 f222 1"/>
                  <a:gd name="f244" fmla="*/ 3596679 f223 1"/>
                  <a:gd name="f245" fmla="*/ 1388800 f222 1"/>
                  <a:gd name="f246" fmla="*/ 3647191 f223 1"/>
                  <a:gd name="f247" fmla="*/ 1387207 f222 1"/>
                  <a:gd name="f248" fmla="*/ 3697703 f223 1"/>
                  <a:gd name="f249" fmla="*/ 1384018 f222 1"/>
                  <a:gd name="f250" fmla="*/ 3798195 f223 1"/>
                  <a:gd name="f251" fmla="*/ 1377643 f222 1"/>
                  <a:gd name="f252" fmla="*/ 3898687 f223 1"/>
                  <a:gd name="f253" fmla="*/ 1367547 f222 1"/>
                  <a:gd name="f254" fmla="*/ 3948667 f223 1"/>
                  <a:gd name="f255" fmla="*/ 1362234 f222 1"/>
                  <a:gd name="f256" fmla="*/ 3998648 f223 1"/>
                  <a:gd name="f257" fmla="*/ 1355327 f222 1"/>
                  <a:gd name="f258" fmla="*/ 4098609 f223 1"/>
                  <a:gd name="f259" fmla="*/ 1341512 f222 1"/>
                  <a:gd name="f260" fmla="*/ 4198037 f223 1"/>
                  <a:gd name="f261" fmla="*/ 1324510 f222 1"/>
                  <a:gd name="f262" fmla="*/ 4223027 f223 1"/>
                  <a:gd name="f263" fmla="*/ 1320259 f222 1"/>
                  <a:gd name="f264" fmla="*/ 4248017 f223 1"/>
                  <a:gd name="f265" fmla="*/ 1315477 f222 1"/>
                  <a:gd name="f266" fmla="*/ 4297466 f223 1"/>
                  <a:gd name="f267" fmla="*/ 1305382 f222 1"/>
                  <a:gd name="f268" fmla="*/ 4346915 f223 1"/>
                  <a:gd name="f269" fmla="*/ 1295287 f222 1"/>
                  <a:gd name="f270" fmla="*/ 4371374 f223 1"/>
                  <a:gd name="f271" fmla="*/ 1289974 f222 1"/>
                  <a:gd name="f272" fmla="*/ 4395831 f223 1"/>
                  <a:gd name="f273" fmla="*/ 1284129 f222 1"/>
                  <a:gd name="f274" fmla="*/ 4494197 f223 1"/>
                  <a:gd name="f275" fmla="*/ 1260751 f222 1"/>
                  <a:gd name="f276" fmla="*/ 4506426 f223 1"/>
                  <a:gd name="f277" fmla="*/ 1258094 f222 1"/>
                  <a:gd name="f278" fmla="*/ 4518656 f223 1"/>
                  <a:gd name="f279" fmla="*/ 1254906 f222 1"/>
                  <a:gd name="f280" fmla="*/ 4543113 f223 1"/>
                  <a:gd name="f281" fmla="*/ 1248530 f222 1"/>
                  <a:gd name="f282" fmla="*/ 4592031 f223 1"/>
                  <a:gd name="f283" fmla="*/ 1235247 f222 1"/>
                  <a:gd name="f284" fmla="*/ 4640948 f223 1"/>
                  <a:gd name="f285" fmla="*/ 1221963 f222 1"/>
                  <a:gd name="f286" fmla="*/ 4689332 f223 1"/>
                  <a:gd name="f287" fmla="*/ 1207618 f222 1"/>
                  <a:gd name="f288" fmla="*/ 4881644 f223 1"/>
                  <a:gd name="f289" fmla="*/ 1145934 f222 1"/>
                  <a:gd name="f290" fmla="*/ 5005729 f223 1"/>
                  <a:gd name="f291" fmla="*/ 1100085 f222 1"/>
                  <a:gd name="f292" fmla="*/ 1108460 f222 1"/>
                  <a:gd name="f293" fmla="*/ 4884859 f223 1"/>
                  <a:gd name="f294" fmla="*/ 1155423 f222 1"/>
                  <a:gd name="f295" fmla="*/ 4693055 f223 1"/>
                  <a:gd name="f296" fmla="*/ 1220370 f222 1"/>
                  <a:gd name="f297" fmla="*/ 4644670 f223 1"/>
                  <a:gd name="f298" fmla="*/ 1235778 f222 1"/>
                  <a:gd name="f299" fmla="*/ 4596284 f223 1"/>
                  <a:gd name="f300" fmla="*/ 1250124 f222 1"/>
                  <a:gd name="f301" fmla="*/ 4547367 f223 1"/>
                  <a:gd name="f302" fmla="*/ 1263938 f222 1"/>
                  <a:gd name="f303" fmla="*/ 4522910 f223 1"/>
                  <a:gd name="f304" fmla="*/ 1270846 f222 1"/>
                  <a:gd name="f305" fmla="*/ 4510680 f223 1"/>
                  <a:gd name="f306" fmla="*/ 1274565 f222 1"/>
                  <a:gd name="f307" fmla="*/ 4498451 f223 1"/>
                  <a:gd name="f308" fmla="*/ 1277753 f222 1"/>
                  <a:gd name="f309" fmla="*/ 4400085 f223 1"/>
                  <a:gd name="f310" fmla="*/ 1302725 f222 1"/>
                  <a:gd name="f311" fmla="*/ 4375626 f223 1"/>
                  <a:gd name="f312" fmla="*/ 1309101 f222 1"/>
                  <a:gd name="f313" fmla="*/ 4351169 f223 1"/>
                  <a:gd name="f314" fmla="*/ 1314415 f222 1"/>
                  <a:gd name="f315" fmla="*/ 4301720 f223 1"/>
                  <a:gd name="f316" fmla="*/ 1325572 f222 1"/>
                  <a:gd name="f317" fmla="*/ 4252271 f223 1"/>
                  <a:gd name="f318" fmla="*/ 1336730 f222 1"/>
                  <a:gd name="f319" fmla="*/ 4227281 f223 1"/>
                  <a:gd name="f320" fmla="*/ 1342044 f222 1"/>
                  <a:gd name="f321" fmla="*/ 4202291 f223 1"/>
                  <a:gd name="f322" fmla="*/ 1346825 f222 1"/>
                  <a:gd name="f323" fmla="*/ 4102862 f223 1"/>
                  <a:gd name="f324" fmla="*/ 1365422 f222 1"/>
                  <a:gd name="f325" fmla="*/ 4002902 f223 1"/>
                  <a:gd name="f326" fmla="*/ 1380831 f222 1"/>
                  <a:gd name="f327" fmla="*/ 3952921 f223 1"/>
                  <a:gd name="f328" fmla="*/ 3902409 f223 1"/>
                  <a:gd name="f329" fmla="*/ 1394645 f222 1"/>
                  <a:gd name="f330" fmla="*/ 3801917 f223 1"/>
                  <a:gd name="f331" fmla="*/ 1406334 f222 1"/>
                  <a:gd name="f332" fmla="*/ 3700893 f223 1"/>
                  <a:gd name="f333" fmla="*/ 1414836 f222 1"/>
                  <a:gd name="f334" fmla="*/ 3650381 f223 1"/>
                  <a:gd name="f335" fmla="*/ 1419086 f222 1"/>
                  <a:gd name="f336" fmla="*/ 3599869 f223 1"/>
                  <a:gd name="f337" fmla="*/ 1421743 f222 1"/>
                  <a:gd name="f338" fmla="*/ 3498313 f223 1"/>
                  <a:gd name="f339" fmla="*/ 1425993 f222 1"/>
                  <a:gd name="f340" fmla="*/ 3092622 f223 1"/>
                  <a:gd name="f341" fmla="*/ 1416430 f222 1"/>
                  <a:gd name="f342" fmla="*/ 2689590 f223 1"/>
                  <a:gd name="f343" fmla="*/ 1364891 f222 1"/>
                  <a:gd name="f344" fmla="*/ 2294001 f223 1"/>
                  <a:gd name="f345" fmla="*/ 1538448 f223 1"/>
                  <a:gd name="f346" fmla="*/ 971177 f222 1"/>
                  <a:gd name="f347" fmla="*/ 834471 f223 1"/>
                  <a:gd name="f348" fmla="*/ 566305 f222 1"/>
                  <a:gd name="f349" fmla="*/ 163459 f223 1"/>
                  <a:gd name="f350" fmla="*/ 112750 f222 1"/>
                  <a:gd name="f351" fmla="*/ f224 1 f2"/>
                  <a:gd name="f352" fmla="*/ f227 1 5005729"/>
                  <a:gd name="f353" fmla="*/ f228 1 1427495"/>
                  <a:gd name="f354" fmla="*/ f229 1 5005729"/>
                  <a:gd name="f355" fmla="*/ f230 1 5005729"/>
                  <a:gd name="f356" fmla="*/ f231 1 1427495"/>
                  <a:gd name="f357" fmla="*/ f232 1 5005729"/>
                  <a:gd name="f358" fmla="*/ f233 1 1427495"/>
                  <a:gd name="f359" fmla="*/ f234 1 5005729"/>
                  <a:gd name="f360" fmla="*/ f235 1 1427495"/>
                  <a:gd name="f361" fmla="*/ f236 1 5005729"/>
                  <a:gd name="f362" fmla="*/ f237 1 1427495"/>
                  <a:gd name="f363" fmla="*/ f238 1 5005729"/>
                  <a:gd name="f364" fmla="*/ f239 1 1427495"/>
                  <a:gd name="f365" fmla="*/ f240 1 5005729"/>
                  <a:gd name="f366" fmla="*/ f241 1 1427495"/>
                  <a:gd name="f367" fmla="*/ f242 1 5005729"/>
                  <a:gd name="f368" fmla="*/ f243 1 1427495"/>
                  <a:gd name="f369" fmla="*/ f244 1 5005729"/>
                  <a:gd name="f370" fmla="*/ f245 1 1427495"/>
                  <a:gd name="f371" fmla="*/ f246 1 5005729"/>
                  <a:gd name="f372" fmla="*/ f247 1 1427495"/>
                  <a:gd name="f373" fmla="*/ f248 1 5005729"/>
                  <a:gd name="f374" fmla="*/ f249 1 1427495"/>
                  <a:gd name="f375" fmla="*/ f250 1 5005729"/>
                  <a:gd name="f376" fmla="*/ f251 1 1427495"/>
                  <a:gd name="f377" fmla="*/ f252 1 5005729"/>
                  <a:gd name="f378" fmla="*/ f253 1 1427495"/>
                  <a:gd name="f379" fmla="*/ f254 1 5005729"/>
                  <a:gd name="f380" fmla="*/ f255 1 1427495"/>
                  <a:gd name="f381" fmla="*/ f256 1 5005729"/>
                  <a:gd name="f382" fmla="*/ f257 1 1427495"/>
                  <a:gd name="f383" fmla="*/ f258 1 5005729"/>
                  <a:gd name="f384" fmla="*/ f259 1 1427495"/>
                  <a:gd name="f385" fmla="*/ f260 1 5005729"/>
                  <a:gd name="f386" fmla="*/ f261 1 1427495"/>
                  <a:gd name="f387" fmla="*/ f262 1 5005729"/>
                  <a:gd name="f388" fmla="*/ f263 1 1427495"/>
                  <a:gd name="f389" fmla="*/ f264 1 5005729"/>
                  <a:gd name="f390" fmla="*/ f265 1 1427495"/>
                  <a:gd name="f391" fmla="*/ f266 1 5005729"/>
                  <a:gd name="f392" fmla="*/ f267 1 1427495"/>
                  <a:gd name="f393" fmla="*/ f268 1 5005729"/>
                  <a:gd name="f394" fmla="*/ f269 1 1427495"/>
                  <a:gd name="f395" fmla="*/ f270 1 5005729"/>
                  <a:gd name="f396" fmla="*/ f271 1 1427495"/>
                  <a:gd name="f397" fmla="*/ f272 1 5005729"/>
                  <a:gd name="f398" fmla="*/ f273 1 1427495"/>
                  <a:gd name="f399" fmla="*/ f274 1 5005729"/>
                  <a:gd name="f400" fmla="*/ f275 1 1427495"/>
                  <a:gd name="f401" fmla="*/ f276 1 5005729"/>
                  <a:gd name="f402" fmla="*/ f277 1 1427495"/>
                  <a:gd name="f403" fmla="*/ f278 1 5005729"/>
                  <a:gd name="f404" fmla="*/ f279 1 1427495"/>
                  <a:gd name="f405" fmla="*/ f280 1 5005729"/>
                  <a:gd name="f406" fmla="*/ f281 1 1427495"/>
                  <a:gd name="f407" fmla="*/ f282 1 5005729"/>
                  <a:gd name="f408" fmla="*/ f283 1 1427495"/>
                  <a:gd name="f409" fmla="*/ f284 1 5005729"/>
                  <a:gd name="f410" fmla="*/ f285 1 1427495"/>
                  <a:gd name="f411" fmla="*/ f286 1 5005729"/>
                  <a:gd name="f412" fmla="*/ f287 1 1427495"/>
                  <a:gd name="f413" fmla="*/ f288 1 5005729"/>
                  <a:gd name="f414" fmla="*/ f289 1 1427495"/>
                  <a:gd name="f415" fmla="*/ f290 1 5005729"/>
                  <a:gd name="f416" fmla="*/ f291 1 1427495"/>
                  <a:gd name="f417" fmla="*/ f292 1 1427495"/>
                  <a:gd name="f418" fmla="*/ f293 1 5005729"/>
                  <a:gd name="f419" fmla="*/ f294 1 1427495"/>
                  <a:gd name="f420" fmla="*/ f295 1 5005729"/>
                  <a:gd name="f421" fmla="*/ f296 1 1427495"/>
                  <a:gd name="f422" fmla="*/ f297 1 5005729"/>
                  <a:gd name="f423" fmla="*/ f298 1 1427495"/>
                  <a:gd name="f424" fmla="*/ f299 1 5005729"/>
                  <a:gd name="f425" fmla="*/ f300 1 1427495"/>
                  <a:gd name="f426" fmla="*/ f301 1 5005729"/>
                  <a:gd name="f427" fmla="*/ f302 1 1427495"/>
                  <a:gd name="f428" fmla="*/ f303 1 5005729"/>
                  <a:gd name="f429" fmla="*/ f304 1 1427495"/>
                  <a:gd name="f430" fmla="*/ f305 1 5005729"/>
                  <a:gd name="f431" fmla="*/ f306 1 1427495"/>
                  <a:gd name="f432" fmla="*/ f307 1 5005729"/>
                  <a:gd name="f433" fmla="*/ f308 1 1427495"/>
                  <a:gd name="f434" fmla="*/ f309 1 5005729"/>
                  <a:gd name="f435" fmla="*/ f310 1 1427495"/>
                  <a:gd name="f436" fmla="*/ f311 1 5005729"/>
                  <a:gd name="f437" fmla="*/ f312 1 1427495"/>
                  <a:gd name="f438" fmla="*/ f313 1 5005729"/>
                  <a:gd name="f439" fmla="*/ f314 1 1427495"/>
                  <a:gd name="f440" fmla="*/ f315 1 5005729"/>
                  <a:gd name="f441" fmla="*/ f316 1 1427495"/>
                  <a:gd name="f442" fmla="*/ f317 1 5005729"/>
                  <a:gd name="f443" fmla="*/ f318 1 1427495"/>
                  <a:gd name="f444" fmla="*/ f319 1 5005729"/>
                  <a:gd name="f445" fmla="*/ f320 1 1427495"/>
                  <a:gd name="f446" fmla="*/ f321 1 5005729"/>
                  <a:gd name="f447" fmla="*/ f322 1 1427495"/>
                  <a:gd name="f448" fmla="*/ f323 1 5005729"/>
                  <a:gd name="f449" fmla="*/ f324 1 1427495"/>
                  <a:gd name="f450" fmla="*/ f325 1 5005729"/>
                  <a:gd name="f451" fmla="*/ f326 1 1427495"/>
                  <a:gd name="f452" fmla="*/ f327 1 5005729"/>
                  <a:gd name="f453" fmla="*/ f328 1 5005729"/>
                  <a:gd name="f454" fmla="*/ f329 1 1427495"/>
                  <a:gd name="f455" fmla="*/ f330 1 5005729"/>
                  <a:gd name="f456" fmla="*/ f331 1 1427495"/>
                  <a:gd name="f457" fmla="*/ f332 1 5005729"/>
                  <a:gd name="f458" fmla="*/ f333 1 1427495"/>
                  <a:gd name="f459" fmla="*/ f334 1 5005729"/>
                  <a:gd name="f460" fmla="*/ f335 1 1427495"/>
                  <a:gd name="f461" fmla="*/ f336 1 5005729"/>
                  <a:gd name="f462" fmla="*/ f337 1 1427495"/>
                  <a:gd name="f463" fmla="*/ f338 1 5005729"/>
                  <a:gd name="f464" fmla="*/ f339 1 1427495"/>
                  <a:gd name="f465" fmla="*/ f340 1 5005729"/>
                  <a:gd name="f466" fmla="*/ f341 1 1427495"/>
                  <a:gd name="f467" fmla="*/ f342 1 5005729"/>
                  <a:gd name="f468" fmla="*/ f343 1 1427495"/>
                  <a:gd name="f469" fmla="*/ f344 1 5005729"/>
                  <a:gd name="f470" fmla="*/ f345 1 5005729"/>
                  <a:gd name="f471" fmla="*/ f346 1 1427495"/>
                  <a:gd name="f472" fmla="*/ f347 1 5005729"/>
                  <a:gd name="f473" fmla="*/ f348 1 1427495"/>
                  <a:gd name="f474" fmla="*/ f349 1 5005729"/>
                  <a:gd name="f475" fmla="*/ f350 1 1427495"/>
                  <a:gd name="f476" fmla="*/ f5 1 f225"/>
                  <a:gd name="f477" fmla="*/ f6 1 f225"/>
                  <a:gd name="f478" fmla="*/ f5 1 f226"/>
                  <a:gd name="f479" fmla="*/ f7 1 f226"/>
                  <a:gd name="f480" fmla="+- f351 0 f1"/>
                  <a:gd name="f481" fmla="*/ f352 1 f225"/>
                  <a:gd name="f482" fmla="*/ f353 1 f226"/>
                  <a:gd name="f483" fmla="*/ f354 1 f225"/>
                  <a:gd name="f484" fmla="*/ f355 1 f225"/>
                  <a:gd name="f485" fmla="*/ f356 1 f226"/>
                  <a:gd name="f486" fmla="*/ f357 1 f225"/>
                  <a:gd name="f487" fmla="*/ f358 1 f226"/>
                  <a:gd name="f488" fmla="*/ f359 1 f225"/>
                  <a:gd name="f489" fmla="*/ f360 1 f226"/>
                  <a:gd name="f490" fmla="*/ f361 1 f225"/>
                  <a:gd name="f491" fmla="*/ f362 1 f226"/>
                  <a:gd name="f492" fmla="*/ f363 1 f225"/>
                  <a:gd name="f493" fmla="*/ f364 1 f226"/>
                  <a:gd name="f494" fmla="*/ f365 1 f225"/>
                  <a:gd name="f495" fmla="*/ f366 1 f226"/>
                  <a:gd name="f496" fmla="*/ f367 1 f225"/>
                  <a:gd name="f497" fmla="*/ f368 1 f226"/>
                  <a:gd name="f498" fmla="*/ f369 1 f225"/>
                  <a:gd name="f499" fmla="*/ f370 1 f226"/>
                  <a:gd name="f500" fmla="*/ f371 1 f225"/>
                  <a:gd name="f501" fmla="*/ f372 1 f226"/>
                  <a:gd name="f502" fmla="*/ f373 1 f225"/>
                  <a:gd name="f503" fmla="*/ f374 1 f226"/>
                  <a:gd name="f504" fmla="*/ f375 1 f225"/>
                  <a:gd name="f505" fmla="*/ f376 1 f226"/>
                  <a:gd name="f506" fmla="*/ f377 1 f225"/>
                  <a:gd name="f507" fmla="*/ f378 1 f226"/>
                  <a:gd name="f508" fmla="*/ f379 1 f225"/>
                  <a:gd name="f509" fmla="*/ f380 1 f226"/>
                  <a:gd name="f510" fmla="*/ f381 1 f225"/>
                  <a:gd name="f511" fmla="*/ f382 1 f226"/>
                  <a:gd name="f512" fmla="*/ f383 1 f225"/>
                  <a:gd name="f513" fmla="*/ f384 1 f226"/>
                  <a:gd name="f514" fmla="*/ f385 1 f225"/>
                  <a:gd name="f515" fmla="*/ f386 1 f226"/>
                  <a:gd name="f516" fmla="*/ f387 1 f225"/>
                  <a:gd name="f517" fmla="*/ f388 1 f226"/>
                  <a:gd name="f518" fmla="*/ f389 1 f225"/>
                  <a:gd name="f519" fmla="*/ f390 1 f226"/>
                  <a:gd name="f520" fmla="*/ f391 1 f225"/>
                  <a:gd name="f521" fmla="*/ f392 1 f226"/>
                  <a:gd name="f522" fmla="*/ f393 1 f225"/>
                  <a:gd name="f523" fmla="*/ f394 1 f226"/>
                  <a:gd name="f524" fmla="*/ f395 1 f225"/>
                  <a:gd name="f525" fmla="*/ f396 1 f226"/>
                  <a:gd name="f526" fmla="*/ f397 1 f225"/>
                  <a:gd name="f527" fmla="*/ f398 1 f226"/>
                  <a:gd name="f528" fmla="*/ f399 1 f225"/>
                  <a:gd name="f529" fmla="*/ f400 1 f226"/>
                  <a:gd name="f530" fmla="*/ f401 1 f225"/>
                  <a:gd name="f531" fmla="*/ f402 1 f226"/>
                  <a:gd name="f532" fmla="*/ f403 1 f225"/>
                  <a:gd name="f533" fmla="*/ f404 1 f226"/>
                  <a:gd name="f534" fmla="*/ f405 1 f225"/>
                  <a:gd name="f535" fmla="*/ f406 1 f226"/>
                  <a:gd name="f536" fmla="*/ f407 1 f225"/>
                  <a:gd name="f537" fmla="*/ f408 1 f226"/>
                  <a:gd name="f538" fmla="*/ f409 1 f225"/>
                  <a:gd name="f539" fmla="*/ f410 1 f226"/>
                  <a:gd name="f540" fmla="*/ f411 1 f225"/>
                  <a:gd name="f541" fmla="*/ f412 1 f226"/>
                  <a:gd name="f542" fmla="*/ f413 1 f225"/>
                  <a:gd name="f543" fmla="*/ f414 1 f226"/>
                  <a:gd name="f544" fmla="*/ f415 1 f225"/>
                  <a:gd name="f545" fmla="*/ f416 1 f226"/>
                  <a:gd name="f546" fmla="*/ f417 1 f226"/>
                  <a:gd name="f547" fmla="*/ f418 1 f225"/>
                  <a:gd name="f548" fmla="*/ f419 1 f226"/>
                  <a:gd name="f549" fmla="*/ f420 1 f225"/>
                  <a:gd name="f550" fmla="*/ f421 1 f226"/>
                  <a:gd name="f551" fmla="*/ f422 1 f225"/>
                  <a:gd name="f552" fmla="*/ f423 1 f226"/>
                  <a:gd name="f553" fmla="*/ f424 1 f225"/>
                  <a:gd name="f554" fmla="*/ f425 1 f226"/>
                  <a:gd name="f555" fmla="*/ f426 1 f225"/>
                  <a:gd name="f556" fmla="*/ f427 1 f226"/>
                  <a:gd name="f557" fmla="*/ f428 1 f225"/>
                  <a:gd name="f558" fmla="*/ f429 1 f226"/>
                  <a:gd name="f559" fmla="*/ f430 1 f225"/>
                  <a:gd name="f560" fmla="*/ f431 1 f226"/>
                  <a:gd name="f561" fmla="*/ f432 1 f225"/>
                  <a:gd name="f562" fmla="*/ f433 1 f226"/>
                  <a:gd name="f563" fmla="*/ f434 1 f225"/>
                  <a:gd name="f564" fmla="*/ f435 1 f226"/>
                  <a:gd name="f565" fmla="*/ f436 1 f225"/>
                  <a:gd name="f566" fmla="*/ f437 1 f226"/>
                  <a:gd name="f567" fmla="*/ f438 1 f225"/>
                  <a:gd name="f568" fmla="*/ f439 1 f226"/>
                  <a:gd name="f569" fmla="*/ f440 1 f225"/>
                  <a:gd name="f570" fmla="*/ f441 1 f226"/>
                  <a:gd name="f571" fmla="*/ f442 1 f225"/>
                  <a:gd name="f572" fmla="*/ f443 1 f226"/>
                  <a:gd name="f573" fmla="*/ f444 1 f225"/>
                  <a:gd name="f574" fmla="*/ f445 1 f226"/>
                  <a:gd name="f575" fmla="*/ f446 1 f225"/>
                  <a:gd name="f576" fmla="*/ f447 1 f226"/>
                  <a:gd name="f577" fmla="*/ f448 1 f225"/>
                  <a:gd name="f578" fmla="*/ f449 1 f226"/>
                  <a:gd name="f579" fmla="*/ f450 1 f225"/>
                  <a:gd name="f580" fmla="*/ f451 1 f226"/>
                  <a:gd name="f581" fmla="*/ f452 1 f225"/>
                  <a:gd name="f582" fmla="*/ f453 1 f225"/>
                  <a:gd name="f583" fmla="*/ f454 1 f226"/>
                  <a:gd name="f584" fmla="*/ f455 1 f225"/>
                  <a:gd name="f585" fmla="*/ f456 1 f226"/>
                  <a:gd name="f586" fmla="*/ f457 1 f225"/>
                  <a:gd name="f587" fmla="*/ f458 1 f226"/>
                  <a:gd name="f588" fmla="*/ f459 1 f225"/>
                  <a:gd name="f589" fmla="*/ f460 1 f226"/>
                  <a:gd name="f590" fmla="*/ f461 1 f225"/>
                  <a:gd name="f591" fmla="*/ f462 1 f226"/>
                  <a:gd name="f592" fmla="*/ f463 1 f225"/>
                  <a:gd name="f593" fmla="*/ f464 1 f226"/>
                  <a:gd name="f594" fmla="*/ f465 1 f225"/>
                  <a:gd name="f595" fmla="*/ f466 1 f226"/>
                  <a:gd name="f596" fmla="*/ f467 1 f225"/>
                  <a:gd name="f597" fmla="*/ f468 1 f226"/>
                  <a:gd name="f598" fmla="*/ f469 1 f225"/>
                  <a:gd name="f599" fmla="*/ f470 1 f225"/>
                  <a:gd name="f600" fmla="*/ f471 1 f226"/>
                  <a:gd name="f601" fmla="*/ f472 1 f225"/>
                  <a:gd name="f602" fmla="*/ f473 1 f226"/>
                  <a:gd name="f603" fmla="*/ f474 1 f225"/>
                  <a:gd name="f604" fmla="*/ f475 1 f226"/>
                  <a:gd name="f605" fmla="*/ f476 f220 1"/>
                  <a:gd name="f606" fmla="*/ f477 f220 1"/>
                  <a:gd name="f607" fmla="*/ f479 f221 1"/>
                  <a:gd name="f608" fmla="*/ f478 f221 1"/>
                  <a:gd name="f609" fmla="*/ f481 f220 1"/>
                  <a:gd name="f610" fmla="*/ f482 f221 1"/>
                  <a:gd name="f611" fmla="*/ f483 f220 1"/>
                  <a:gd name="f612" fmla="*/ f484 f220 1"/>
                  <a:gd name="f613" fmla="*/ f485 f221 1"/>
                  <a:gd name="f614" fmla="*/ f486 f220 1"/>
                  <a:gd name="f615" fmla="*/ f487 f221 1"/>
                  <a:gd name="f616" fmla="*/ f488 f220 1"/>
                  <a:gd name="f617" fmla="*/ f489 f221 1"/>
                  <a:gd name="f618" fmla="*/ f490 f220 1"/>
                  <a:gd name="f619" fmla="*/ f491 f221 1"/>
                  <a:gd name="f620" fmla="*/ f492 f220 1"/>
                  <a:gd name="f621" fmla="*/ f493 f221 1"/>
                  <a:gd name="f622" fmla="*/ f494 f220 1"/>
                  <a:gd name="f623" fmla="*/ f495 f221 1"/>
                  <a:gd name="f624" fmla="*/ f496 f220 1"/>
                  <a:gd name="f625" fmla="*/ f497 f221 1"/>
                  <a:gd name="f626" fmla="*/ f498 f220 1"/>
                  <a:gd name="f627" fmla="*/ f499 f221 1"/>
                  <a:gd name="f628" fmla="*/ f500 f220 1"/>
                  <a:gd name="f629" fmla="*/ f501 f221 1"/>
                  <a:gd name="f630" fmla="*/ f502 f220 1"/>
                  <a:gd name="f631" fmla="*/ f503 f221 1"/>
                  <a:gd name="f632" fmla="*/ f504 f220 1"/>
                  <a:gd name="f633" fmla="*/ f505 f221 1"/>
                  <a:gd name="f634" fmla="*/ f506 f220 1"/>
                  <a:gd name="f635" fmla="*/ f507 f221 1"/>
                  <a:gd name="f636" fmla="*/ f508 f220 1"/>
                  <a:gd name="f637" fmla="*/ f509 f221 1"/>
                  <a:gd name="f638" fmla="*/ f510 f220 1"/>
                  <a:gd name="f639" fmla="*/ f511 f221 1"/>
                  <a:gd name="f640" fmla="*/ f512 f220 1"/>
                  <a:gd name="f641" fmla="*/ f513 f221 1"/>
                  <a:gd name="f642" fmla="*/ f514 f220 1"/>
                  <a:gd name="f643" fmla="*/ f515 f221 1"/>
                  <a:gd name="f644" fmla="*/ f516 f220 1"/>
                  <a:gd name="f645" fmla="*/ f517 f221 1"/>
                  <a:gd name="f646" fmla="*/ f518 f220 1"/>
                  <a:gd name="f647" fmla="*/ f519 f221 1"/>
                  <a:gd name="f648" fmla="*/ f520 f220 1"/>
                  <a:gd name="f649" fmla="*/ f521 f221 1"/>
                  <a:gd name="f650" fmla="*/ f522 f220 1"/>
                  <a:gd name="f651" fmla="*/ f523 f221 1"/>
                  <a:gd name="f652" fmla="*/ f524 f220 1"/>
                  <a:gd name="f653" fmla="*/ f525 f221 1"/>
                  <a:gd name="f654" fmla="*/ f526 f220 1"/>
                  <a:gd name="f655" fmla="*/ f527 f221 1"/>
                  <a:gd name="f656" fmla="*/ f528 f220 1"/>
                  <a:gd name="f657" fmla="*/ f529 f221 1"/>
                  <a:gd name="f658" fmla="*/ f530 f220 1"/>
                  <a:gd name="f659" fmla="*/ f531 f221 1"/>
                  <a:gd name="f660" fmla="*/ f532 f220 1"/>
                  <a:gd name="f661" fmla="*/ f533 f221 1"/>
                  <a:gd name="f662" fmla="*/ f534 f220 1"/>
                  <a:gd name="f663" fmla="*/ f535 f221 1"/>
                  <a:gd name="f664" fmla="*/ f536 f220 1"/>
                  <a:gd name="f665" fmla="*/ f537 f221 1"/>
                  <a:gd name="f666" fmla="*/ f538 f220 1"/>
                  <a:gd name="f667" fmla="*/ f539 f221 1"/>
                  <a:gd name="f668" fmla="*/ f540 f220 1"/>
                  <a:gd name="f669" fmla="*/ f541 f221 1"/>
                  <a:gd name="f670" fmla="*/ f542 f220 1"/>
                  <a:gd name="f671" fmla="*/ f543 f221 1"/>
                  <a:gd name="f672" fmla="*/ f544 f220 1"/>
                  <a:gd name="f673" fmla="*/ f545 f221 1"/>
                  <a:gd name="f674" fmla="*/ f546 f221 1"/>
                  <a:gd name="f675" fmla="*/ f547 f220 1"/>
                  <a:gd name="f676" fmla="*/ f548 f221 1"/>
                  <a:gd name="f677" fmla="*/ f549 f220 1"/>
                  <a:gd name="f678" fmla="*/ f550 f221 1"/>
                  <a:gd name="f679" fmla="*/ f551 f220 1"/>
                  <a:gd name="f680" fmla="*/ f552 f221 1"/>
                  <a:gd name="f681" fmla="*/ f553 f220 1"/>
                  <a:gd name="f682" fmla="*/ f554 f221 1"/>
                  <a:gd name="f683" fmla="*/ f555 f220 1"/>
                  <a:gd name="f684" fmla="*/ f556 f221 1"/>
                  <a:gd name="f685" fmla="*/ f557 f220 1"/>
                  <a:gd name="f686" fmla="*/ f558 f221 1"/>
                  <a:gd name="f687" fmla="*/ f559 f220 1"/>
                  <a:gd name="f688" fmla="*/ f560 f221 1"/>
                  <a:gd name="f689" fmla="*/ f561 f220 1"/>
                  <a:gd name="f690" fmla="*/ f562 f221 1"/>
                  <a:gd name="f691" fmla="*/ f563 f220 1"/>
                  <a:gd name="f692" fmla="*/ f564 f221 1"/>
                  <a:gd name="f693" fmla="*/ f565 f220 1"/>
                  <a:gd name="f694" fmla="*/ f566 f221 1"/>
                  <a:gd name="f695" fmla="*/ f567 f220 1"/>
                  <a:gd name="f696" fmla="*/ f568 f221 1"/>
                  <a:gd name="f697" fmla="*/ f569 f220 1"/>
                  <a:gd name="f698" fmla="*/ f570 f221 1"/>
                  <a:gd name="f699" fmla="*/ f571 f220 1"/>
                  <a:gd name="f700" fmla="*/ f572 f221 1"/>
                  <a:gd name="f701" fmla="*/ f573 f220 1"/>
                  <a:gd name="f702" fmla="*/ f574 f221 1"/>
                  <a:gd name="f703" fmla="*/ f575 f220 1"/>
                  <a:gd name="f704" fmla="*/ f576 f221 1"/>
                  <a:gd name="f705" fmla="*/ f577 f220 1"/>
                  <a:gd name="f706" fmla="*/ f578 f221 1"/>
                  <a:gd name="f707" fmla="*/ f579 f220 1"/>
                  <a:gd name="f708" fmla="*/ f580 f221 1"/>
                  <a:gd name="f709" fmla="*/ f581 f220 1"/>
                  <a:gd name="f710" fmla="*/ f582 f220 1"/>
                  <a:gd name="f711" fmla="*/ f583 f221 1"/>
                  <a:gd name="f712" fmla="*/ f584 f220 1"/>
                  <a:gd name="f713" fmla="*/ f585 f221 1"/>
                  <a:gd name="f714" fmla="*/ f586 f220 1"/>
                  <a:gd name="f715" fmla="*/ f587 f221 1"/>
                  <a:gd name="f716" fmla="*/ f588 f220 1"/>
                  <a:gd name="f717" fmla="*/ f589 f221 1"/>
                  <a:gd name="f718" fmla="*/ f590 f220 1"/>
                  <a:gd name="f719" fmla="*/ f591 f221 1"/>
                  <a:gd name="f720" fmla="*/ f592 f220 1"/>
                  <a:gd name="f721" fmla="*/ f593 f221 1"/>
                  <a:gd name="f722" fmla="*/ f594 f220 1"/>
                  <a:gd name="f723" fmla="*/ f595 f221 1"/>
                  <a:gd name="f724" fmla="*/ f596 f220 1"/>
                  <a:gd name="f725" fmla="*/ f597 f221 1"/>
                  <a:gd name="f726" fmla="*/ f598 f220 1"/>
                  <a:gd name="f727" fmla="*/ f599 f220 1"/>
                  <a:gd name="f728" fmla="*/ f600 f221 1"/>
                  <a:gd name="f729" fmla="*/ f601 f220 1"/>
                  <a:gd name="f730" fmla="*/ f602 f221 1"/>
                  <a:gd name="f731" fmla="*/ f603 f220 1"/>
                  <a:gd name="f732" fmla="*/ f604 f2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609" y="f610"/>
                  </a:cxn>
                  <a:cxn ang="f480">
                    <a:pos x="f611" y="f610"/>
                  </a:cxn>
                  <a:cxn ang="f480">
                    <a:pos x="f612" y="f613"/>
                  </a:cxn>
                  <a:cxn ang="f480">
                    <a:pos x="f614" y="f615"/>
                  </a:cxn>
                  <a:cxn ang="f480">
                    <a:pos x="f616" y="f617"/>
                  </a:cxn>
                  <a:cxn ang="f480">
                    <a:pos x="f618" y="f619"/>
                  </a:cxn>
                  <a:cxn ang="f480">
                    <a:pos x="f620" y="f621"/>
                  </a:cxn>
                  <a:cxn ang="f480">
                    <a:pos x="f622" y="f623"/>
                  </a:cxn>
                  <a:cxn ang="f480">
                    <a:pos x="f624" y="f625"/>
                  </a:cxn>
                  <a:cxn ang="f480">
                    <a:pos x="f626" y="f627"/>
                  </a:cxn>
                  <a:cxn ang="f480">
                    <a:pos x="f628" y="f629"/>
                  </a:cxn>
                  <a:cxn ang="f480">
                    <a:pos x="f630" y="f631"/>
                  </a:cxn>
                  <a:cxn ang="f480">
                    <a:pos x="f632" y="f633"/>
                  </a:cxn>
                  <a:cxn ang="f480">
                    <a:pos x="f634" y="f635"/>
                  </a:cxn>
                  <a:cxn ang="f480">
                    <a:pos x="f636" y="f637"/>
                  </a:cxn>
                  <a:cxn ang="f480">
                    <a:pos x="f638" y="f639"/>
                  </a:cxn>
                  <a:cxn ang="f480">
                    <a:pos x="f640" y="f641"/>
                  </a:cxn>
                  <a:cxn ang="f480">
                    <a:pos x="f642" y="f643"/>
                  </a:cxn>
                  <a:cxn ang="f480">
                    <a:pos x="f644" y="f645"/>
                  </a:cxn>
                  <a:cxn ang="f480">
                    <a:pos x="f646" y="f647"/>
                  </a:cxn>
                  <a:cxn ang="f480">
                    <a:pos x="f648" y="f649"/>
                  </a:cxn>
                  <a:cxn ang="f480">
                    <a:pos x="f650" y="f651"/>
                  </a:cxn>
                  <a:cxn ang="f480">
                    <a:pos x="f652" y="f653"/>
                  </a:cxn>
                  <a:cxn ang="f480">
                    <a:pos x="f654" y="f655"/>
                  </a:cxn>
                  <a:cxn ang="f480">
                    <a:pos x="f656" y="f657"/>
                  </a:cxn>
                  <a:cxn ang="f480">
                    <a:pos x="f658" y="f659"/>
                  </a:cxn>
                  <a:cxn ang="f480">
                    <a:pos x="f660" y="f661"/>
                  </a:cxn>
                  <a:cxn ang="f480">
                    <a:pos x="f662" y="f663"/>
                  </a:cxn>
                  <a:cxn ang="f480">
                    <a:pos x="f664" y="f665"/>
                  </a:cxn>
                  <a:cxn ang="f480">
                    <a:pos x="f666" y="f667"/>
                  </a:cxn>
                  <a:cxn ang="f480">
                    <a:pos x="f668" y="f669"/>
                  </a:cxn>
                  <a:cxn ang="f480">
                    <a:pos x="f670" y="f671"/>
                  </a:cxn>
                  <a:cxn ang="f480">
                    <a:pos x="f672" y="f673"/>
                  </a:cxn>
                  <a:cxn ang="f480">
                    <a:pos x="f672" y="f674"/>
                  </a:cxn>
                  <a:cxn ang="f480">
                    <a:pos x="f675" y="f676"/>
                  </a:cxn>
                  <a:cxn ang="f480">
                    <a:pos x="f677" y="f678"/>
                  </a:cxn>
                  <a:cxn ang="f480">
                    <a:pos x="f679" y="f680"/>
                  </a:cxn>
                  <a:cxn ang="f480">
                    <a:pos x="f681" y="f682"/>
                  </a:cxn>
                  <a:cxn ang="f480">
                    <a:pos x="f683" y="f684"/>
                  </a:cxn>
                  <a:cxn ang="f480">
                    <a:pos x="f685" y="f686"/>
                  </a:cxn>
                  <a:cxn ang="f480">
                    <a:pos x="f687" y="f688"/>
                  </a:cxn>
                  <a:cxn ang="f480">
                    <a:pos x="f689" y="f690"/>
                  </a:cxn>
                  <a:cxn ang="f480">
                    <a:pos x="f691" y="f692"/>
                  </a:cxn>
                  <a:cxn ang="f480">
                    <a:pos x="f693" y="f694"/>
                  </a:cxn>
                  <a:cxn ang="f480">
                    <a:pos x="f695" y="f696"/>
                  </a:cxn>
                  <a:cxn ang="f480">
                    <a:pos x="f697" y="f698"/>
                  </a:cxn>
                  <a:cxn ang="f480">
                    <a:pos x="f699" y="f700"/>
                  </a:cxn>
                  <a:cxn ang="f480">
                    <a:pos x="f701" y="f702"/>
                  </a:cxn>
                  <a:cxn ang="f480">
                    <a:pos x="f703" y="f704"/>
                  </a:cxn>
                  <a:cxn ang="f480">
                    <a:pos x="f705" y="f706"/>
                  </a:cxn>
                  <a:cxn ang="f480">
                    <a:pos x="f707" y="f708"/>
                  </a:cxn>
                  <a:cxn ang="f480">
                    <a:pos x="f709" y="f627"/>
                  </a:cxn>
                  <a:cxn ang="f480">
                    <a:pos x="f710" y="f711"/>
                  </a:cxn>
                  <a:cxn ang="f480">
                    <a:pos x="f712" y="f713"/>
                  </a:cxn>
                  <a:cxn ang="f480">
                    <a:pos x="f714" y="f715"/>
                  </a:cxn>
                  <a:cxn ang="f480">
                    <a:pos x="f716" y="f717"/>
                  </a:cxn>
                  <a:cxn ang="f480">
                    <a:pos x="f718" y="f719"/>
                  </a:cxn>
                  <a:cxn ang="f480">
                    <a:pos x="f720" y="f721"/>
                  </a:cxn>
                  <a:cxn ang="f480">
                    <a:pos x="f722" y="f723"/>
                  </a:cxn>
                  <a:cxn ang="f480">
                    <a:pos x="f724" y="f725"/>
                  </a:cxn>
                  <a:cxn ang="f480">
                    <a:pos x="f726" y="f686"/>
                  </a:cxn>
                  <a:cxn ang="f480">
                    <a:pos x="f727" y="f728"/>
                  </a:cxn>
                  <a:cxn ang="f480">
                    <a:pos x="f729" y="f730"/>
                  </a:cxn>
                  <a:cxn ang="f480">
                    <a:pos x="f731" y="f732"/>
                  </a:cxn>
                </a:cxnLst>
                <a:rect l="f605" t="f608" r="f606" b="f607"/>
                <a:pathLst>
                  <a:path w="5005729" h="1427495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cubicBezTo>
                      <a:pt x="f41" y="f42"/>
                      <a:pt x="f43" y="f44"/>
                      <a:pt x="f45" y="f46"/>
                    </a:cubicBezTo>
                    <a:lnTo>
                      <a:pt x="f47" y="f48"/>
                    </a:lnTo>
                    <a:cubicBezTo>
                      <a:pt x="f49" y="f50"/>
                      <a:pt x="f51" y="f50"/>
                      <a:pt x="f52" y="f53"/>
                    </a:cubicBez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cubicBezTo>
                      <a:pt x="f64" y="f65"/>
                      <a:pt x="f66" y="f67"/>
                      <a:pt x="f68" y="f69"/>
                    </a:cubicBezTo>
                    <a:lnTo>
                      <a:pt x="f70" y="f71"/>
                    </a:lnTo>
                    <a:lnTo>
                      <a:pt x="f72" y="f73"/>
                    </a:lnTo>
                    <a:cubicBezTo>
                      <a:pt x="f74" y="f75"/>
                      <a:pt x="f76" y="f77"/>
                      <a:pt x="f78" y="f79"/>
                    </a:cubicBez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cubicBezTo>
                      <a:pt x="f86" y="f87"/>
                      <a:pt x="f88" y="f89"/>
                      <a:pt x="f90" y="f91"/>
                    </a:cubicBez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cubicBezTo>
                      <a:pt x="f102" y="f103"/>
                      <a:pt x="f104" y="f105"/>
                      <a:pt x="f106" y="f107"/>
                    </a:cubicBezTo>
                    <a:lnTo>
                      <a:pt x="f108" y="f109"/>
                    </a:lnTo>
                    <a:cubicBezTo>
                      <a:pt x="f110" y="f111"/>
                      <a:pt x="f112" y="f113"/>
                      <a:pt x="f114" y="f115"/>
                    </a:cubicBezTo>
                    <a:lnTo>
                      <a:pt x="f6" y="f116"/>
                    </a:lnTo>
                    <a:lnTo>
                      <a:pt x="f6" y="f117"/>
                    </a:lnTo>
                    <a:lnTo>
                      <a:pt x="f118" y="f119"/>
                    </a:lnTo>
                    <a:cubicBezTo>
                      <a:pt x="f120" y="f121"/>
                      <a:pt x="f122" y="f123"/>
                      <a:pt x="f124" y="f125"/>
                    </a:cubicBezTo>
                    <a:lnTo>
                      <a:pt x="f126" y="f127"/>
                    </a:lnTo>
                    <a:cubicBezTo>
                      <a:pt x="f128" y="f129"/>
                      <a:pt x="f130" y="f131"/>
                      <a:pt x="f132" y="f133"/>
                    </a:cubicBez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cubicBezTo>
                      <a:pt x="f144" y="f145"/>
                      <a:pt x="f146" y="f147"/>
                      <a:pt x="f148" y="f149"/>
                    </a:cubicBez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cubicBezTo>
                      <a:pt x="f156" y="f157"/>
                      <a:pt x="f158" y="f159"/>
                      <a:pt x="f160" y="f161"/>
                    </a:cubicBezTo>
                    <a:lnTo>
                      <a:pt x="f162" y="f163"/>
                    </a:lnTo>
                    <a:lnTo>
                      <a:pt x="f164" y="f165"/>
                    </a:lnTo>
                    <a:cubicBezTo>
                      <a:pt x="f166" y="f167"/>
                      <a:pt x="f168" y="f40"/>
                      <a:pt x="f169" y="f170"/>
                    </a:cubicBezTo>
                    <a:lnTo>
                      <a:pt x="f171" y="f48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cubicBezTo>
                      <a:pt x="f180" y="f181"/>
                      <a:pt x="f182" y="f181"/>
                      <a:pt x="f183" y="f184"/>
                    </a:cubicBezTo>
                    <a:lnTo>
                      <a:pt x="f185" y="f186"/>
                    </a:lnTo>
                    <a:cubicBezTo>
                      <a:pt x="f187" y="f188"/>
                      <a:pt x="f41" y="f189"/>
                      <a:pt x="f190" y="f191"/>
                    </a:cubicBezTo>
                    <a:cubicBezTo>
                      <a:pt x="f192" y="f175"/>
                      <a:pt x="f193" y="f194"/>
                      <a:pt x="f195" y="f196"/>
                    </a:cubicBezTo>
                    <a:cubicBezTo>
                      <a:pt x="f197" y="f159"/>
                      <a:pt x="f198" y="f199"/>
                      <a:pt x="f200" y="f137"/>
                    </a:cubicBezTo>
                    <a:cubicBezTo>
                      <a:pt x="f201" y="f202"/>
                      <a:pt x="f203" y="f204"/>
                      <a:pt x="f205" y="f206"/>
                    </a:cubicBezTo>
                    <a:cubicBezTo>
                      <a:pt x="f207" y="f208"/>
                      <a:pt x="f209" y="f210"/>
                      <a:pt x="f211" y="f212"/>
                    </a:cubicBezTo>
                    <a:cubicBezTo>
                      <a:pt x="f213" y="f214"/>
                      <a:pt x="f215" y="f216"/>
                      <a:pt x="f217" y="f2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4115"/>
                  </a:gs>
                  <a:gs pos="100000">
                    <a:srgbClr val="F58366"/>
                  </a:gs>
                </a:gsLst>
                <a:lin ang="0"/>
              </a:gra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  <p:sp>
            <p:nvSpPr>
              <p:cNvPr id="9" name="Freeform 9">
                <a:extLst>
                  <a:ext uri="{FF2B5EF4-FFF2-40B4-BE49-F238E27FC236}">
                    <a16:creationId xmlns:a16="http://schemas.microsoft.com/office/drawing/2014/main" id="{5C39CEC7-9F1A-38D1-884C-60D93C7D9C16}"/>
                  </a:ext>
                </a:extLst>
              </p:cNvPr>
              <p:cNvSpPr/>
              <p:nvPr/>
            </p:nvSpPr>
            <p:spPr>
              <a:xfrm>
                <a:off x="7335298" y="0"/>
                <a:ext cx="4856698" cy="13878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861820"/>
                  <a:gd name="f7" fmla="val 1389331"/>
                  <a:gd name="f8" fmla="val 229890"/>
                  <a:gd name="f9" fmla="val 373317"/>
                  <a:gd name="f10" fmla="val 108292"/>
                  <a:gd name="f11" fmla="val 482267"/>
                  <a:gd name="f12" fmla="val 189793"/>
                  <a:gd name="f13" fmla="val 591665"/>
                  <a:gd name="f14" fmla="val 270356"/>
                  <a:gd name="f15" fmla="val 702260"/>
                  <a:gd name="f16" fmla="val 348992"/>
                  <a:gd name="f17" fmla="val 923449"/>
                  <a:gd name="f18" fmla="val 506265"/>
                  <a:gd name="f19" fmla="val 1149423"/>
                  <a:gd name="f20" fmla="val 656099"/>
                  <a:gd name="f21" fmla="val 1384969"/>
                  <a:gd name="f22" fmla="val 788400"/>
                  <a:gd name="f23" fmla="val 1620515"/>
                  <a:gd name="f24" fmla="val 921232"/>
                  <a:gd name="f25" fmla="val 1866162"/>
                  <a:gd name="f26" fmla="val 1035999"/>
                  <a:gd name="f27" fmla="val 2120849"/>
                  <a:gd name="f28" fmla="val 1125262"/>
                  <a:gd name="f29" fmla="val 2630754"/>
                  <a:gd name="f30" fmla="val 1304850"/>
                  <a:gd name="f31" fmla="val 3179474"/>
                  <a:gd name="f32" fmla="val 1371798"/>
                  <a:gd name="f33" fmla="val 3720750"/>
                  <a:gd name="f34" fmla="val 1329823"/>
                  <a:gd name="f35" fmla="val 3737764"/>
                  <a:gd name="f36" fmla="val 1328760"/>
                  <a:gd name="f37" fmla="val 3754779"/>
                  <a:gd name="f38" fmla="val 1327698"/>
                  <a:gd name="f39" fmla="val 3771794"/>
                  <a:gd name="f40" fmla="val 1326104"/>
                  <a:gd name="f41" fmla="val 3822306"/>
                  <a:gd name="f42" fmla="val 1320790"/>
                  <a:gd name="f43" fmla="val 3872818"/>
                  <a:gd name="f44" fmla="val 1315477"/>
                  <a:gd name="f45" fmla="val 3898339"/>
                  <a:gd name="f46" fmla="val 1312820"/>
                  <a:gd name="f47" fmla="val 3906847"/>
                  <a:gd name="f48" fmla="val 1311758"/>
                  <a:gd name="f49" fmla="val 3915354"/>
                  <a:gd name="f50" fmla="val 1311226"/>
                  <a:gd name="f51" fmla="val 3923861"/>
                  <a:gd name="f52" fmla="val 1309632"/>
                  <a:gd name="f53" fmla="val 4024885"/>
                  <a:gd name="f54" fmla="val 1295818"/>
                  <a:gd name="f55" fmla="val 4050407"/>
                  <a:gd name="f56" fmla="val 1292630"/>
                  <a:gd name="f57" fmla="val 4058914"/>
                  <a:gd name="f58" fmla="val 1291567"/>
                  <a:gd name="f59" fmla="val 4067422"/>
                  <a:gd name="f60" fmla="val 1289973"/>
                  <a:gd name="f61" fmla="val 4075397"/>
                  <a:gd name="f62" fmla="val 1288379"/>
                  <a:gd name="f63" fmla="val 4125909"/>
                  <a:gd name="f64" fmla="val 1279878"/>
                  <a:gd name="f65" fmla="val 4159407"/>
                  <a:gd name="f66" fmla="val 1274034"/>
                  <a:gd name="f67" fmla="val 4192904"/>
                  <a:gd name="f68" fmla="val 1269251"/>
                  <a:gd name="f69" fmla="val 4226401"/>
                  <a:gd name="f70" fmla="val 1261813"/>
                  <a:gd name="f71" fmla="val 4326362"/>
                  <a:gd name="f72" fmla="val 1241622"/>
                  <a:gd name="f73" fmla="val 4425790"/>
                  <a:gd name="f74" fmla="val 1218775"/>
                  <a:gd name="f75" fmla="val 4450781"/>
                  <a:gd name="f76" fmla="val 1212931"/>
                  <a:gd name="f77" fmla="val 4475239"/>
                  <a:gd name="f78" fmla="val 1206555"/>
                  <a:gd name="f79" fmla="val 4524688"/>
                  <a:gd name="f80" fmla="val 1193803"/>
                  <a:gd name="f81" fmla="val 4590620"/>
                  <a:gd name="f82" fmla="val 1176535"/>
                  <a:gd name="f83" fmla="val 4656152"/>
                  <a:gd name="f84" fmla="val 1157939"/>
                  <a:gd name="f85" fmla="val 4721220"/>
                  <a:gd name="f86" fmla="val 1137947"/>
                  <a:gd name="f87" fmla="val 1091339"/>
                  <a:gd name="f88" fmla="val 1102902"/>
                  <a:gd name="f89" fmla="val 4725208"/>
                  <a:gd name="f90" fmla="val 1151761"/>
                  <a:gd name="f91" fmla="val 4660406"/>
                  <a:gd name="f92" fmla="val 1173347"/>
                  <a:gd name="f93" fmla="val 4595139"/>
                  <a:gd name="f94" fmla="val 1193537"/>
                  <a:gd name="f95" fmla="val 4529473"/>
                  <a:gd name="f96" fmla="val 1212399"/>
                  <a:gd name="f97" fmla="val 4480025"/>
                  <a:gd name="f98" fmla="val 1226214"/>
                  <a:gd name="f99" fmla="val 4455566"/>
                  <a:gd name="f100" fmla="val 1233121"/>
                  <a:gd name="f101" fmla="val 4430576"/>
                  <a:gd name="f102" fmla="val 1239497"/>
                  <a:gd name="f103" fmla="val 4331148"/>
                  <a:gd name="f104" fmla="val 1265001"/>
                  <a:gd name="f105" fmla="val 4231187"/>
                  <a:gd name="f106" fmla="val 1287848"/>
                  <a:gd name="f107" fmla="val 4197689"/>
                  <a:gd name="f108" fmla="val 4164192"/>
                  <a:gd name="f109" fmla="val 1301662"/>
                  <a:gd name="f110" fmla="val 4130694"/>
                  <a:gd name="f111" fmla="val 1308570"/>
                  <a:gd name="f112" fmla="val 4080182"/>
                  <a:gd name="f113" fmla="val 1318134"/>
                  <a:gd name="f114" fmla="val 4071675"/>
                  <a:gd name="f115" fmla="val 1319728"/>
                  <a:gd name="f116" fmla="val 4063168"/>
                  <a:gd name="f117" fmla="val 1321322"/>
                  <a:gd name="f118" fmla="val 4055192"/>
                  <a:gd name="f119" fmla="val 1322915"/>
                  <a:gd name="f120" fmla="val 4029670"/>
                  <a:gd name="f121" fmla="val 1327166"/>
                  <a:gd name="f122" fmla="val 3928115"/>
                  <a:gd name="f123" fmla="val 1343637"/>
                  <a:gd name="f124" fmla="val 3919607"/>
                  <a:gd name="f125" fmla="val 1345231"/>
                  <a:gd name="f126" fmla="val 3911100"/>
                  <a:gd name="f127" fmla="val 1346294"/>
                  <a:gd name="f128" fmla="val 3902593"/>
                  <a:gd name="f129" fmla="val 1347357"/>
                  <a:gd name="f130" fmla="val 3877071"/>
                  <a:gd name="f131" fmla="val 1350545"/>
                  <a:gd name="f132" fmla="val 3826027"/>
                  <a:gd name="f133" fmla="val 1356921"/>
                  <a:gd name="f134" fmla="val 3774984"/>
                  <a:gd name="f135" fmla="val 1363297"/>
                  <a:gd name="f136" fmla="val 3757969"/>
                  <a:gd name="f137" fmla="val 1364890"/>
                  <a:gd name="f138" fmla="val 3740954"/>
                  <a:gd name="f139" fmla="val 1366484"/>
                  <a:gd name="f140" fmla="val 3723940"/>
                  <a:gd name="f141" fmla="val 1368078"/>
                  <a:gd name="f142" fmla="val 3621321"/>
                  <a:gd name="f143" fmla="val 1377642"/>
                  <a:gd name="f144" fmla="val 3518702"/>
                  <a:gd name="f145" fmla="val 1383487"/>
                  <a:gd name="f146" fmla="val 3467126"/>
                  <a:gd name="f147" fmla="val 1386144"/>
                  <a:gd name="f148" fmla="val 3415551"/>
                  <a:gd name="f149" fmla="val 1387206"/>
                  <a:gd name="f150" fmla="val 3312400"/>
                  <a:gd name="f151" fmla="val 3175220"/>
                  <a:gd name="f152" fmla="val 3038040"/>
                  <a:gd name="f153" fmla="val 1382424"/>
                  <a:gd name="f154" fmla="val 2900860"/>
                  <a:gd name="f155" fmla="val 1368610"/>
                  <a:gd name="f156" fmla="val 2627564"/>
                  <a:gd name="f157" fmla="val 1340981"/>
                  <a:gd name="f158" fmla="val 2356394"/>
                  <a:gd name="f159" fmla="val 1284129"/>
                  <a:gd name="f160" fmla="val 2094264"/>
                  <a:gd name="f161" fmla="val 1199648"/>
                  <a:gd name="f162" fmla="val 1832133"/>
                  <a:gd name="f163" fmla="val 1115166"/>
                  <a:gd name="f164" fmla="val 1578510"/>
                  <a:gd name="f165" fmla="val 1003588"/>
                  <a:gd name="f166" fmla="val 1335520"/>
                  <a:gd name="f167" fmla="val 875006"/>
                  <a:gd name="f168" fmla="val 1092531"/>
                  <a:gd name="f169" fmla="val 745894"/>
                  <a:gd name="f170" fmla="val 859113"/>
                  <a:gd name="f171" fmla="val 599778"/>
                  <a:gd name="f172" fmla="val 632075"/>
                  <a:gd name="f173" fmla="val 446225"/>
                  <a:gd name="f174" fmla="val 518556"/>
                  <a:gd name="f175" fmla="val 369448"/>
                  <a:gd name="f176" fmla="val 406366"/>
                  <a:gd name="f177" fmla="val 290944"/>
                  <a:gd name="f178" fmla="val 294907"/>
                  <a:gd name="f179" fmla="val 211710"/>
                  <a:gd name="f180" fmla="+- 0 0 -90"/>
                  <a:gd name="f181" fmla="*/ f3 1 4861820"/>
                  <a:gd name="f182" fmla="*/ f4 1 1389331"/>
                  <a:gd name="f183" fmla="+- f7 0 f5"/>
                  <a:gd name="f184" fmla="+- f6 0 f5"/>
                  <a:gd name="f185" fmla="*/ f180 f0 1"/>
                  <a:gd name="f186" fmla="*/ f184 1 4861820"/>
                  <a:gd name="f187" fmla="*/ f183 1 1389331"/>
                  <a:gd name="f188" fmla="*/ 0 f184 1"/>
                  <a:gd name="f189" fmla="*/ 0 f183 1"/>
                  <a:gd name="f190" fmla="*/ 229890 f184 1"/>
                  <a:gd name="f191" fmla="*/ 373317 f184 1"/>
                  <a:gd name="f192" fmla="*/ 108292 f183 1"/>
                  <a:gd name="f193" fmla="*/ 702260 f184 1"/>
                  <a:gd name="f194" fmla="*/ 348992 f183 1"/>
                  <a:gd name="f195" fmla="*/ 1384969 f184 1"/>
                  <a:gd name="f196" fmla="*/ 788400 f183 1"/>
                  <a:gd name="f197" fmla="*/ 2120849 f184 1"/>
                  <a:gd name="f198" fmla="*/ 1125262 f183 1"/>
                  <a:gd name="f199" fmla="*/ 3720750 f184 1"/>
                  <a:gd name="f200" fmla="*/ 1329823 f183 1"/>
                  <a:gd name="f201" fmla="*/ 3771794 f184 1"/>
                  <a:gd name="f202" fmla="*/ 1326104 f183 1"/>
                  <a:gd name="f203" fmla="*/ 3822306 f184 1"/>
                  <a:gd name="f204" fmla="*/ 1320790 f183 1"/>
                  <a:gd name="f205" fmla="*/ 3872818 f184 1"/>
                  <a:gd name="f206" fmla="*/ 1315477 f183 1"/>
                  <a:gd name="f207" fmla="*/ 3898339 f184 1"/>
                  <a:gd name="f208" fmla="*/ 1312820 f183 1"/>
                  <a:gd name="f209" fmla="*/ 3923861 f184 1"/>
                  <a:gd name="f210" fmla="*/ 1309632 f183 1"/>
                  <a:gd name="f211" fmla="*/ 4024885 f184 1"/>
                  <a:gd name="f212" fmla="*/ 1295818 f183 1"/>
                  <a:gd name="f213" fmla="*/ 4050407 f184 1"/>
                  <a:gd name="f214" fmla="*/ 1292630 f183 1"/>
                  <a:gd name="f215" fmla="*/ 4075397 f184 1"/>
                  <a:gd name="f216" fmla="*/ 1288379 f183 1"/>
                  <a:gd name="f217" fmla="*/ 4125909 f184 1"/>
                  <a:gd name="f218" fmla="*/ 1279878 f183 1"/>
                  <a:gd name="f219" fmla="*/ 4226401 f184 1"/>
                  <a:gd name="f220" fmla="*/ 1261813 f183 1"/>
                  <a:gd name="f221" fmla="*/ 4326362 f184 1"/>
                  <a:gd name="f222" fmla="*/ 1241622 f183 1"/>
                  <a:gd name="f223" fmla="*/ 4425790 f184 1"/>
                  <a:gd name="f224" fmla="*/ 1218775 f183 1"/>
                  <a:gd name="f225" fmla="*/ 4450781 f184 1"/>
                  <a:gd name="f226" fmla="*/ 1212931 f183 1"/>
                  <a:gd name="f227" fmla="*/ 4475239 f184 1"/>
                  <a:gd name="f228" fmla="*/ 1206555 f183 1"/>
                  <a:gd name="f229" fmla="*/ 4524688 f184 1"/>
                  <a:gd name="f230" fmla="*/ 1193803 f183 1"/>
                  <a:gd name="f231" fmla="*/ 4721220 f184 1"/>
                  <a:gd name="f232" fmla="*/ 1137947 f183 1"/>
                  <a:gd name="f233" fmla="*/ 4861820 f184 1"/>
                  <a:gd name="f234" fmla="*/ 1091339 f183 1"/>
                  <a:gd name="f235" fmla="*/ 1102902 f183 1"/>
                  <a:gd name="f236" fmla="*/ 4725208 f184 1"/>
                  <a:gd name="f237" fmla="*/ 1151761 f183 1"/>
                  <a:gd name="f238" fmla="*/ 4529473 f184 1"/>
                  <a:gd name="f239" fmla="*/ 1212399 f183 1"/>
                  <a:gd name="f240" fmla="*/ 4480025 f184 1"/>
                  <a:gd name="f241" fmla="*/ 1226214 f183 1"/>
                  <a:gd name="f242" fmla="*/ 4455566 f184 1"/>
                  <a:gd name="f243" fmla="*/ 1233121 f183 1"/>
                  <a:gd name="f244" fmla="*/ 4430576 f184 1"/>
                  <a:gd name="f245" fmla="*/ 1239497 f183 1"/>
                  <a:gd name="f246" fmla="*/ 4331148 f184 1"/>
                  <a:gd name="f247" fmla="*/ 1265001 f183 1"/>
                  <a:gd name="f248" fmla="*/ 4231187 f184 1"/>
                  <a:gd name="f249" fmla="*/ 1287848 f183 1"/>
                  <a:gd name="f250" fmla="*/ 4130694 f184 1"/>
                  <a:gd name="f251" fmla="*/ 1308570 f183 1"/>
                  <a:gd name="f252" fmla="*/ 4080182 f184 1"/>
                  <a:gd name="f253" fmla="*/ 1318134 f183 1"/>
                  <a:gd name="f254" fmla="*/ 4055192 f184 1"/>
                  <a:gd name="f255" fmla="*/ 1322915 f183 1"/>
                  <a:gd name="f256" fmla="*/ 4029670 f184 1"/>
                  <a:gd name="f257" fmla="*/ 1327166 f183 1"/>
                  <a:gd name="f258" fmla="*/ 3928115 f184 1"/>
                  <a:gd name="f259" fmla="*/ 1343637 f183 1"/>
                  <a:gd name="f260" fmla="*/ 3902593 f184 1"/>
                  <a:gd name="f261" fmla="*/ 1347357 f183 1"/>
                  <a:gd name="f262" fmla="*/ 3877071 f184 1"/>
                  <a:gd name="f263" fmla="*/ 1350545 f183 1"/>
                  <a:gd name="f264" fmla="*/ 3826027 f184 1"/>
                  <a:gd name="f265" fmla="*/ 1356921 f183 1"/>
                  <a:gd name="f266" fmla="*/ 3774984 f184 1"/>
                  <a:gd name="f267" fmla="*/ 1363297 f183 1"/>
                  <a:gd name="f268" fmla="*/ 3723940 f184 1"/>
                  <a:gd name="f269" fmla="*/ 1368078 f183 1"/>
                  <a:gd name="f270" fmla="*/ 3621321 f184 1"/>
                  <a:gd name="f271" fmla="*/ 1377642 f183 1"/>
                  <a:gd name="f272" fmla="*/ 3518702 f184 1"/>
                  <a:gd name="f273" fmla="*/ 1383487 f183 1"/>
                  <a:gd name="f274" fmla="*/ 3467126 f184 1"/>
                  <a:gd name="f275" fmla="*/ 1386144 f183 1"/>
                  <a:gd name="f276" fmla="*/ 3415551 f184 1"/>
                  <a:gd name="f277" fmla="*/ 1387206 f183 1"/>
                  <a:gd name="f278" fmla="*/ 3312400 f184 1"/>
                  <a:gd name="f279" fmla="*/ 1389331 f183 1"/>
                  <a:gd name="f280" fmla="*/ 2900860 f184 1"/>
                  <a:gd name="f281" fmla="*/ 1368610 f183 1"/>
                  <a:gd name="f282" fmla="*/ 2094264 f184 1"/>
                  <a:gd name="f283" fmla="*/ 1199648 f183 1"/>
                  <a:gd name="f284" fmla="*/ 1335520 f184 1"/>
                  <a:gd name="f285" fmla="*/ 875006 f183 1"/>
                  <a:gd name="f286" fmla="*/ 632075 f184 1"/>
                  <a:gd name="f287" fmla="*/ 446225 f183 1"/>
                  <a:gd name="f288" fmla="*/ 294907 f184 1"/>
                  <a:gd name="f289" fmla="*/ 211710 f183 1"/>
                  <a:gd name="f290" fmla="*/ f185 1 f2"/>
                  <a:gd name="f291" fmla="*/ f188 1 4861820"/>
                  <a:gd name="f292" fmla="*/ f189 1 1389331"/>
                  <a:gd name="f293" fmla="*/ f190 1 4861820"/>
                  <a:gd name="f294" fmla="*/ f191 1 4861820"/>
                  <a:gd name="f295" fmla="*/ f192 1 1389331"/>
                  <a:gd name="f296" fmla="*/ f193 1 4861820"/>
                  <a:gd name="f297" fmla="*/ f194 1 1389331"/>
                  <a:gd name="f298" fmla="*/ f195 1 4861820"/>
                  <a:gd name="f299" fmla="*/ f196 1 1389331"/>
                  <a:gd name="f300" fmla="*/ f197 1 4861820"/>
                  <a:gd name="f301" fmla="*/ f198 1 1389331"/>
                  <a:gd name="f302" fmla="*/ f199 1 4861820"/>
                  <a:gd name="f303" fmla="*/ f200 1 1389331"/>
                  <a:gd name="f304" fmla="*/ f201 1 4861820"/>
                  <a:gd name="f305" fmla="*/ f202 1 1389331"/>
                  <a:gd name="f306" fmla="*/ f203 1 4861820"/>
                  <a:gd name="f307" fmla="*/ f204 1 1389331"/>
                  <a:gd name="f308" fmla="*/ f205 1 4861820"/>
                  <a:gd name="f309" fmla="*/ f206 1 1389331"/>
                  <a:gd name="f310" fmla="*/ f207 1 4861820"/>
                  <a:gd name="f311" fmla="*/ f208 1 1389331"/>
                  <a:gd name="f312" fmla="*/ f209 1 4861820"/>
                  <a:gd name="f313" fmla="*/ f210 1 1389331"/>
                  <a:gd name="f314" fmla="*/ f211 1 4861820"/>
                  <a:gd name="f315" fmla="*/ f212 1 1389331"/>
                  <a:gd name="f316" fmla="*/ f213 1 4861820"/>
                  <a:gd name="f317" fmla="*/ f214 1 1389331"/>
                  <a:gd name="f318" fmla="*/ f215 1 4861820"/>
                  <a:gd name="f319" fmla="*/ f216 1 1389331"/>
                  <a:gd name="f320" fmla="*/ f217 1 4861820"/>
                  <a:gd name="f321" fmla="*/ f218 1 1389331"/>
                  <a:gd name="f322" fmla="*/ f219 1 4861820"/>
                  <a:gd name="f323" fmla="*/ f220 1 1389331"/>
                  <a:gd name="f324" fmla="*/ f221 1 4861820"/>
                  <a:gd name="f325" fmla="*/ f222 1 1389331"/>
                  <a:gd name="f326" fmla="*/ f223 1 4861820"/>
                  <a:gd name="f327" fmla="*/ f224 1 1389331"/>
                  <a:gd name="f328" fmla="*/ f225 1 4861820"/>
                  <a:gd name="f329" fmla="*/ f226 1 1389331"/>
                  <a:gd name="f330" fmla="*/ f227 1 4861820"/>
                  <a:gd name="f331" fmla="*/ f228 1 1389331"/>
                  <a:gd name="f332" fmla="*/ f229 1 4861820"/>
                  <a:gd name="f333" fmla="*/ f230 1 1389331"/>
                  <a:gd name="f334" fmla="*/ f231 1 4861820"/>
                  <a:gd name="f335" fmla="*/ f232 1 1389331"/>
                  <a:gd name="f336" fmla="*/ f233 1 4861820"/>
                  <a:gd name="f337" fmla="*/ f234 1 1389331"/>
                  <a:gd name="f338" fmla="*/ f235 1 1389331"/>
                  <a:gd name="f339" fmla="*/ f236 1 4861820"/>
                  <a:gd name="f340" fmla="*/ f237 1 1389331"/>
                  <a:gd name="f341" fmla="*/ f238 1 4861820"/>
                  <a:gd name="f342" fmla="*/ f239 1 1389331"/>
                  <a:gd name="f343" fmla="*/ f240 1 4861820"/>
                  <a:gd name="f344" fmla="*/ f241 1 1389331"/>
                  <a:gd name="f345" fmla="*/ f242 1 4861820"/>
                  <a:gd name="f346" fmla="*/ f243 1 1389331"/>
                  <a:gd name="f347" fmla="*/ f244 1 4861820"/>
                  <a:gd name="f348" fmla="*/ f245 1 1389331"/>
                  <a:gd name="f349" fmla="*/ f246 1 4861820"/>
                  <a:gd name="f350" fmla="*/ f247 1 1389331"/>
                  <a:gd name="f351" fmla="*/ f248 1 4861820"/>
                  <a:gd name="f352" fmla="*/ f249 1 1389331"/>
                  <a:gd name="f353" fmla="*/ f250 1 4861820"/>
                  <a:gd name="f354" fmla="*/ f251 1 1389331"/>
                  <a:gd name="f355" fmla="*/ f252 1 4861820"/>
                  <a:gd name="f356" fmla="*/ f253 1 1389331"/>
                  <a:gd name="f357" fmla="*/ f254 1 4861820"/>
                  <a:gd name="f358" fmla="*/ f255 1 1389331"/>
                  <a:gd name="f359" fmla="*/ f256 1 4861820"/>
                  <a:gd name="f360" fmla="*/ f257 1 1389331"/>
                  <a:gd name="f361" fmla="*/ f258 1 4861820"/>
                  <a:gd name="f362" fmla="*/ f259 1 1389331"/>
                  <a:gd name="f363" fmla="*/ f260 1 4861820"/>
                  <a:gd name="f364" fmla="*/ f261 1 1389331"/>
                  <a:gd name="f365" fmla="*/ f262 1 4861820"/>
                  <a:gd name="f366" fmla="*/ f263 1 1389331"/>
                  <a:gd name="f367" fmla="*/ f264 1 4861820"/>
                  <a:gd name="f368" fmla="*/ f265 1 1389331"/>
                  <a:gd name="f369" fmla="*/ f266 1 4861820"/>
                  <a:gd name="f370" fmla="*/ f267 1 1389331"/>
                  <a:gd name="f371" fmla="*/ f268 1 4861820"/>
                  <a:gd name="f372" fmla="*/ f269 1 1389331"/>
                  <a:gd name="f373" fmla="*/ f270 1 4861820"/>
                  <a:gd name="f374" fmla="*/ f271 1 1389331"/>
                  <a:gd name="f375" fmla="*/ f272 1 4861820"/>
                  <a:gd name="f376" fmla="*/ f273 1 1389331"/>
                  <a:gd name="f377" fmla="*/ f274 1 4861820"/>
                  <a:gd name="f378" fmla="*/ f275 1 1389331"/>
                  <a:gd name="f379" fmla="*/ f276 1 4861820"/>
                  <a:gd name="f380" fmla="*/ f277 1 1389331"/>
                  <a:gd name="f381" fmla="*/ f278 1 4861820"/>
                  <a:gd name="f382" fmla="*/ f279 1 1389331"/>
                  <a:gd name="f383" fmla="*/ f280 1 4861820"/>
                  <a:gd name="f384" fmla="*/ f281 1 1389331"/>
                  <a:gd name="f385" fmla="*/ f282 1 4861820"/>
                  <a:gd name="f386" fmla="*/ f283 1 1389331"/>
                  <a:gd name="f387" fmla="*/ f284 1 4861820"/>
                  <a:gd name="f388" fmla="*/ f285 1 1389331"/>
                  <a:gd name="f389" fmla="*/ f286 1 4861820"/>
                  <a:gd name="f390" fmla="*/ f287 1 1389331"/>
                  <a:gd name="f391" fmla="*/ f288 1 4861820"/>
                  <a:gd name="f392" fmla="*/ f289 1 1389331"/>
                  <a:gd name="f393" fmla="*/ f5 1 f186"/>
                  <a:gd name="f394" fmla="*/ f6 1 f186"/>
                  <a:gd name="f395" fmla="*/ f5 1 f187"/>
                  <a:gd name="f396" fmla="*/ f7 1 f187"/>
                  <a:gd name="f397" fmla="+- f290 0 f1"/>
                  <a:gd name="f398" fmla="*/ f291 1 f186"/>
                  <a:gd name="f399" fmla="*/ f292 1 f187"/>
                  <a:gd name="f400" fmla="*/ f293 1 f186"/>
                  <a:gd name="f401" fmla="*/ f294 1 f186"/>
                  <a:gd name="f402" fmla="*/ f295 1 f187"/>
                  <a:gd name="f403" fmla="*/ f296 1 f186"/>
                  <a:gd name="f404" fmla="*/ f297 1 f187"/>
                  <a:gd name="f405" fmla="*/ f298 1 f186"/>
                  <a:gd name="f406" fmla="*/ f299 1 f187"/>
                  <a:gd name="f407" fmla="*/ f300 1 f186"/>
                  <a:gd name="f408" fmla="*/ f301 1 f187"/>
                  <a:gd name="f409" fmla="*/ f302 1 f186"/>
                  <a:gd name="f410" fmla="*/ f303 1 f187"/>
                  <a:gd name="f411" fmla="*/ f304 1 f186"/>
                  <a:gd name="f412" fmla="*/ f305 1 f187"/>
                  <a:gd name="f413" fmla="*/ f306 1 f186"/>
                  <a:gd name="f414" fmla="*/ f307 1 f187"/>
                  <a:gd name="f415" fmla="*/ f308 1 f186"/>
                  <a:gd name="f416" fmla="*/ f309 1 f187"/>
                  <a:gd name="f417" fmla="*/ f310 1 f186"/>
                  <a:gd name="f418" fmla="*/ f311 1 f187"/>
                  <a:gd name="f419" fmla="*/ f312 1 f186"/>
                  <a:gd name="f420" fmla="*/ f313 1 f187"/>
                  <a:gd name="f421" fmla="*/ f314 1 f186"/>
                  <a:gd name="f422" fmla="*/ f315 1 f187"/>
                  <a:gd name="f423" fmla="*/ f316 1 f186"/>
                  <a:gd name="f424" fmla="*/ f317 1 f187"/>
                  <a:gd name="f425" fmla="*/ f318 1 f186"/>
                  <a:gd name="f426" fmla="*/ f319 1 f187"/>
                  <a:gd name="f427" fmla="*/ f320 1 f186"/>
                  <a:gd name="f428" fmla="*/ f321 1 f187"/>
                  <a:gd name="f429" fmla="*/ f322 1 f186"/>
                  <a:gd name="f430" fmla="*/ f323 1 f187"/>
                  <a:gd name="f431" fmla="*/ f324 1 f186"/>
                  <a:gd name="f432" fmla="*/ f325 1 f187"/>
                  <a:gd name="f433" fmla="*/ f326 1 f186"/>
                  <a:gd name="f434" fmla="*/ f327 1 f187"/>
                  <a:gd name="f435" fmla="*/ f328 1 f186"/>
                  <a:gd name="f436" fmla="*/ f329 1 f187"/>
                  <a:gd name="f437" fmla="*/ f330 1 f186"/>
                  <a:gd name="f438" fmla="*/ f331 1 f187"/>
                  <a:gd name="f439" fmla="*/ f332 1 f186"/>
                  <a:gd name="f440" fmla="*/ f333 1 f187"/>
                  <a:gd name="f441" fmla="*/ f334 1 f186"/>
                  <a:gd name="f442" fmla="*/ f335 1 f187"/>
                  <a:gd name="f443" fmla="*/ f336 1 f186"/>
                  <a:gd name="f444" fmla="*/ f337 1 f187"/>
                  <a:gd name="f445" fmla="*/ f338 1 f187"/>
                  <a:gd name="f446" fmla="*/ f339 1 f186"/>
                  <a:gd name="f447" fmla="*/ f340 1 f187"/>
                  <a:gd name="f448" fmla="*/ f341 1 f186"/>
                  <a:gd name="f449" fmla="*/ f342 1 f187"/>
                  <a:gd name="f450" fmla="*/ f343 1 f186"/>
                  <a:gd name="f451" fmla="*/ f344 1 f187"/>
                  <a:gd name="f452" fmla="*/ f345 1 f186"/>
                  <a:gd name="f453" fmla="*/ f346 1 f187"/>
                  <a:gd name="f454" fmla="*/ f347 1 f186"/>
                  <a:gd name="f455" fmla="*/ f348 1 f187"/>
                  <a:gd name="f456" fmla="*/ f349 1 f186"/>
                  <a:gd name="f457" fmla="*/ f350 1 f187"/>
                  <a:gd name="f458" fmla="*/ f351 1 f186"/>
                  <a:gd name="f459" fmla="*/ f352 1 f187"/>
                  <a:gd name="f460" fmla="*/ f353 1 f186"/>
                  <a:gd name="f461" fmla="*/ f354 1 f187"/>
                  <a:gd name="f462" fmla="*/ f355 1 f186"/>
                  <a:gd name="f463" fmla="*/ f356 1 f187"/>
                  <a:gd name="f464" fmla="*/ f357 1 f186"/>
                  <a:gd name="f465" fmla="*/ f358 1 f187"/>
                  <a:gd name="f466" fmla="*/ f359 1 f186"/>
                  <a:gd name="f467" fmla="*/ f360 1 f187"/>
                  <a:gd name="f468" fmla="*/ f361 1 f186"/>
                  <a:gd name="f469" fmla="*/ f362 1 f187"/>
                  <a:gd name="f470" fmla="*/ f363 1 f186"/>
                  <a:gd name="f471" fmla="*/ f364 1 f187"/>
                  <a:gd name="f472" fmla="*/ f365 1 f186"/>
                  <a:gd name="f473" fmla="*/ f366 1 f187"/>
                  <a:gd name="f474" fmla="*/ f367 1 f186"/>
                  <a:gd name="f475" fmla="*/ f368 1 f187"/>
                  <a:gd name="f476" fmla="*/ f369 1 f186"/>
                  <a:gd name="f477" fmla="*/ f370 1 f187"/>
                  <a:gd name="f478" fmla="*/ f371 1 f186"/>
                  <a:gd name="f479" fmla="*/ f372 1 f187"/>
                  <a:gd name="f480" fmla="*/ f373 1 f186"/>
                  <a:gd name="f481" fmla="*/ f374 1 f187"/>
                  <a:gd name="f482" fmla="*/ f375 1 f186"/>
                  <a:gd name="f483" fmla="*/ f376 1 f187"/>
                  <a:gd name="f484" fmla="*/ f377 1 f186"/>
                  <a:gd name="f485" fmla="*/ f378 1 f187"/>
                  <a:gd name="f486" fmla="*/ f379 1 f186"/>
                  <a:gd name="f487" fmla="*/ f380 1 f187"/>
                  <a:gd name="f488" fmla="*/ f381 1 f186"/>
                  <a:gd name="f489" fmla="*/ f382 1 f187"/>
                  <a:gd name="f490" fmla="*/ f383 1 f186"/>
                  <a:gd name="f491" fmla="*/ f384 1 f187"/>
                  <a:gd name="f492" fmla="*/ f385 1 f186"/>
                  <a:gd name="f493" fmla="*/ f386 1 f187"/>
                  <a:gd name="f494" fmla="*/ f387 1 f186"/>
                  <a:gd name="f495" fmla="*/ f388 1 f187"/>
                  <a:gd name="f496" fmla="*/ f389 1 f186"/>
                  <a:gd name="f497" fmla="*/ f390 1 f187"/>
                  <a:gd name="f498" fmla="*/ f391 1 f186"/>
                  <a:gd name="f499" fmla="*/ f392 1 f187"/>
                  <a:gd name="f500" fmla="*/ f393 f181 1"/>
                  <a:gd name="f501" fmla="*/ f394 f181 1"/>
                  <a:gd name="f502" fmla="*/ f396 f182 1"/>
                  <a:gd name="f503" fmla="*/ f395 f182 1"/>
                  <a:gd name="f504" fmla="*/ f398 f181 1"/>
                  <a:gd name="f505" fmla="*/ f399 f182 1"/>
                  <a:gd name="f506" fmla="*/ f400 f181 1"/>
                  <a:gd name="f507" fmla="*/ f401 f181 1"/>
                  <a:gd name="f508" fmla="*/ f402 f182 1"/>
                  <a:gd name="f509" fmla="*/ f403 f181 1"/>
                  <a:gd name="f510" fmla="*/ f404 f182 1"/>
                  <a:gd name="f511" fmla="*/ f405 f181 1"/>
                  <a:gd name="f512" fmla="*/ f406 f182 1"/>
                  <a:gd name="f513" fmla="*/ f407 f181 1"/>
                  <a:gd name="f514" fmla="*/ f408 f182 1"/>
                  <a:gd name="f515" fmla="*/ f409 f181 1"/>
                  <a:gd name="f516" fmla="*/ f410 f182 1"/>
                  <a:gd name="f517" fmla="*/ f411 f181 1"/>
                  <a:gd name="f518" fmla="*/ f412 f182 1"/>
                  <a:gd name="f519" fmla="*/ f413 f181 1"/>
                  <a:gd name="f520" fmla="*/ f414 f182 1"/>
                  <a:gd name="f521" fmla="*/ f415 f181 1"/>
                  <a:gd name="f522" fmla="*/ f416 f182 1"/>
                  <a:gd name="f523" fmla="*/ f417 f181 1"/>
                  <a:gd name="f524" fmla="*/ f418 f182 1"/>
                  <a:gd name="f525" fmla="*/ f419 f181 1"/>
                  <a:gd name="f526" fmla="*/ f420 f182 1"/>
                  <a:gd name="f527" fmla="*/ f421 f181 1"/>
                  <a:gd name="f528" fmla="*/ f422 f182 1"/>
                  <a:gd name="f529" fmla="*/ f423 f181 1"/>
                  <a:gd name="f530" fmla="*/ f424 f182 1"/>
                  <a:gd name="f531" fmla="*/ f425 f181 1"/>
                  <a:gd name="f532" fmla="*/ f426 f182 1"/>
                  <a:gd name="f533" fmla="*/ f427 f181 1"/>
                  <a:gd name="f534" fmla="*/ f428 f182 1"/>
                  <a:gd name="f535" fmla="*/ f429 f181 1"/>
                  <a:gd name="f536" fmla="*/ f430 f182 1"/>
                  <a:gd name="f537" fmla="*/ f431 f181 1"/>
                  <a:gd name="f538" fmla="*/ f432 f182 1"/>
                  <a:gd name="f539" fmla="*/ f433 f181 1"/>
                  <a:gd name="f540" fmla="*/ f434 f182 1"/>
                  <a:gd name="f541" fmla="*/ f435 f181 1"/>
                  <a:gd name="f542" fmla="*/ f436 f182 1"/>
                  <a:gd name="f543" fmla="*/ f437 f181 1"/>
                  <a:gd name="f544" fmla="*/ f438 f182 1"/>
                  <a:gd name="f545" fmla="*/ f439 f181 1"/>
                  <a:gd name="f546" fmla="*/ f440 f182 1"/>
                  <a:gd name="f547" fmla="*/ f441 f181 1"/>
                  <a:gd name="f548" fmla="*/ f442 f182 1"/>
                  <a:gd name="f549" fmla="*/ f443 f181 1"/>
                  <a:gd name="f550" fmla="*/ f444 f182 1"/>
                  <a:gd name="f551" fmla="*/ f445 f182 1"/>
                  <a:gd name="f552" fmla="*/ f446 f181 1"/>
                  <a:gd name="f553" fmla="*/ f447 f182 1"/>
                  <a:gd name="f554" fmla="*/ f448 f181 1"/>
                  <a:gd name="f555" fmla="*/ f449 f182 1"/>
                  <a:gd name="f556" fmla="*/ f450 f181 1"/>
                  <a:gd name="f557" fmla="*/ f451 f182 1"/>
                  <a:gd name="f558" fmla="*/ f452 f181 1"/>
                  <a:gd name="f559" fmla="*/ f453 f182 1"/>
                  <a:gd name="f560" fmla="*/ f454 f181 1"/>
                  <a:gd name="f561" fmla="*/ f455 f182 1"/>
                  <a:gd name="f562" fmla="*/ f456 f181 1"/>
                  <a:gd name="f563" fmla="*/ f457 f182 1"/>
                  <a:gd name="f564" fmla="*/ f458 f181 1"/>
                  <a:gd name="f565" fmla="*/ f459 f182 1"/>
                  <a:gd name="f566" fmla="*/ f460 f181 1"/>
                  <a:gd name="f567" fmla="*/ f461 f182 1"/>
                  <a:gd name="f568" fmla="*/ f462 f181 1"/>
                  <a:gd name="f569" fmla="*/ f463 f182 1"/>
                  <a:gd name="f570" fmla="*/ f464 f181 1"/>
                  <a:gd name="f571" fmla="*/ f465 f182 1"/>
                  <a:gd name="f572" fmla="*/ f466 f181 1"/>
                  <a:gd name="f573" fmla="*/ f467 f182 1"/>
                  <a:gd name="f574" fmla="*/ f468 f181 1"/>
                  <a:gd name="f575" fmla="*/ f469 f182 1"/>
                  <a:gd name="f576" fmla="*/ f470 f181 1"/>
                  <a:gd name="f577" fmla="*/ f471 f182 1"/>
                  <a:gd name="f578" fmla="*/ f472 f181 1"/>
                  <a:gd name="f579" fmla="*/ f473 f182 1"/>
                  <a:gd name="f580" fmla="*/ f474 f181 1"/>
                  <a:gd name="f581" fmla="*/ f475 f182 1"/>
                  <a:gd name="f582" fmla="*/ f476 f181 1"/>
                  <a:gd name="f583" fmla="*/ f477 f182 1"/>
                  <a:gd name="f584" fmla="*/ f478 f181 1"/>
                  <a:gd name="f585" fmla="*/ f479 f182 1"/>
                  <a:gd name="f586" fmla="*/ f480 f181 1"/>
                  <a:gd name="f587" fmla="*/ f481 f182 1"/>
                  <a:gd name="f588" fmla="*/ f482 f181 1"/>
                  <a:gd name="f589" fmla="*/ f483 f182 1"/>
                  <a:gd name="f590" fmla="*/ f484 f181 1"/>
                  <a:gd name="f591" fmla="*/ f485 f182 1"/>
                  <a:gd name="f592" fmla="*/ f486 f181 1"/>
                  <a:gd name="f593" fmla="*/ f487 f182 1"/>
                  <a:gd name="f594" fmla="*/ f488 f181 1"/>
                  <a:gd name="f595" fmla="*/ f489 f182 1"/>
                  <a:gd name="f596" fmla="*/ f490 f181 1"/>
                  <a:gd name="f597" fmla="*/ f491 f182 1"/>
                  <a:gd name="f598" fmla="*/ f492 f181 1"/>
                  <a:gd name="f599" fmla="*/ f493 f182 1"/>
                  <a:gd name="f600" fmla="*/ f494 f181 1"/>
                  <a:gd name="f601" fmla="*/ f495 f182 1"/>
                  <a:gd name="f602" fmla="*/ f496 f181 1"/>
                  <a:gd name="f603" fmla="*/ f497 f182 1"/>
                  <a:gd name="f604" fmla="*/ f498 f181 1"/>
                  <a:gd name="f605" fmla="*/ f499 f18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97">
                    <a:pos x="f504" y="f505"/>
                  </a:cxn>
                  <a:cxn ang="f397">
                    <a:pos x="f506" y="f505"/>
                  </a:cxn>
                  <a:cxn ang="f397">
                    <a:pos x="f507" y="f508"/>
                  </a:cxn>
                  <a:cxn ang="f397">
                    <a:pos x="f509" y="f510"/>
                  </a:cxn>
                  <a:cxn ang="f397">
                    <a:pos x="f511" y="f512"/>
                  </a:cxn>
                  <a:cxn ang="f397">
                    <a:pos x="f513" y="f514"/>
                  </a:cxn>
                  <a:cxn ang="f397">
                    <a:pos x="f515" y="f516"/>
                  </a:cxn>
                  <a:cxn ang="f397">
                    <a:pos x="f517" y="f518"/>
                  </a:cxn>
                  <a:cxn ang="f397">
                    <a:pos x="f519" y="f520"/>
                  </a:cxn>
                  <a:cxn ang="f397">
                    <a:pos x="f521" y="f522"/>
                  </a:cxn>
                  <a:cxn ang="f397">
                    <a:pos x="f523" y="f524"/>
                  </a:cxn>
                  <a:cxn ang="f397">
                    <a:pos x="f525" y="f526"/>
                  </a:cxn>
                  <a:cxn ang="f397">
                    <a:pos x="f527" y="f528"/>
                  </a:cxn>
                  <a:cxn ang="f397">
                    <a:pos x="f529" y="f530"/>
                  </a:cxn>
                  <a:cxn ang="f397">
                    <a:pos x="f531" y="f532"/>
                  </a:cxn>
                  <a:cxn ang="f397">
                    <a:pos x="f533" y="f534"/>
                  </a:cxn>
                  <a:cxn ang="f397">
                    <a:pos x="f535" y="f536"/>
                  </a:cxn>
                  <a:cxn ang="f397">
                    <a:pos x="f537" y="f538"/>
                  </a:cxn>
                  <a:cxn ang="f397">
                    <a:pos x="f539" y="f540"/>
                  </a:cxn>
                  <a:cxn ang="f397">
                    <a:pos x="f541" y="f542"/>
                  </a:cxn>
                  <a:cxn ang="f397">
                    <a:pos x="f543" y="f544"/>
                  </a:cxn>
                  <a:cxn ang="f397">
                    <a:pos x="f545" y="f546"/>
                  </a:cxn>
                  <a:cxn ang="f397">
                    <a:pos x="f547" y="f548"/>
                  </a:cxn>
                  <a:cxn ang="f397">
                    <a:pos x="f549" y="f550"/>
                  </a:cxn>
                  <a:cxn ang="f397">
                    <a:pos x="f549" y="f551"/>
                  </a:cxn>
                  <a:cxn ang="f397">
                    <a:pos x="f552" y="f553"/>
                  </a:cxn>
                  <a:cxn ang="f397">
                    <a:pos x="f554" y="f555"/>
                  </a:cxn>
                  <a:cxn ang="f397">
                    <a:pos x="f556" y="f557"/>
                  </a:cxn>
                  <a:cxn ang="f397">
                    <a:pos x="f558" y="f559"/>
                  </a:cxn>
                  <a:cxn ang="f397">
                    <a:pos x="f560" y="f561"/>
                  </a:cxn>
                  <a:cxn ang="f397">
                    <a:pos x="f562" y="f563"/>
                  </a:cxn>
                  <a:cxn ang="f397">
                    <a:pos x="f564" y="f565"/>
                  </a:cxn>
                  <a:cxn ang="f397">
                    <a:pos x="f566" y="f567"/>
                  </a:cxn>
                  <a:cxn ang="f397">
                    <a:pos x="f568" y="f569"/>
                  </a:cxn>
                  <a:cxn ang="f397">
                    <a:pos x="f570" y="f571"/>
                  </a:cxn>
                  <a:cxn ang="f397">
                    <a:pos x="f572" y="f573"/>
                  </a:cxn>
                  <a:cxn ang="f397">
                    <a:pos x="f574" y="f575"/>
                  </a:cxn>
                  <a:cxn ang="f397">
                    <a:pos x="f576" y="f577"/>
                  </a:cxn>
                  <a:cxn ang="f397">
                    <a:pos x="f578" y="f579"/>
                  </a:cxn>
                  <a:cxn ang="f397">
                    <a:pos x="f580" y="f581"/>
                  </a:cxn>
                  <a:cxn ang="f397">
                    <a:pos x="f582" y="f583"/>
                  </a:cxn>
                  <a:cxn ang="f397">
                    <a:pos x="f584" y="f585"/>
                  </a:cxn>
                  <a:cxn ang="f397">
                    <a:pos x="f586" y="f587"/>
                  </a:cxn>
                  <a:cxn ang="f397">
                    <a:pos x="f588" y="f589"/>
                  </a:cxn>
                  <a:cxn ang="f397">
                    <a:pos x="f590" y="f591"/>
                  </a:cxn>
                  <a:cxn ang="f397">
                    <a:pos x="f592" y="f593"/>
                  </a:cxn>
                  <a:cxn ang="f397">
                    <a:pos x="f594" y="f595"/>
                  </a:cxn>
                  <a:cxn ang="f397">
                    <a:pos x="f596" y="f597"/>
                  </a:cxn>
                  <a:cxn ang="f397">
                    <a:pos x="f598" y="f599"/>
                  </a:cxn>
                  <a:cxn ang="f397">
                    <a:pos x="f600" y="f601"/>
                  </a:cxn>
                  <a:cxn ang="f397">
                    <a:pos x="f602" y="f603"/>
                  </a:cxn>
                  <a:cxn ang="f397">
                    <a:pos x="f604" y="f605"/>
                  </a:cxn>
                </a:cxnLst>
                <a:rect l="f500" t="f503" r="f501" b="f502"/>
                <a:pathLst>
                  <a:path w="4861820" h="1389331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cubicBezTo>
                      <a:pt x="f11" y="f12"/>
                      <a:pt x="f13" y="f14"/>
                      <a:pt x="f15" y="f16"/>
                    </a:cubicBezTo>
                    <a:cubicBezTo>
                      <a:pt x="f17" y="f18"/>
                      <a:pt x="f19" y="f20"/>
                      <a:pt x="f21" y="f22"/>
                    </a:cubicBez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7" y="f38"/>
                      <a:pt x="f39" y="f40"/>
                    </a:cubicBez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cubicBezTo>
                      <a:pt x="f47" y="f48"/>
                      <a:pt x="f49" y="f50"/>
                      <a:pt x="f51" y="f52"/>
                    </a:cubicBezTo>
                    <a:lnTo>
                      <a:pt x="f53" y="f54"/>
                    </a:lnTo>
                    <a:lnTo>
                      <a:pt x="f55" y="f56"/>
                    </a:lnTo>
                    <a:cubicBezTo>
                      <a:pt x="f57" y="f58"/>
                      <a:pt x="f59" y="f60"/>
                      <a:pt x="f61" y="f62"/>
                    </a:cubicBezTo>
                    <a:lnTo>
                      <a:pt x="f63" y="f64"/>
                    </a:lnTo>
                    <a:cubicBezTo>
                      <a:pt x="f65" y="f66"/>
                      <a:pt x="f67" y="f68"/>
                      <a:pt x="f69" y="f70"/>
                    </a:cubicBez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cubicBezTo>
                      <a:pt x="f81" y="f82"/>
                      <a:pt x="f83" y="f84"/>
                      <a:pt x="f85" y="f86"/>
                    </a:cubicBezTo>
                    <a:lnTo>
                      <a:pt x="f6" y="f87"/>
                    </a:lnTo>
                    <a:lnTo>
                      <a:pt x="f6" y="f88"/>
                    </a:lnTo>
                    <a:lnTo>
                      <a:pt x="f89" y="f90"/>
                    </a:lnTo>
                    <a:cubicBezTo>
                      <a:pt x="f91" y="f92"/>
                      <a:pt x="f93" y="f94"/>
                      <a:pt x="f95" y="f96"/>
                    </a:cubicBez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cubicBezTo>
                      <a:pt x="f107" y="f54"/>
                      <a:pt x="f108" y="f109"/>
                      <a:pt x="f110" y="f111"/>
                    </a:cubicBezTo>
                    <a:lnTo>
                      <a:pt x="f112" y="f113"/>
                    </a:lnTo>
                    <a:cubicBezTo>
                      <a:pt x="f114" y="f115"/>
                      <a:pt x="f116" y="f117"/>
                      <a:pt x="f118" y="f119"/>
                    </a:cubicBezTo>
                    <a:lnTo>
                      <a:pt x="f120" y="f121"/>
                    </a:lnTo>
                    <a:lnTo>
                      <a:pt x="f122" y="f123"/>
                    </a:lnTo>
                    <a:cubicBezTo>
                      <a:pt x="f124" y="f125"/>
                      <a:pt x="f126" y="f127"/>
                      <a:pt x="f128" y="f129"/>
                    </a:cubicBez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cubicBezTo>
                      <a:pt x="f136" y="f137"/>
                      <a:pt x="f138" y="f139"/>
                      <a:pt x="f140" y="f141"/>
                    </a:cubicBez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7"/>
                    </a:lnTo>
                    <a:cubicBezTo>
                      <a:pt x="f151" y="f7"/>
                      <a:pt x="f152" y="f153"/>
                      <a:pt x="f154" y="f155"/>
                    </a:cubicBezTo>
                    <a:cubicBezTo>
                      <a:pt x="f156" y="f157"/>
                      <a:pt x="f158" y="f159"/>
                      <a:pt x="f160" y="f161"/>
                    </a:cubicBezTo>
                    <a:cubicBezTo>
                      <a:pt x="f162" y="f163"/>
                      <a:pt x="f164" y="f165"/>
                      <a:pt x="f166" y="f167"/>
                    </a:cubicBezTo>
                    <a:cubicBezTo>
                      <a:pt x="f168" y="f169"/>
                      <a:pt x="f170" y="f171"/>
                      <a:pt x="f172" y="f173"/>
                    </a:cubicBezTo>
                    <a:cubicBezTo>
                      <a:pt x="f174" y="f175"/>
                      <a:pt x="f176" y="f177"/>
                      <a:pt x="f178" y="f179"/>
                    </a:cubicBezTo>
                    <a:close/>
                  </a:path>
                </a:pathLst>
              </a:custGeom>
              <a:solidFill>
                <a:srgbClr val="1C498B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46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800" b="0" i="0" u="none" strike="noStrike" kern="1200" cap="none" spc="0" baseline="0">
                  <a:solidFill>
                    <a:srgbClr val="444C55"/>
                  </a:solidFill>
                  <a:uFillTx/>
                  <a:latin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6017107"/>
      </p:ext>
    </p:extLst>
  </p:cSld>
  <p:clrMapOvr>
    <a:masterClrMapping/>
  </p:clrMapOvr>
  <p:hf sldNum="0" hdr="0" ftr="0" dt="0"/>
</p:sldLayout>
</file>

<file path=ppt/slideLayouts/slideLayout2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1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74" name="Google Shape;51374;p76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5" name="Google Shape;51375;p76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6" name="Google Shape;51376;p76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1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78" name="Google Shape;51378;p77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9" name="Google Shape;51379;p77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09630" lvl="1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914446" lvl="2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219261" lvl="3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524076" lvl="4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1828891" lvl="5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133707" lvl="6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438522" lvl="7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743337" lvl="8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80" name="Google Shape;51380;p77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81" name="Google Shape;51381;p77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82" name="Google Shape;51382;p77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5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84" name="Google Shape;51384;p81"/>
          <p:cNvSpPr txBox="1"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85" name="Google Shape;51385;p81"/>
          <p:cNvSpPr txBox="1"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32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2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386" name="Google Shape;51386;p81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87" name="Google Shape;51387;p81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88" name="Google Shape;51388;p81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5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90" name="Google Shape;51390;p82"/>
          <p:cNvSpPr txBox="1"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2667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91" name="Google Shape;51391;p82"/>
          <p:cNvSpPr txBox="1"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04815" lvl="0" indent="-152408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333">
                <a:solidFill>
                  <a:srgbClr val="888888"/>
                </a:solidFill>
              </a:defRPr>
            </a:lvl1pPr>
            <a:lvl2pPr marL="609630" lvl="1" indent="-152408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200">
                <a:solidFill>
                  <a:srgbClr val="888888"/>
                </a:solidFill>
              </a:defRPr>
            </a:lvl2pPr>
            <a:lvl3pPr marL="914446" lvl="2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067">
                <a:solidFill>
                  <a:srgbClr val="888888"/>
                </a:solidFill>
              </a:defRPr>
            </a:lvl3pPr>
            <a:lvl4pPr marL="1219261" lvl="3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4pPr>
            <a:lvl5pPr marL="1524076" lvl="4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5pPr>
            <a:lvl6pPr marL="1828891" lvl="5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6pPr>
            <a:lvl7pPr marL="2133707" lvl="6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7pPr>
            <a:lvl8pPr marL="2438522" lvl="7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8pPr>
            <a:lvl9pPr marL="2743337" lvl="8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933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392" name="Google Shape;51392;p82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93" name="Google Shape;51393;p82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94" name="Google Shape;51394;p82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5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96" name="Google Shape;51396;p83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97" name="Google Shape;51397;p83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2692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70947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1867"/>
            </a:lvl1pPr>
            <a:lvl2pPr marL="609630" lvl="1" indent="-254013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1600"/>
            </a:lvl2pPr>
            <a:lvl3pPr marL="914446" lvl="2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3pPr>
            <a:lvl4pPr marL="1219261" lvl="3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200"/>
            </a:lvl4pPr>
            <a:lvl5pPr marL="1524076" lvl="4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200"/>
            </a:lvl5pPr>
            <a:lvl6pPr marL="1828891" lvl="5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6pPr>
            <a:lvl7pPr marL="2133707" lvl="6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7pPr>
            <a:lvl8pPr marL="2438522" lvl="7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8pPr>
            <a:lvl9pPr marL="2743337" lvl="8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9pPr>
          </a:lstStyle>
          <a:p>
            <a:endParaRPr/>
          </a:p>
        </p:txBody>
      </p:sp>
      <p:sp>
        <p:nvSpPr>
          <p:cNvPr id="51398" name="Google Shape;51398;p83"/>
          <p:cNvSpPr txBox="1">
            <a:spLocks noGrp="1"/>
          </p:cNvSpPr>
          <p:nvPr>
            <p:ph type="body" idx="2"/>
          </p:nvPr>
        </p:nvSpPr>
        <p:spPr>
          <a:xfrm>
            <a:off x="3098800" y="1066800"/>
            <a:ext cx="2692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70947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1867"/>
            </a:lvl1pPr>
            <a:lvl2pPr marL="609630" lvl="1" indent="-254013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1600"/>
            </a:lvl2pPr>
            <a:lvl3pPr marL="914446" lvl="2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3pPr>
            <a:lvl4pPr marL="1219261" lvl="3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200"/>
            </a:lvl4pPr>
            <a:lvl5pPr marL="1524076" lvl="4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200"/>
            </a:lvl5pPr>
            <a:lvl6pPr marL="1828891" lvl="5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6pPr>
            <a:lvl7pPr marL="2133707" lvl="6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7pPr>
            <a:lvl8pPr marL="2438522" lvl="7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8pPr>
            <a:lvl9pPr marL="2743337" lvl="8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9pPr>
          </a:lstStyle>
          <a:p>
            <a:endParaRPr/>
          </a:p>
        </p:txBody>
      </p:sp>
      <p:sp>
        <p:nvSpPr>
          <p:cNvPr id="51399" name="Google Shape;51399;p83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00" name="Google Shape;51400;p83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01" name="Google Shape;51401;p83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2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9" name="Google Shape;2659;g3681a448973_2_1564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60" name="Google Shape;2660;g3681a448973_2_15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1" name="Google Shape;2661;g3681a448973_2_156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62" name="Google Shape;2662;g3681a448973_2_15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3" name="Google Shape;2663;g3681a448973_2_15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64" name="Google Shape;2664;g3681a448973_2_15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5" name="Google Shape;2665;g3681a448973_2_156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6" name="Google Shape;2666;g3681a448973_2_156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7" name="Google Shape;2667;g3681a448973_2_156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8" name="Google Shape;2668;g3681a448973_2_156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9" name="Google Shape;2669;g3681a448973_2_156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0" name="Google Shape;2670;g3681a448973_2_15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1" name="Google Shape;2671;g3681a448973_2_15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5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03" name="Google Shape;51403;p84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04" name="Google Shape;51404;p84"/>
          <p:cNvSpPr txBox="1"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04815" lvl="0" indent="-152408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 b="1"/>
            </a:lvl1pPr>
            <a:lvl2pPr marL="609630" lvl="1" indent="-152408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333" b="1"/>
            </a:lvl2pPr>
            <a:lvl3pPr marL="914446" lvl="2" indent="-152408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200" b="1"/>
            </a:lvl3pPr>
            <a:lvl4pPr marL="1219261" lvl="3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4pPr>
            <a:lvl5pPr marL="1524076" lvl="4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5pPr>
            <a:lvl6pPr marL="1828891" lvl="5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6pPr>
            <a:lvl7pPr marL="2133707" lvl="6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7pPr>
            <a:lvl8pPr marL="2438522" lvl="7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8pPr>
            <a:lvl9pPr marL="2743337" lvl="8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9pPr>
          </a:lstStyle>
          <a:p>
            <a:endParaRPr/>
          </a:p>
        </p:txBody>
      </p:sp>
      <p:sp>
        <p:nvSpPr>
          <p:cNvPr id="51405" name="Google Shape;51405;p84"/>
          <p:cNvSpPr txBox="1">
            <a:spLocks noGrp="1"/>
          </p:cNvSpPr>
          <p:nvPr>
            <p:ph type="body" idx="2"/>
          </p:nvPr>
        </p:nvSpPr>
        <p:spPr>
          <a:xfrm>
            <a:off x="304800" y="1449917"/>
            <a:ext cx="2693459" cy="2634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54013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600"/>
            </a:lvl1pPr>
            <a:lvl2pPr marL="609630" lvl="1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333"/>
            </a:lvl2pPr>
            <a:lvl3pPr marL="914446" lvl="2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3pPr>
            <a:lvl4pPr marL="1219261" lvl="3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067"/>
            </a:lvl4pPr>
            <a:lvl5pPr marL="1524076" lvl="4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067"/>
            </a:lvl5pPr>
            <a:lvl6pPr marL="1828891" lvl="5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6pPr>
            <a:lvl7pPr marL="2133707" lvl="6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7pPr>
            <a:lvl8pPr marL="2438522" lvl="7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8pPr>
            <a:lvl9pPr marL="2743337" lvl="8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9pPr>
          </a:lstStyle>
          <a:p>
            <a:endParaRPr/>
          </a:p>
        </p:txBody>
      </p:sp>
      <p:sp>
        <p:nvSpPr>
          <p:cNvPr id="51406" name="Google Shape;51406;p84"/>
          <p:cNvSpPr txBox="1">
            <a:spLocks noGrp="1"/>
          </p:cNvSpPr>
          <p:nvPr>
            <p:ph type="body" idx="3"/>
          </p:nvPr>
        </p:nvSpPr>
        <p:spPr>
          <a:xfrm>
            <a:off x="3096684" y="1023409"/>
            <a:ext cx="2694517" cy="426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04815" lvl="0" indent="-152408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 b="1"/>
            </a:lvl1pPr>
            <a:lvl2pPr marL="609630" lvl="1" indent="-152408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333" b="1"/>
            </a:lvl2pPr>
            <a:lvl3pPr marL="914446" lvl="2" indent="-152408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200" b="1"/>
            </a:lvl3pPr>
            <a:lvl4pPr marL="1219261" lvl="3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4pPr>
            <a:lvl5pPr marL="1524076" lvl="4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5pPr>
            <a:lvl6pPr marL="1828891" lvl="5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6pPr>
            <a:lvl7pPr marL="2133707" lvl="6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7pPr>
            <a:lvl8pPr marL="2438522" lvl="7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8pPr>
            <a:lvl9pPr marL="2743337" lvl="8" indent="-152408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067" b="1"/>
            </a:lvl9pPr>
          </a:lstStyle>
          <a:p>
            <a:endParaRPr/>
          </a:p>
        </p:txBody>
      </p:sp>
      <p:sp>
        <p:nvSpPr>
          <p:cNvPr id="51407" name="Google Shape;51407;p84"/>
          <p:cNvSpPr txBox="1">
            <a:spLocks noGrp="1"/>
          </p:cNvSpPr>
          <p:nvPr>
            <p:ph type="body" idx="4"/>
          </p:nvPr>
        </p:nvSpPr>
        <p:spPr>
          <a:xfrm>
            <a:off x="3096684" y="1449917"/>
            <a:ext cx="2694517" cy="2634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54013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600"/>
            </a:lvl1pPr>
            <a:lvl2pPr marL="609630" lvl="1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333"/>
            </a:lvl2pPr>
            <a:lvl3pPr marL="914446" lvl="2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200"/>
            </a:lvl3pPr>
            <a:lvl4pPr marL="1219261" lvl="3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067"/>
            </a:lvl4pPr>
            <a:lvl5pPr marL="1524076" lvl="4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067"/>
            </a:lvl5pPr>
            <a:lvl6pPr marL="1828891" lvl="5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6pPr>
            <a:lvl7pPr marL="2133707" lvl="6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7pPr>
            <a:lvl8pPr marL="2438522" lvl="7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8pPr>
            <a:lvl9pPr marL="2743337" lvl="8" indent="-22014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067"/>
            </a:lvl9pPr>
          </a:lstStyle>
          <a:p>
            <a:endParaRPr/>
          </a:p>
        </p:txBody>
      </p:sp>
      <p:sp>
        <p:nvSpPr>
          <p:cNvPr id="51408" name="Google Shape;51408;p84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09" name="Google Shape;51409;p84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10" name="Google Shape;51410;p84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12" name="Google Shape;51412;p85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13" name="Google Shape;51413;p85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14" name="Google Shape;51414;p85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15" name="Google Shape;51415;p85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17" name="Google Shape;51417;p86"/>
          <p:cNvSpPr txBox="1"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1333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18" name="Google Shape;51418;p86"/>
          <p:cNvSpPr txBox="1">
            <a:spLocks noGrp="1"/>
          </p:cNvSpPr>
          <p:nvPr>
            <p:ph type="body" idx="1"/>
          </p:nvPr>
        </p:nvSpPr>
        <p:spPr>
          <a:xfrm>
            <a:off x="2383367" y="182034"/>
            <a:ext cx="3407833" cy="390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87881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133"/>
            </a:lvl1pPr>
            <a:lvl2pPr marL="609630" lvl="1" indent="-270947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1867"/>
            </a:lvl2pPr>
            <a:lvl3pPr marL="914446" lvl="2" indent="-254013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600"/>
            </a:lvl3pPr>
            <a:lvl4pPr marL="1219261" lvl="3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333"/>
            </a:lvl4pPr>
            <a:lvl5pPr marL="1524076" lvl="4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1333"/>
            </a:lvl5pPr>
            <a:lvl6pPr marL="1828891" lvl="5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6pPr>
            <a:lvl7pPr marL="2133707" lvl="6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7pPr>
            <a:lvl8pPr marL="2438522" lvl="7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8pPr>
            <a:lvl9pPr marL="2743337" lvl="8" indent="-23707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333"/>
            </a:lvl9pPr>
          </a:lstStyle>
          <a:p>
            <a:endParaRPr/>
          </a:p>
        </p:txBody>
      </p:sp>
      <p:sp>
        <p:nvSpPr>
          <p:cNvPr id="51419" name="Google Shape;51419;p86"/>
          <p:cNvSpPr txBox="1">
            <a:spLocks noGrp="1"/>
          </p:cNvSpPr>
          <p:nvPr>
            <p:ph type="body" idx="2"/>
          </p:nvPr>
        </p:nvSpPr>
        <p:spPr>
          <a:xfrm>
            <a:off x="304800" y="956734"/>
            <a:ext cx="2005542" cy="312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933"/>
            </a:lvl1pPr>
            <a:lvl2pPr marL="609630" lvl="1" indent="-152408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800"/>
            </a:lvl2pPr>
            <a:lvl3pPr marL="914446" lvl="2" indent="-152408" algn="l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667"/>
            </a:lvl3pPr>
            <a:lvl4pPr marL="1219261" lvl="3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4pPr>
            <a:lvl5pPr marL="1524076" lvl="4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5pPr>
            <a:lvl6pPr marL="1828891" lvl="5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6pPr>
            <a:lvl7pPr marL="2133707" lvl="6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7pPr>
            <a:lvl8pPr marL="2438522" lvl="7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8pPr>
            <a:lvl9pPr marL="2743337" lvl="8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9pPr>
          </a:lstStyle>
          <a:p>
            <a:endParaRPr/>
          </a:p>
        </p:txBody>
      </p:sp>
      <p:sp>
        <p:nvSpPr>
          <p:cNvPr id="51420" name="Google Shape;51420;p86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21" name="Google Shape;51421;p86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22" name="Google Shape;51422;p86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51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24" name="Google Shape;51424;p87"/>
          <p:cNvSpPr txBox="1"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1333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25" name="Google Shape;51425;p87"/>
          <p:cNvSpPr>
            <a:spLocks noGrp="1"/>
          </p:cNvSpPr>
          <p:nvPr>
            <p:ph type="pic" idx="2"/>
          </p:nvPr>
        </p:nvSpPr>
        <p:spPr>
          <a:xfrm>
            <a:off x="1194859" y="408517"/>
            <a:ext cx="3657600" cy="2743200"/>
          </a:xfrm>
          <a:prstGeom prst="rect">
            <a:avLst/>
          </a:prstGeom>
          <a:noFill/>
          <a:ln>
            <a:noFill/>
          </a:ln>
        </p:spPr>
      </p:sp>
      <p:sp>
        <p:nvSpPr>
          <p:cNvPr id="51426" name="Google Shape;51426;p87"/>
          <p:cNvSpPr txBox="1">
            <a:spLocks noGrp="1"/>
          </p:cNvSpPr>
          <p:nvPr>
            <p:ph type="body" idx="1"/>
          </p:nvPr>
        </p:nvSpPr>
        <p:spPr>
          <a:xfrm>
            <a:off x="1194859" y="3578225"/>
            <a:ext cx="3657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152408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933"/>
            </a:lvl1pPr>
            <a:lvl2pPr marL="609630" lvl="1" indent="-152408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800"/>
            </a:lvl2pPr>
            <a:lvl3pPr marL="914446" lvl="2" indent="-152408" algn="l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667"/>
            </a:lvl3pPr>
            <a:lvl4pPr marL="1219261" lvl="3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4pPr>
            <a:lvl5pPr marL="1524076" lvl="4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5pPr>
            <a:lvl6pPr marL="1828891" lvl="5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6pPr>
            <a:lvl7pPr marL="2133707" lvl="6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7pPr>
            <a:lvl8pPr marL="2438522" lvl="7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8pPr>
            <a:lvl9pPr marL="2743337" lvl="8" indent="-152408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00"/>
            </a:lvl9pPr>
          </a:lstStyle>
          <a:p>
            <a:endParaRPr/>
          </a:p>
        </p:txBody>
      </p:sp>
      <p:sp>
        <p:nvSpPr>
          <p:cNvPr id="51427" name="Google Shape;51427;p87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28" name="Google Shape;51428;p87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29" name="Google Shape;51429;p87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5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31" name="Google Shape;51431;p88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32" name="Google Shape;51432;p88"/>
          <p:cNvSpPr txBox="1">
            <a:spLocks noGrp="1"/>
          </p:cNvSpPr>
          <p:nvPr>
            <p:ph type="body" idx="1"/>
          </p:nvPr>
        </p:nvSpPr>
        <p:spPr>
          <a:xfrm rot="5400000">
            <a:off x="1539346" y="-167745"/>
            <a:ext cx="3017309" cy="54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09630" lvl="1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914446" lvl="2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219261" lvl="3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524076" lvl="4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1828891" lvl="5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133707" lvl="6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438522" lvl="7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743337" lvl="8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433" name="Google Shape;51433;p88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34" name="Google Shape;51434;p88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35" name="Google Shape;51435;p88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51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37" name="Google Shape;51437;p89"/>
          <p:cNvSpPr txBox="1">
            <a:spLocks noGrp="1"/>
          </p:cNvSpPr>
          <p:nvPr>
            <p:ph type="title"/>
          </p:nvPr>
        </p:nvSpPr>
        <p:spPr>
          <a:xfrm rot="5400000">
            <a:off x="3154892" y="1447801"/>
            <a:ext cx="3901017" cy="13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38" name="Google Shape;51438;p89"/>
          <p:cNvSpPr txBox="1">
            <a:spLocks noGrp="1"/>
          </p:cNvSpPr>
          <p:nvPr>
            <p:ph type="body" idx="1"/>
          </p:nvPr>
        </p:nvSpPr>
        <p:spPr>
          <a:xfrm rot="5400000">
            <a:off x="360892" y="127000"/>
            <a:ext cx="3901017" cy="40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04815" lvl="0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09630" lvl="1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914446" lvl="2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219261" lvl="3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524076" lvl="4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1828891" lvl="5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133707" lvl="6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438522" lvl="7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2743337" lvl="8" indent="-228611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439" name="Google Shape;51439;p89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40" name="Google Shape;51440;p89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41" name="Google Shape;51441;p89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3" name="Google Shape;2133;p15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15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5" name="Google Shape;2135;p15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7" name="Google Shape;2137;p30"/>
          <p:cNvSpPr txBox="1"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8" name="Google Shape;2138;p30"/>
          <p:cNvSpPr txBox="1"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8888"/>
              </a:buClr>
              <a:buSzPts val="32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888888"/>
              </a:buClr>
              <a:buSzPts val="2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139" name="Google Shape;2139;p30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0" name="Google Shape;2140;p30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1" name="Google Shape;2141;p30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3" name="Google Shape;2143;p31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4" name="Google Shape;2144;p31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5" name="Google Shape;2145;p31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6" name="Google Shape;2146;p31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7" name="Google Shape;2147;p31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9" name="Google Shape;2149;p32"/>
          <p:cNvSpPr txBox="1"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67"/>
              <a:buFont typeface="Calibri"/>
              <a:buNone/>
              <a:defRPr sz="2667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0" name="Google Shape;2150;p32"/>
          <p:cNvSpPr txBox="1"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888888"/>
              </a:buClr>
              <a:buSzPts val="1333"/>
              <a:buNone/>
              <a:defRPr sz="1333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067"/>
              <a:buNone/>
              <a:defRPr sz="1067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None/>
              <a:defRPr sz="933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151" name="Google Shape;2151;p32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2" name="Google Shape;2152;p32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3" name="Google Shape;2153;p32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2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3" name="Google Shape;2673;g3681a448973_2_1565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74" name="Google Shape;2674;g3681a448973_2_15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75" name="Google Shape;2675;g3681a448973_2_156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76" name="Google Shape;2676;g3681a448973_2_156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7" name="Google Shape;2677;g3681a448973_2_156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8" name="Google Shape;2678;g3681a448973_2_156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9" name="Google Shape;2679;g3681a448973_2_156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0" name="Google Shape;2680;g3681a448973_2_156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1" name="Google Shape;2681;g3681a448973_2_156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5" name="Google Shape;2155;p33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6" name="Google Shape;2156;p33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2692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7154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 sz="1867"/>
            </a:lvl1pPr>
            <a:lvl2pPr marL="914400" lvl="1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2pPr>
            <a:lvl3pPr marL="1371600" lvl="2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3pPr>
            <a:lvl4pPr marL="1828800" lvl="3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»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157" name="Google Shape;2157;p33"/>
          <p:cNvSpPr txBox="1">
            <a:spLocks noGrp="1"/>
          </p:cNvSpPr>
          <p:nvPr>
            <p:ph type="body" idx="2"/>
          </p:nvPr>
        </p:nvSpPr>
        <p:spPr>
          <a:xfrm>
            <a:off x="3098800" y="1066800"/>
            <a:ext cx="2692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7154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 sz="1867"/>
            </a:lvl1pPr>
            <a:lvl2pPr marL="914400" lvl="1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2pPr>
            <a:lvl3pPr marL="1371600" lvl="2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3pPr>
            <a:lvl4pPr marL="1828800" lvl="3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»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158" name="Google Shape;2158;p33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9" name="Google Shape;2159;p33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0" name="Google Shape;2160;p33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2" name="Google Shape;2162;p34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3" name="Google Shape;2163;p34"/>
          <p:cNvSpPr txBox="1"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None/>
              <a:defRPr sz="1333" b="1"/>
            </a:lvl2pPr>
            <a:lvl3pPr marL="1371600" lvl="2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3pPr>
            <a:lvl4pPr marL="1828800" lvl="3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4pPr>
            <a:lvl5pPr marL="2286000" lvl="4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5pPr>
            <a:lvl6pPr marL="2743200" lvl="5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6pPr>
            <a:lvl7pPr marL="3200400" lvl="6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7pPr>
            <a:lvl8pPr marL="3657600" lvl="7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8pPr>
            <a:lvl9pPr marL="4114800" lvl="8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9pPr>
          </a:lstStyle>
          <a:p>
            <a:endParaRPr/>
          </a:p>
        </p:txBody>
      </p:sp>
      <p:sp>
        <p:nvSpPr>
          <p:cNvPr id="2164" name="Google Shape;2164;p34"/>
          <p:cNvSpPr txBox="1">
            <a:spLocks noGrp="1"/>
          </p:cNvSpPr>
          <p:nvPr>
            <p:ph type="body" idx="2"/>
          </p:nvPr>
        </p:nvSpPr>
        <p:spPr>
          <a:xfrm>
            <a:off x="304800" y="1449917"/>
            <a:ext cx="2693459" cy="2634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1pPr>
            <a:lvl2pPr marL="914400" lvl="1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–"/>
              <a:defRPr sz="1333"/>
            </a:lvl2pPr>
            <a:lvl3pPr marL="1371600" lvl="2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–"/>
              <a:defRPr sz="1067"/>
            </a:lvl4pPr>
            <a:lvl5pPr marL="2286000" lvl="4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»"/>
              <a:defRPr sz="1067"/>
            </a:lvl5pPr>
            <a:lvl6pPr marL="2743200" lvl="5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6pPr>
            <a:lvl7pPr marL="3200400" lvl="6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7pPr>
            <a:lvl8pPr marL="3657600" lvl="7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8pPr>
            <a:lvl9pPr marL="4114800" lvl="8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9pPr>
          </a:lstStyle>
          <a:p>
            <a:endParaRPr/>
          </a:p>
        </p:txBody>
      </p:sp>
      <p:sp>
        <p:nvSpPr>
          <p:cNvPr id="2165" name="Google Shape;2165;p34"/>
          <p:cNvSpPr txBox="1">
            <a:spLocks noGrp="1"/>
          </p:cNvSpPr>
          <p:nvPr>
            <p:ph type="body" idx="3"/>
          </p:nvPr>
        </p:nvSpPr>
        <p:spPr>
          <a:xfrm>
            <a:off x="3096684" y="1023409"/>
            <a:ext cx="2694517" cy="426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None/>
              <a:defRPr sz="1333" b="1"/>
            </a:lvl2pPr>
            <a:lvl3pPr marL="1371600" lvl="2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3pPr>
            <a:lvl4pPr marL="1828800" lvl="3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4pPr>
            <a:lvl5pPr marL="2286000" lvl="4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5pPr>
            <a:lvl6pPr marL="2743200" lvl="5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6pPr>
            <a:lvl7pPr marL="3200400" lvl="6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7pPr>
            <a:lvl8pPr marL="3657600" lvl="7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8pPr>
            <a:lvl9pPr marL="4114800" lvl="8" indent="-228600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None/>
              <a:defRPr sz="1067" b="1"/>
            </a:lvl9pPr>
          </a:lstStyle>
          <a:p>
            <a:endParaRPr/>
          </a:p>
        </p:txBody>
      </p:sp>
      <p:sp>
        <p:nvSpPr>
          <p:cNvPr id="2166" name="Google Shape;2166;p34"/>
          <p:cNvSpPr txBox="1">
            <a:spLocks noGrp="1"/>
          </p:cNvSpPr>
          <p:nvPr>
            <p:ph type="body" idx="4"/>
          </p:nvPr>
        </p:nvSpPr>
        <p:spPr>
          <a:xfrm>
            <a:off x="3096684" y="1449917"/>
            <a:ext cx="2694517" cy="2634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1pPr>
            <a:lvl2pPr marL="914400" lvl="1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–"/>
              <a:defRPr sz="1333"/>
            </a:lvl2pPr>
            <a:lvl3pPr marL="1371600" lvl="2" indent="-3048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–"/>
              <a:defRPr sz="1067"/>
            </a:lvl4pPr>
            <a:lvl5pPr marL="2286000" lvl="4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»"/>
              <a:defRPr sz="1067"/>
            </a:lvl5pPr>
            <a:lvl6pPr marL="2743200" lvl="5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6pPr>
            <a:lvl7pPr marL="3200400" lvl="6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7pPr>
            <a:lvl8pPr marL="3657600" lvl="7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8pPr>
            <a:lvl9pPr marL="4114800" lvl="8" indent="-296354" algn="l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1067"/>
              <a:buChar char="•"/>
              <a:defRPr sz="1067"/>
            </a:lvl9pPr>
          </a:lstStyle>
          <a:p>
            <a:endParaRPr/>
          </a:p>
        </p:txBody>
      </p:sp>
      <p:sp>
        <p:nvSpPr>
          <p:cNvPr id="2167" name="Google Shape;2167;p34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8" name="Google Shape;2168;p34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9" name="Google Shape;2169;p34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1" name="Google Shape;2171;p35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35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3" name="Google Shape;2173;p35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4" name="Google Shape;2174;p35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6" name="Google Shape;2176;p36"/>
          <p:cNvSpPr txBox="1"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33"/>
              <a:buFont typeface="Calibri"/>
              <a:buNone/>
              <a:defRPr sz="1333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7" name="Google Shape;2177;p36"/>
          <p:cNvSpPr txBox="1">
            <a:spLocks noGrp="1"/>
          </p:cNvSpPr>
          <p:nvPr>
            <p:ph type="body" idx="1"/>
          </p:nvPr>
        </p:nvSpPr>
        <p:spPr>
          <a:xfrm>
            <a:off x="2383367" y="182034"/>
            <a:ext cx="3407833" cy="390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4045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Char char="•"/>
              <a:defRPr sz="2133"/>
            </a:lvl1pPr>
            <a:lvl2pPr marL="914400" lvl="1" indent="-347154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–"/>
              <a:defRPr sz="1867"/>
            </a:lvl2pPr>
            <a:lvl3pPr marL="1371600" lvl="2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–"/>
              <a:defRPr sz="1333"/>
            </a:lvl4pPr>
            <a:lvl5pPr marL="2286000" lvl="4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»"/>
              <a:defRPr sz="1333"/>
            </a:lvl5pPr>
            <a:lvl6pPr marL="2743200" lvl="5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6pPr>
            <a:lvl7pPr marL="3200400" lvl="6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7pPr>
            <a:lvl8pPr marL="3657600" lvl="7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8pPr>
            <a:lvl9pPr marL="4114800" lvl="8" indent="-31324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33"/>
              <a:buChar char="•"/>
              <a:defRPr sz="1333"/>
            </a:lvl9pPr>
          </a:lstStyle>
          <a:p>
            <a:endParaRPr/>
          </a:p>
        </p:txBody>
      </p:sp>
      <p:sp>
        <p:nvSpPr>
          <p:cNvPr id="2178" name="Google Shape;2178;p36"/>
          <p:cNvSpPr txBox="1">
            <a:spLocks noGrp="1"/>
          </p:cNvSpPr>
          <p:nvPr>
            <p:ph type="body" idx="2"/>
          </p:nvPr>
        </p:nvSpPr>
        <p:spPr>
          <a:xfrm>
            <a:off x="304800" y="956734"/>
            <a:ext cx="2005542" cy="312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chemeClr val="dk1"/>
              </a:buClr>
              <a:buSzPts val="933"/>
              <a:buNone/>
              <a:defRPr sz="933"/>
            </a:lvl1pPr>
            <a:lvl2pPr marL="914400" lvl="1" indent="-228600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2pPr>
            <a:lvl3pPr marL="1371600" lvl="2" indent="-228600" algn="l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67"/>
              <a:buNone/>
              <a:defRPr sz="667"/>
            </a:lvl3pPr>
            <a:lvl4pPr marL="1828800" lvl="3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4pPr>
            <a:lvl5pPr marL="2286000" lvl="4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5pPr>
            <a:lvl6pPr marL="2743200" lvl="5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6pPr>
            <a:lvl7pPr marL="3200400" lvl="6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7pPr>
            <a:lvl8pPr marL="3657600" lvl="7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8pPr>
            <a:lvl9pPr marL="4114800" lvl="8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9pPr>
          </a:lstStyle>
          <a:p>
            <a:endParaRPr/>
          </a:p>
        </p:txBody>
      </p:sp>
      <p:sp>
        <p:nvSpPr>
          <p:cNvPr id="2179" name="Google Shape;2179;p36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0" name="Google Shape;2180;p36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1" name="Google Shape;2181;p36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2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3" name="Google Shape;2183;p37"/>
          <p:cNvSpPr txBox="1"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33"/>
              <a:buFont typeface="Calibri"/>
              <a:buNone/>
              <a:defRPr sz="1333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4" name="Google Shape;2184;p37"/>
          <p:cNvSpPr>
            <a:spLocks noGrp="1"/>
          </p:cNvSpPr>
          <p:nvPr>
            <p:ph type="pic" idx="2"/>
          </p:nvPr>
        </p:nvSpPr>
        <p:spPr>
          <a:xfrm>
            <a:off x="1194859" y="408517"/>
            <a:ext cx="3657600" cy="2743200"/>
          </a:xfrm>
          <a:prstGeom prst="rect">
            <a:avLst/>
          </a:prstGeom>
          <a:noFill/>
          <a:ln>
            <a:noFill/>
          </a:ln>
        </p:spPr>
      </p:sp>
      <p:sp>
        <p:nvSpPr>
          <p:cNvPr id="2185" name="Google Shape;2185;p37"/>
          <p:cNvSpPr txBox="1">
            <a:spLocks noGrp="1"/>
          </p:cNvSpPr>
          <p:nvPr>
            <p:ph type="body" idx="1"/>
          </p:nvPr>
        </p:nvSpPr>
        <p:spPr>
          <a:xfrm>
            <a:off x="1194859" y="3578225"/>
            <a:ext cx="3657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87"/>
              </a:spcBef>
              <a:spcAft>
                <a:spcPts val="0"/>
              </a:spcAft>
              <a:buClr>
                <a:schemeClr val="dk1"/>
              </a:buClr>
              <a:buSzPts val="933"/>
              <a:buNone/>
              <a:defRPr sz="933"/>
            </a:lvl1pPr>
            <a:lvl2pPr marL="914400" lvl="1" indent="-228600" algn="l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2pPr>
            <a:lvl3pPr marL="1371600" lvl="2" indent="-228600" algn="l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67"/>
              <a:buNone/>
              <a:defRPr sz="667"/>
            </a:lvl3pPr>
            <a:lvl4pPr marL="1828800" lvl="3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4pPr>
            <a:lvl5pPr marL="2286000" lvl="4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5pPr>
            <a:lvl6pPr marL="2743200" lvl="5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6pPr>
            <a:lvl7pPr marL="3200400" lvl="6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7pPr>
            <a:lvl8pPr marL="3657600" lvl="7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8pPr>
            <a:lvl9pPr marL="4114800" lvl="8" indent="-228600" algn="l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>
                <a:schemeClr val="dk1"/>
              </a:buClr>
              <a:buSzPts val="600"/>
              <a:buNone/>
              <a:defRPr sz="600"/>
            </a:lvl9pPr>
          </a:lstStyle>
          <a:p>
            <a:endParaRPr/>
          </a:p>
        </p:txBody>
      </p:sp>
      <p:sp>
        <p:nvSpPr>
          <p:cNvPr id="2186" name="Google Shape;2186;p37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7" name="Google Shape;2187;p37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8" name="Google Shape;2188;p37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2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0" name="Google Shape;2190;p38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1" name="Google Shape;2191;p38"/>
          <p:cNvSpPr txBox="1">
            <a:spLocks noGrp="1"/>
          </p:cNvSpPr>
          <p:nvPr>
            <p:ph type="body" idx="1"/>
          </p:nvPr>
        </p:nvSpPr>
        <p:spPr>
          <a:xfrm rot="5400000">
            <a:off x="1539346" y="-167746"/>
            <a:ext cx="3017309" cy="54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2" name="Google Shape;2192;p38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3" name="Google Shape;2193;p38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4" name="Google Shape;2194;p38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2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6" name="Google Shape;2196;p39"/>
          <p:cNvSpPr txBox="1">
            <a:spLocks noGrp="1"/>
          </p:cNvSpPr>
          <p:nvPr>
            <p:ph type="title"/>
          </p:nvPr>
        </p:nvSpPr>
        <p:spPr>
          <a:xfrm rot="5400000">
            <a:off x="3154892" y="1447800"/>
            <a:ext cx="3901017" cy="13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39"/>
          <p:cNvSpPr txBox="1">
            <a:spLocks noGrp="1"/>
          </p:cNvSpPr>
          <p:nvPr>
            <p:ph type="body" idx="1"/>
          </p:nvPr>
        </p:nvSpPr>
        <p:spPr>
          <a:xfrm rot="5400000">
            <a:off x="360892" y="127000"/>
            <a:ext cx="3901017" cy="40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39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9" name="Google Shape;2199;p39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0" name="Google Shape;2200;p39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2" name="Google Shape;9462;p42"/>
          <p:cNvSpPr txBox="1">
            <a:spLocks noGrp="1"/>
          </p:cNvSpPr>
          <p:nvPr>
            <p:ph type="body" idx="1"/>
          </p:nvPr>
        </p:nvSpPr>
        <p:spPr>
          <a:xfrm>
            <a:off x="457201" y="1146258"/>
            <a:ext cx="235016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9463" name="Google Shape;9463;p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9464" name="Google Shape;9464;p42"/>
          <p:cNvGrpSpPr/>
          <p:nvPr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9465" name="Google Shape;9465;p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76923C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66" name="Google Shape;9466;p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467" name="Google Shape;9467;p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27699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9468" name="Google Shape;9468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9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0" name="Google Shape;9470;p43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1" name="Google Shape;9471;p43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2" name="Google Shape;9472;p43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3" name="Google Shape;9473;p4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4" name="Google Shape;9474;p43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6" name="Google Shape;9476;p44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7" name="Google Shape;9477;p4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8" name="Google Shape;9478;p44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1" name="Google Shape;281;g3681a448973_2_1326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82" name="Google Shape;282;g3681a448973_2_13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3" name="Google Shape;283;g3681a448973_2_132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4" name="Google Shape;284;g3681a448973_2_132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285;g3681a448973_2_132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6" name="Google Shape;286;g3681a448973_2_132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g3681a448973_2_132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g3681a448973_2_132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9" name="Google Shape;289;g3681a448973_2_132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" name="Google Shape;290;g3681a448973_2_132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2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83" name="Google Shape;2683;g3681a448973_2_156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84" name="Google Shape;2684;g3681a448973_2_156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5" name="Google Shape;2685;g3681a448973_2_156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86" name="Google Shape;2686;g3681a448973_2_1566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7" name="Google Shape;2687;g3681a448973_2_156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8" name="Google Shape;2688;g3681a448973_2_156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9" name="Google Shape;2689;g3681a448973_2_156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90" name="Google Shape;2690;g3681a448973_2_156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dk2"/>
        </a:solidFill>
        <a:effectLst/>
      </p:bgPr>
    </p:bg>
    <p:spTree>
      <p:nvGrpSpPr>
        <p:cNvPr id="1" name="Shape 9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0" name="Google Shape;9480;p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81" name="Google Shape;9481;p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82" name="Google Shape;9482;p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76923C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83" name="Google Shape;9483;p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84" name="Google Shape;9484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85" name="Google Shape;9485;p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6" name="Google Shape;9486;p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8" name="Google Shape;9488;p67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9" name="Google Shape;9489;p67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0" name="Google Shape;9490;p67"/>
          <p:cNvSpPr txBox="1">
            <a:spLocks noGrp="1"/>
          </p:cNvSpPr>
          <p:nvPr>
            <p:ph type="body" idx="2"/>
          </p:nvPr>
        </p:nvSpPr>
        <p:spPr>
          <a:xfrm>
            <a:off x="6868159" y="1152207"/>
            <a:ext cx="4359909" cy="417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50" b="1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1" name="Google Shape;9491;p6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2" name="Google Shape;9492;p67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3" name="Google Shape;9493;p67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5" name="Google Shape;9495;p68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6" name="Google Shape;9496;p6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7" name="Google Shape;9497;p6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8" name="Google Shape;9498;p68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BLANK">
    <p:spTree>
      <p:nvGrpSpPr>
        <p:cNvPr id="1" name="Shape 9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0" name="Google Shape;9500;p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1" name="Google Shape;9501;p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F4F3E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502" name="Google Shape;9502;p6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03" name="Google Shape;9503;p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04" name="Google Shape;9504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5" name="Google Shape;9505;p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06" name="Google Shape;9506;p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76923C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07" name="Google Shape;9507;p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2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2" name="Google Shape;2692;g3681a448973_2_156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93" name="Google Shape;2693;g3681a448973_2_156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94" name="Google Shape;2694;g3681a448973_2_156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95" name="Google Shape;2695;g3681a448973_2_156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96" name="Google Shape;2696;g3681a448973_2_156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7" name="Google Shape;2697;g3681a448973_2_156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98" name="Google Shape;2698;g3681a448973_2_156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9" name="Google Shape;2699;g3681a448973_2_156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2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1" name="Google Shape;2701;g3681a448973_2_1568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2" name="Google Shape;2702;g3681a448973_2_156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3" name="Google Shape;2703;g3681a448973_2_156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04" name="Google Shape;2704;g3681a448973_2_156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05" name="Google Shape;2705;g3681a448973_2_156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06" name="Google Shape;2706;g3681a448973_2_156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7" name="Google Shape;2707;g3681a448973_2_156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08" name="Google Shape;2708;g3681a448973_2_156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0" name="Google Shape;2710;g3681a448973_2_1569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11" name="Google Shape;2711;g3681a448973_2_1569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2" name="Google Shape;2712;g3681a448973_2_156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3" name="Google Shape;2713;g3681a448973_2_1569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14" name="Google Shape;2714;g3681a448973_2_15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15" name="Google Shape;2715;g3681a448973_2_1569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6" name="Google Shape;2716;g3681a448973_2_1569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2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8" name="Google Shape;2718;g3681a448973_2_1570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19" name="Google Shape;2719;g3681a448973_2_1570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0" name="Google Shape;2720;g3681a448973_2_1570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21" name="Google Shape;2721;g3681a448973_2_1570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2" name="Google Shape;2722;g3681a448973_2_1570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23" name="Google Shape;2723;g3681a448973_2_1570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724" name="Google Shape;2724;g3681a448973_2_157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2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6" name="Google Shape;2726;g3681a448973_2_1571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27" name="Google Shape;2727;g3681a448973_2_157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8" name="Google Shape;2728;g3681a448973_2_157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29" name="Google Shape;2729;g3681a448973_2_157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0" name="Google Shape;2730;g3681a448973_2_157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31" name="Google Shape;2731;g3681a448973_2_157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32" name="Google Shape;2732;g3681a448973_2_157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33" name="Google Shape;2733;g3681a448973_2_15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34" name="Google Shape;2734;g3681a448973_2_157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35" name="Google Shape;2735;g3681a448973_2_157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6" name="Google Shape;2736;g3681a448973_2_157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37" name="Google Shape;2737;g3681a448973_2_157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2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39" name="Google Shape;2739;g3681a448973_2_157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40" name="Google Shape;2740;g3681a448973_2_15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1" name="Google Shape;2741;g3681a448973_2_157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42" name="Google Shape;2742;g3681a448973_2_15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3" name="Google Shape;2743;g3681a448973_2_15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4" name="Google Shape;2744;g3681a448973_2_157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5" name="Google Shape;2745;g3681a448973_2_157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46" name="Google Shape;2746;g3681a448973_2_15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47" name="Google Shape;2747;g3681a448973_2_15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8" name="Google Shape;2748;g3681a448973_2_15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2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0" name="Google Shape;2750;g3681a448973_2_157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1" name="Google Shape;2751;g3681a448973_2_157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752" name="Google Shape;2752;g3681a448973_2_1573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53" name="Google Shape;2753;g3681a448973_2_157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54" name="Google Shape;2754;g3681a448973_2_157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55" name="Google Shape;2755;g3681a448973_2_157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6" name="Google Shape;2756;g3681a448973_2_157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57" name="Google Shape;2757;g3681a448973_2_157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8" name="Google Shape;2758;g3681a448973_2_157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59" name="Google Shape;2759;g3681a448973_2_157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60" name="Google Shape;2760;g3681a448973_2_157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2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2" name="Google Shape;2762;g3681a448973_2_1574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63" name="Google Shape;2763;g3681a448973_2_15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4" name="Google Shape;2764;g3681a448973_2_157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65" name="Google Shape;2765;g3681a448973_2_157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6" name="Google Shape;2766;g3681a448973_2_157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67" name="Google Shape;2767;g3681a448973_2_157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8" name="Google Shape;2768;g3681a448973_2_157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9" name="Google Shape;2769;g3681a448973_2_157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0" name="Google Shape;2770;g3681a448973_2_157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71" name="Google Shape;2771;g3681a448973_2_157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2" name="Google Shape;2772;g3681a448973_2_157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3" name="Google Shape;2773;g3681a448973_2_157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4" name="Google Shape;2774;g3681a448973_2_157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2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6" name="Google Shape;2776;g3681a448973_2_1576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77" name="Google Shape;2777;g3681a448973_2_15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8" name="Google Shape;2778;g3681a448973_2_157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79" name="Google Shape;2779;g3681a448973_2_157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0" name="Google Shape;2780;g3681a448973_2_157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81" name="Google Shape;2781;g3681a448973_2_157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2" name="Google Shape;2782;g3681a448973_2_157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3" name="Google Shape;2783;g3681a448973_2_157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4" name="Google Shape;2784;g3681a448973_2_157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81a448973_2_132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g3681a448973_2_1327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4" name="Google Shape;294;g3681a448973_2_132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95" name="Google Shape;295;g3681a448973_2_13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6" name="Google Shape;296;g3681a448973_2_132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7" name="Google Shape;297;g3681a448973_2_13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g3681a448973_2_13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9" name="Google Shape;299;g3681a448973_2_1327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0" name="Google Shape;300;g3681a448973_2_1327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" name="Google Shape;301;g3681a448973_2_13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2" name="Google Shape;302;g3681a448973_2_13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2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6" name="Google Shape;2786;g3681a448973_2_157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87" name="Google Shape;2787;g3681a448973_2_157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8" name="Google Shape;2788;g3681a448973_2_157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89" name="Google Shape;2789;g3681a448973_2_1577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90" name="Google Shape;2790;g3681a448973_2_157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1" name="Google Shape;2791;g3681a448973_2_157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92" name="Google Shape;2792;g3681a448973_2_157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93" name="Google Shape;2793;g3681a448973_2_157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2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" name="Google Shape;2795;g3681a448973_2_15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6" name="Google Shape;2796;g3681a448973_2_15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7" name="Google Shape;2797;g3681a448973_2_15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98" name="Google Shape;2798;g3681a448973_2_157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99" name="Google Shape;2799;g3681a448973_2_15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0" name="Google Shape;2800;g3681a448973_2_157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01" name="Google Shape;2801;g3681a448973_2_15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2" name="Google Shape;2802;g3681a448973_2_15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2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4" name="Google Shape;2804;g3681a448973_2_1579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5" name="Google Shape;2805;g3681a448973_2_15790"/>
          <p:cNvSpPr/>
          <p:nvPr/>
        </p:nvSpPr>
        <p:spPr>
          <a:xfrm>
            <a:off x="2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806" name="Google Shape;2806;g3681a448973_2_157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2807" name="Google Shape;2807;g3681a448973_2_15790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808" name="Google Shape;2808;g3681a448973_2_1579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2809" name="Google Shape;2809;g3681a448973_2_15790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0" name="Google Shape;2810;g3681a448973_2_15790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1" name="Google Shape;2811;g3681a448973_2_15790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2" name="Google Shape;2812;g3681a448973_2_15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3" name="Google Shape;2813;g3681a448973_2_1579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14" name="Google Shape;2814;g3681a448973_2_157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2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" name="Google Shape;2816;g3681a448973_2_1580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7" name="Google Shape;2817;g3681a448973_2_158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8" name="Google Shape;2818;g3681a448973_2_158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9" name="Google Shape;2819;g3681a448973_2_158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20" name="Google Shape;2820;g3681a448973_2_158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21" name="Google Shape;2821;g3681a448973_2_158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22" name="Google Shape;2822;g3681a448973_2_1580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23" name="Google Shape;2823;g3681a448973_2_158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24" name="Google Shape;2824;g3681a448973_2_158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25" name="Google Shape;2825;g3681a448973_2_158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6" name="Google Shape;2826;g3681a448973_2_158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27" name="Google Shape;2827;g3681a448973_2_158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2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9" name="Google Shape;2829;g3681a448973_2_158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0" name="Google Shape;2830;g3681a448973_2_158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31" name="Google Shape;2831;g3681a448973_2_1581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32" name="Google Shape;2832;g3681a448973_2_15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33" name="Google Shape;2833;g3681a448973_2_158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34" name="Google Shape;2834;g3681a448973_2_15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5" name="Google Shape;2835;g3681a448973_2_15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36" name="Google Shape;2836;g3681a448973_2_158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7" name="Google Shape;2837;g3681a448973_2_158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38" name="Google Shape;2838;g3681a448973_2_15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39" name="Google Shape;2839;g3681a448973_2_15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2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41" name="Google Shape;2841;g3681a448973_2_1582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42" name="Google Shape;2842;g3681a448973_2_158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3" name="Google Shape;2843;g3681a448973_2_158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44" name="Google Shape;2844;g3681a448973_2_158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5" name="Google Shape;2845;g3681a448973_2_158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6" name="Google Shape;2846;g3681a448973_2_158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7" name="Google Shape;2847;g3681a448973_2_158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48" name="Google Shape;2848;g3681a448973_2_158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9" name="Google Shape;2849;g3681a448973_2_158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50" name="Google Shape;2850;g3681a448973_2_158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1" name="Google Shape;2851;g3681a448973_2_158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2" name="Google Shape;2852;g3681a448973_2_158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3" name="Google Shape;2853;g3681a448973_2_158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2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55" name="Google Shape;2855;g3681a448973_2_158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56" name="Google Shape;2856;g3681a448973_2_158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57" name="Google Shape;2857;g3681a448973_2_158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58" name="Google Shape;2858;g3681a448973_2_158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9" name="Google Shape;2859;g3681a448973_2_158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60" name="Google Shape;2860;g3681a448973_2_158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1" name="Google Shape;2861;g3681a448973_2_158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62" name="Google Shape;2862;g3681a448973_2_158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63" name="Google Shape;2863;g3681a448973_2_158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2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5" name="Google Shape;2865;g3681a448973_2_158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866" name="Google Shape;2866;g3681a448973_2_158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7" name="Google Shape;2867;g3681a448973_2_158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68" name="Google Shape;2868;g3681a448973_2_1585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9" name="Google Shape;2869;g3681a448973_2_158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0" name="Google Shape;2870;g3681a448973_2_158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871" name="Google Shape;2871;g3681a448973_2_158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872" name="Google Shape;2872;g3681a448973_2_158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2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4" name="Google Shape;2874;g3681a448973_2_158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5" name="Google Shape;2875;g3681a448973_2_158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6" name="Google Shape;2876;g3681a448973_2_158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77" name="Google Shape;2877;g3681a448973_2_1586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78" name="Google Shape;2878;g3681a448973_2_158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79" name="Google Shape;2879;g3681a448973_2_158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80" name="Google Shape;2880;g3681a448973_2_158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1" name="Google Shape;2881;g3681a448973_2_158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2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3" name="Google Shape;2883;g3681a448973_2_15869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84" name="Google Shape;2884;g3681a448973_2_158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5" name="Google Shape;2885;g3681a448973_2_158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6" name="Google Shape;2886;g3681a448973_2_158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87" name="Google Shape;2887;g3681a448973_2_158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88" name="Google Shape;2888;g3681a448973_2_158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9" name="Google Shape;2889;g3681a448973_2_158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90" name="Google Shape;2890;g3681a448973_2_158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" name="Google Shape;304;g3681a448973_2_1329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05" name="Google Shape;305;g3681a448973_2_13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" name="Google Shape;306;g3681a448973_2_132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7" name="Google Shape;307;g3681a448973_2_13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g3681a448973_2_13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9" name="Google Shape;309;g3681a448973_2_1329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g3681a448973_2_1329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" name="Google Shape;311;g3681a448973_2_1329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g3681a448973_2_1329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3" name="Google Shape;313;g3681a448973_2_1329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g3681a448973_2_1329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5" name="Google Shape;315;g3681a448973_2_13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6" name="Google Shape;316;g3681a448973_2_13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2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92" name="Google Shape;2892;g3681a448973_2_1587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893" name="Google Shape;2893;g3681a448973_2_1587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4" name="Google Shape;2894;g3681a448973_2_158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5" name="Google Shape;2895;g3681a448973_2_1587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96" name="Google Shape;2896;g3681a448973_2_158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97" name="Google Shape;2897;g3681a448973_2_1587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8" name="Google Shape;2898;g3681a448973_2_1587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2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0" name="Google Shape;2900;g3681a448973_2_1588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1" name="Google Shape;2901;g3681a448973_2_158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2" name="Google Shape;2902;g3681a448973_2_158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03" name="Google Shape;2903;g3681a448973_2_158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4" name="Google Shape;2904;g3681a448973_2_15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5" name="Google Shape;2905;g3681a448973_2_15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06" name="Google Shape;2906;g3681a448973_2_1588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07" name="Google Shape;2907;g3681a448973_2_15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8" name="Google Shape;2908;g3681a448973_2_158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09" name="Google Shape;2909;g3681a448973_2_15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0" name="Google Shape;2910;g3681a448973_2_15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11" name="Google Shape;2911;g3681a448973_2_158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2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3" name="Google Shape;2913;g3681a448973_2_1589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4" name="Google Shape;2914;g3681a448973_2_158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5" name="Google Shape;2915;g3681a448973_2_158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6" name="Google Shape;2916;g3681a448973_2_158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7" name="Google Shape;2917;g3681a448973_2_15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8" name="Google Shape;2918;g3681a448973_2_15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19" name="Google Shape;2919;g3681a448973_2_1589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20" name="Google Shape;2920;g3681a448973_2_15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1" name="Google Shape;2921;g3681a448973_2_158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22" name="Google Shape;2922;g3681a448973_2_15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3" name="Google Shape;2923;g3681a448973_2_15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24" name="Google Shape;2924;g3681a448973_2_158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2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6" name="Google Shape;2926;g3681a448973_2_1591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7" name="Google Shape;2927;g3681a448973_2_159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8" name="Google Shape;2928;g3681a448973_2_159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29" name="Google Shape;2929;g3681a448973_2_159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30" name="Google Shape;2930;g3681a448973_2_159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31" name="Google Shape;2931;g3681a448973_2_159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32" name="Google Shape;2932;g3681a448973_2_159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33" name="Google Shape;2933;g3681a448973_2_159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34" name="Google Shape;2934;g3681a448973_2_159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35" name="Google Shape;2935;g3681a448973_2_159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6" name="Google Shape;2936;g3681a448973_2_159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37" name="Google Shape;2937;g3681a448973_2_159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2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9" name="Google Shape;2939;g3681a448973_2_1592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0" name="Google Shape;2940;g3681a448973_2_159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1" name="Google Shape;2941;g3681a448973_2_159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42" name="Google Shape;2942;g3681a448973_2_159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43" name="Google Shape;2943;g3681a448973_2_159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44" name="Google Shape;2944;g3681a448973_2_159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5" name="Google Shape;2945;g3681a448973_2_159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6" name="Google Shape;2946;g3681a448973_2_159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8" name="Google Shape;2948;g3681a448973_2_1593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9" name="Google Shape;2949;g3681a448973_2_1593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0" name="Google Shape;2950;g3681a448973_2_1593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1" name="Google Shape;2951;g3681a448973_2_1593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52" name="Google Shape;2952;g3681a448973_2_159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53" name="Google Shape;2953;g3681a448973_2_1593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4" name="Google Shape;2954;g3681a448973_2_1593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2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6" name="Google Shape;2956;g3681a448973_2_159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957" name="Google Shape;2957;g3681a448973_2_1594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958" name="Google Shape;2958;g3681a448973_2_159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959" name="Google Shape;2959;g3681a448973_2_159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0" name="Google Shape;2960;g3681a448973_2_159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61" name="Google Shape;2961;g3681a448973_2_159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962" name="Google Shape;2962;g3681a448973_2_159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2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4" name="Google Shape;2964;g3681a448973_2_1595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5" name="Google Shape;2965;g3681a448973_2_159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6" name="Google Shape;2966;g3681a448973_2_159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7" name="Google Shape;2967;g3681a448973_2_159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8" name="Google Shape;2968;g3681a448973_2_159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69" name="Google Shape;2969;g3681a448973_2_159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70" name="Google Shape;2970;g3681a448973_2_1595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71" name="Google Shape;2971;g3681a448973_2_159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2" name="Google Shape;2972;g3681a448973_2_159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73" name="Google Shape;2973;g3681a448973_2_159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4" name="Google Shape;2974;g3681a448973_2_159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75" name="Google Shape;2975;g3681a448973_2_159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2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77" name="Google Shape;2977;g3681a448973_2_159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78" name="Google Shape;2978;g3681a448973_2_159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9" name="Google Shape;2979;g3681a448973_2_159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80" name="Google Shape;2980;g3681a448973_2_159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1" name="Google Shape;2981;g3681a448973_2_159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2" name="Google Shape;2982;g3681a448973_2_159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3" name="Google Shape;2983;g3681a448973_2_159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4" name="Google Shape;2984;g3681a448973_2_159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85" name="Google Shape;2985;g3681a448973_2_159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6" name="Google Shape;2986;g3681a448973_2_159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2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8" name="Google Shape;2988;g3681a448973_2_159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9" name="Google Shape;2989;g3681a448973_2_159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90" name="Google Shape;2990;g3681a448973_2_1597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91" name="Google Shape;2991;g3681a448973_2_159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92" name="Google Shape;2992;g3681a448973_2_1597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93" name="Google Shape;2993;g3681a448973_2_159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4" name="Google Shape;2994;g3681a448973_2_159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95" name="Google Shape;2995;g3681a448973_2_159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6" name="Google Shape;2996;g3681a448973_2_159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97" name="Google Shape;2997;g3681a448973_2_159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98" name="Google Shape;2998;g3681a448973_2_159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g3681a448973_2_130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g3681a448973_2_1302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" name="Google Shape;39;g3681a448973_2_1302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0" name="Google Shape;40;g3681a448973_2_130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" name="Google Shape;41;g3681a448973_2_130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" name="Google Shape;42;g3681a448973_2_130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g3681a448973_2_130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" name="Google Shape;44;g3681a448973_2_1302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g3681a448973_2_1302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" name="Google Shape;46;g3681a448973_2_130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" name="Google Shape;47;g3681a448973_2_130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" name="Google Shape;318;g3681a448973_2_1330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19" name="Google Shape;319;g3681a448973_2_133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0" name="Google Shape;320;g3681a448973_2_133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1" name="Google Shape;321;g3681a448973_2_133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g3681a448973_2_133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3" name="Google Shape;323;g3681a448973_2_133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g3681a448973_2_133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g3681a448973_2_133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g3681a448973_2_13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2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0" name="Google Shape;3000;g3681a448973_2_1598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01" name="Google Shape;3001;g3681a448973_2_15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2" name="Google Shape;3002;g3681a448973_2_159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03" name="Google Shape;3003;g3681a448973_2_159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4" name="Google Shape;3004;g3681a448973_2_159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05" name="Google Shape;3005;g3681a448973_2_159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6" name="Google Shape;3006;g3681a448973_2_1598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007" name="Google Shape;3007;g3681a448973_2_1598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08" name="Google Shape;3008;g3681a448973_2_1598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009" name="Google Shape;3009;g3681a448973_2_1598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0" name="Google Shape;3010;g3681a448973_2_159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1" name="Google Shape;3011;g3681a448973_2_159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2" name="Google Shape;3012;g3681a448973_2_159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30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4" name="Google Shape;3014;g3681a448973_2_160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15" name="Google Shape;3015;g3681a448973_2_160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16" name="Google Shape;3016;g3681a448973_2_160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17" name="Google Shape;3017;g3681a448973_2_160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8" name="Google Shape;3018;g3681a448973_2_160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19" name="Google Shape;3019;g3681a448973_2_160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20" name="Google Shape;3020;g3681a448973_2_160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21" name="Google Shape;3021;g3681a448973_2_160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22" name="Google Shape;3022;g3681a448973_2_160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3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4" name="Google Shape;3024;g3681a448973_2_1601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25" name="Google Shape;3025;g3681a448973_2_1601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6" name="Google Shape;3026;g3681a448973_2_1601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27" name="Google Shape;3027;g3681a448973_2_1601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28" name="Google Shape;3028;g3681a448973_2_1601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29" name="Google Shape;3029;g3681a448973_2_1601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30" name="Google Shape;3030;g3681a448973_2_160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31" name="Google Shape;3031;g3681a448973_2_160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30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3" name="Google Shape;3033;g3681a448973_2_160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4" name="Google Shape;3034;g3681a448973_2_160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5" name="Google Shape;3035;g3681a448973_2_160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36" name="Google Shape;3036;g3681a448973_2_160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37" name="Google Shape;3037;g3681a448973_2_160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38" name="Google Shape;3038;g3681a448973_2_160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39" name="Google Shape;3039;g3681a448973_2_160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0" name="Google Shape;3040;g3681a448973_2_160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3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2" name="Google Shape;3042;g3681a448973_2_1602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43" name="Google Shape;3043;g3681a448973_2_160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4" name="Google Shape;3044;g3681a448973_2_160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45" name="Google Shape;3045;g3681a448973_2_16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46" name="Google Shape;3046;g3681a448973_2_160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47" name="Google Shape;3047;g3681a448973_2_16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48" name="Google Shape;3048;g3681a448973_2_160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49" name="Google Shape;3049;g3681a448973_2_160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50" name="Google Shape;3050;g3681a448973_2_160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51" name="Google Shape;3051;g3681a448973_2_160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2" name="Google Shape;3052;g3681a448973_2_160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53" name="Google Shape;3053;g3681a448973_2_160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30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5" name="Google Shape;3055;g3681a448973_2_1604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56" name="Google Shape;3056;g3681a448973_2_160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7" name="Google Shape;3057;g3681a448973_2_160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8" name="Google Shape;3058;g3681a448973_2_16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59" name="Google Shape;3059;g3681a448973_2_160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0" name="Google Shape;3060;g3681a448973_2_16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61" name="Google Shape;3061;g3681a448973_2_160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62" name="Google Shape;3062;g3681a448973_2_160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3" name="Google Shape;3063;g3681a448973_2_160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64" name="Google Shape;3064;g3681a448973_2_160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5" name="Google Shape;3065;g3681a448973_2_160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66" name="Google Shape;3066;g3681a448973_2_160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3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8" name="Google Shape;3068;g3681a448973_2_1605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9" name="Google Shape;3069;g3681a448973_2_160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0" name="Google Shape;3070;g3681a448973_2_160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1" name="Google Shape;3071;g3681a448973_2_160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2" name="Google Shape;3072;g3681a448973_2_160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3" name="Google Shape;3073;g3681a448973_2_160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74" name="Google Shape;3074;g3681a448973_2_1605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75" name="Google Shape;3075;g3681a448973_2_160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76" name="Google Shape;3076;g3681a448973_2_160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77" name="Google Shape;3077;g3681a448973_2_160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8" name="Google Shape;3078;g3681a448973_2_160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79" name="Google Shape;3079;g3681a448973_2_160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3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1" name="Google Shape;3081;g3681a448973_2_1606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2" name="Google Shape;3082;g3681a448973_2_160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3" name="Google Shape;3083;g3681a448973_2_160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84" name="Google Shape;3084;g3681a448973_2_160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85" name="Google Shape;3085;g3681a448973_2_160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86" name="Google Shape;3086;g3681a448973_2_160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7" name="Google Shape;3087;g3681a448973_2_160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88" name="Google Shape;3088;g3681a448973_2_16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3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90" name="Google Shape;3090;g3681a448973_2_1607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91" name="Google Shape;3091;g3681a448973_2_1607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2" name="Google Shape;3092;g3681a448973_2_160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3" name="Google Shape;3093;g3681a448973_2_1607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94" name="Google Shape;3094;g3681a448973_2_16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95" name="Google Shape;3095;g3681a448973_2_1607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6" name="Google Shape;3096;g3681a448973_2_1607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3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8" name="Google Shape;3098;g3681a448973_2_160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99" name="Google Shape;3099;g3681a448973_2_1608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00" name="Google Shape;3100;g3681a448973_2_160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01" name="Google Shape;3101;g3681a448973_2_160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2" name="Google Shape;3102;g3681a448973_2_160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03" name="Google Shape;3103;g3681a448973_2_160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104" name="Google Shape;3104;g3681a448973_2_160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8" name="Google Shape;328;g3681a448973_2_133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9" name="Google Shape;329;g3681a448973_2_133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g3681a448973_2_133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1" name="Google Shape;331;g3681a448973_2_1331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g3681a448973_2_1331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" name="Google Shape;333;g3681a448973_2_133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4" name="Google Shape;334;g3681a448973_2_133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5" name="Google Shape;335;g3681a448973_2_133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3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06" name="Google Shape;3106;g3681a448973_2_1609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07" name="Google Shape;3107;g3681a448973_2_160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8" name="Google Shape;3108;g3681a448973_2_160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09" name="Google Shape;3109;g3681a448973_2_160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0" name="Google Shape;3110;g3681a448973_2_160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11" name="Google Shape;3111;g3681a448973_2_160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2" name="Google Shape;3112;g3681a448973_2_160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3" name="Google Shape;3113;g3681a448973_2_160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14" name="Google Shape;3114;g3681a448973_2_160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15" name="Google Shape;3115;g3681a448973_2_160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3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7" name="Google Shape;3117;g3681a448973_2_16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8" name="Google Shape;3118;g3681a448973_2_161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19" name="Google Shape;3119;g3681a448973_2_161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20" name="Google Shape;3120;g3681a448973_2_16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1" name="Google Shape;3121;g3681a448973_2_161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22" name="Google Shape;3122;g3681a448973_2_16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3" name="Google Shape;3123;g3681a448973_2_16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24" name="Google Shape;3124;g3681a448973_2_1610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5" name="Google Shape;3125;g3681a448973_2_1610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6" name="Google Shape;3126;g3681a448973_2_16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7" name="Google Shape;3127;g3681a448973_2_16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3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29" name="Google Shape;3129;g3681a448973_2_1611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30" name="Google Shape;3130;g3681a448973_2_16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31" name="Google Shape;3131;g3681a448973_2_161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32" name="Google Shape;3132;g3681a448973_2_16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3" name="Google Shape;3133;g3681a448973_2_16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34" name="Google Shape;3134;g3681a448973_2_16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35" name="Google Shape;3135;g3681a448973_2_161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36" name="Google Shape;3136;g3681a448973_2_161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7" name="Google Shape;3137;g3681a448973_2_16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38" name="Google Shape;3138;g3681a448973_2_16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9" name="Google Shape;3139;g3681a448973_2_16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0" name="Google Shape;3140;g3681a448973_2_16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1" name="Google Shape;3141;g3681a448973_2_16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3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43" name="Google Shape;3143;g3681a448973_2_1612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44" name="Google Shape;3144;g3681a448973_2_16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45" name="Google Shape;3145;g3681a448973_2_161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46" name="Google Shape;3146;g3681a448973_2_16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7" name="Google Shape;3147;g3681a448973_2_16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48" name="Google Shape;3148;g3681a448973_2_16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9" name="Google Shape;3149;g3681a448973_2_16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50" name="Google Shape;3150;g3681a448973_2_16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1" name="Google Shape;3151;g3681a448973_2_16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3" name="Google Shape;3153;g3681a448973_2_161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154" name="Google Shape;3154;g3681a448973_2_161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5" name="Google Shape;3155;g3681a448973_2_161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56" name="Google Shape;3156;g3681a448973_2_1613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7" name="Google Shape;3157;g3681a448973_2_161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58" name="Google Shape;3158;g3681a448973_2_161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59" name="Google Shape;3159;g3681a448973_2_16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60" name="Google Shape;3160;g3681a448973_2_161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3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2" name="Google Shape;3162;g3681a448973_2_16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63" name="Google Shape;3163;g3681a448973_2_16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64" name="Google Shape;3164;g3681a448973_2_16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5" name="Google Shape;3165;g3681a448973_2_1614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66" name="Google Shape;3166;g3681a448973_2_161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67" name="Google Shape;3167;g3681a448973_2_161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68" name="Google Shape;3168;g3681a448973_2_16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9" name="Google Shape;3169;g3681a448973_2_16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3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1" name="Google Shape;3171;g3681a448973_2_1615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2" name="Google Shape;3172;g3681a448973_2_161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3" name="Google Shape;3173;g3681a448973_2_161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74" name="Google Shape;3174;g3681a448973_2_161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75" name="Google Shape;3175;g3681a448973_2_161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76" name="Google Shape;3176;g3681a448973_2_161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7" name="Google Shape;3177;g3681a448973_2_161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78" name="Google Shape;3178;g3681a448973_2_16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3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0" name="Google Shape;3180;g3681a448973_2_161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81" name="Google Shape;3181;g3681a448973_2_161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2" name="Google Shape;3182;g3681a448973_2_161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3" name="Google Shape;3183;g3681a448973_2_161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4" name="Google Shape;3184;g3681a448973_2_16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85" name="Google Shape;3185;g3681a448973_2_161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6" name="Google Shape;3186;g3681a448973_2_161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3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8" name="Google Shape;3188;g3681a448973_2_161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89" name="Google Shape;3189;g3681a448973_2_1617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90" name="Google Shape;3190;g3681a448973_2_161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91" name="Google Shape;3191;g3681a448973_2_161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2" name="Google Shape;3192;g3681a448973_2_161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93" name="Google Shape;3193;g3681a448973_2_161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194" name="Google Shape;3194;g3681a448973_2_161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3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96" name="Google Shape;3196;g3681a448973_2_1618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97" name="Google Shape;3197;g3681a448973_2_16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8" name="Google Shape;3198;g3681a448973_2_161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99" name="Google Shape;3199;g3681a448973_2_161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0" name="Google Shape;3200;g3681a448973_2_161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01" name="Google Shape;3201;g3681a448973_2_161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02" name="Google Shape;3202;g3681a448973_2_161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3" name="Google Shape;3203;g3681a448973_2_16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04" name="Google Shape;3204;g3681a448973_2_161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5" name="Google Shape;3205;g3681a448973_2_16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g3681a448973_2_1332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g3681a448973_2_13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g3681a448973_2_13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g3681a448973_2_1332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41" name="Google Shape;341;g3681a448973_2_13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g3681a448973_2_133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43" name="Google Shape;343;g3681a448973_2_13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g3681a448973_2_13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3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7" name="Google Shape;3207;g3681a448973_2_16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08" name="Google Shape;3208;g3681a448973_2_161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09" name="Google Shape;3209;g3681a448973_2_1619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10" name="Google Shape;3210;g3681a448973_2_16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11" name="Google Shape;3211;g3681a448973_2_1619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12" name="Google Shape;3212;g3681a448973_2_16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3" name="Google Shape;3213;g3681a448973_2_16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14" name="Google Shape;3214;g3681a448973_2_1619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5" name="Google Shape;3215;g3681a448973_2_1619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6" name="Google Shape;3216;g3681a448973_2_16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7" name="Google Shape;3217;g3681a448973_2_16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3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19" name="Google Shape;3219;g3681a448973_2_1620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20" name="Google Shape;3220;g3681a448973_2_16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21" name="Google Shape;3221;g3681a448973_2_1620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22" name="Google Shape;3222;g3681a448973_2_16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3" name="Google Shape;3223;g3681a448973_2_16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24" name="Google Shape;3224;g3681a448973_2_16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5" name="Google Shape;3225;g3681a448973_2_162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26" name="Google Shape;3226;g3681a448973_2_162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7" name="Google Shape;3227;g3681a448973_2_162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28" name="Google Shape;3228;g3681a448973_2_162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9" name="Google Shape;3229;g3681a448973_2_16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30" name="Google Shape;3230;g3681a448973_2_16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31" name="Google Shape;3231;g3681a448973_2_16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3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3" name="Google Shape;3233;g3681a448973_2_162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34" name="Google Shape;3234;g3681a448973_2_16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35" name="Google Shape;3235;g3681a448973_2_162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36" name="Google Shape;3236;g3681a448973_2_16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7" name="Google Shape;3237;g3681a448973_2_16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38" name="Google Shape;3238;g3681a448973_2_16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9" name="Google Shape;3239;g3681a448973_2_16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40" name="Google Shape;3240;g3681a448973_2_16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1" name="Google Shape;3241;g3681a448973_2_16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3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3" name="Google Shape;3243;g3681a448973_2_1622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44" name="Google Shape;3244;g3681a448973_2_1622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5" name="Google Shape;3245;g3681a448973_2_1622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46" name="Google Shape;3246;g3681a448973_2_1622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47" name="Google Shape;3247;g3681a448973_2_1622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8" name="Google Shape;3248;g3681a448973_2_1622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49" name="Google Shape;3249;g3681a448973_2_16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50" name="Google Shape;3250;g3681a448973_2_162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3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2" name="Google Shape;3252;g3681a448973_2_16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3" name="Google Shape;3253;g3681a448973_2_16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4" name="Google Shape;3254;g3681a448973_2_16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5" name="Google Shape;3255;g3681a448973_2_1623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56" name="Google Shape;3256;g3681a448973_2_16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7" name="Google Shape;3257;g3681a448973_2_162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58" name="Google Shape;3258;g3681a448973_2_16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9" name="Google Shape;3259;g3681a448973_2_16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3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61" name="Google Shape;3261;g3681a448973_2_162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62" name="Google Shape;3262;g3681a448973_2_162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3" name="Google Shape;3263;g3681a448973_2_162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64" name="Google Shape;3264;g3681a448973_2_162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5" name="Google Shape;3265;g3681a448973_2_162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6" name="Google Shape;3266;g3681a448973_2_162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7" name="Google Shape;3267;g3681a448973_2_162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8" name="Google Shape;3268;g3681a448973_2_162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9" name="Google Shape;3269;g3681a448973_2_162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70" name="Google Shape;3270;g3681a448973_2_162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3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2" name="Google Shape;3272;g3681a448973_2_1625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3" name="Google Shape;3273;g3681a448973_2_1625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74" name="Google Shape;3274;g3681a448973_2_1625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75" name="Google Shape;3275;g3681a448973_2_162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6" name="Google Shape;3276;g3681a448973_2_162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3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8" name="Google Shape;3278;g3681a448973_2_1626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9" name="Google Shape;3279;g3681a448973_2_1626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0" name="Google Shape;3280;g3681a448973_2_1626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81" name="Google Shape;3281;g3681a448973_2_16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2" name="Google Shape;3282;g3681a448973_2_162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83" name="Google Shape;3283;g3681a448973_2_16264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4" name="Google Shape;3284;g3681a448973_2_16264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5" name="Google Shape;3285;g3681a448973_2_1626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286" name="Google Shape;3286;g3681a448973_2_162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3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8" name="Google Shape;3288;g3681a448973_2_1627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89" name="Google Shape;3289;g3681a448973_2_1627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90" name="Google Shape;3290;g3681a448973_2_162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91" name="Google Shape;3291;g3681a448973_2_16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92" name="Google Shape;3292;g3681a448973_2_16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93" name="Google Shape;3293;g3681a448973_2_16274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4" name="Google Shape;3294;g3681a448973_2_16274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5" name="Google Shape;3295;g3681a448973_2_1627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296" name="Google Shape;3296;g3681a448973_2_162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3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8" name="Google Shape;3298;g3681a448973_2_162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99" name="Google Shape;3299;g3681a448973_2_1628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0" name="Google Shape;3300;g3681a448973_2_1628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1" name="Google Shape;3301;g3681a448973_2_162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02" name="Google Shape;3302;g3681a448973_2_16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g3681a448973_2_1333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g3681a448973_2_1333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g3681a448973_2_133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" name="Google Shape;349;g3681a448973_2_1333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0" name="Google Shape;350;g3681a448973_2_13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1" name="Google Shape;351;g3681a448973_2_13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2" name="Google Shape;352;g3681a448973_2_133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53" name="Google Shape;353;g3681a448973_2_13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" name="Google Shape;354;g3681a448973_2_133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5" name="Google Shape;355;g3681a448973_2_13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" name="Google Shape;356;g3681a448973_2_13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7" name="Google Shape;357;g3681a448973_2_133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 2">
    <p:spTree>
      <p:nvGrpSpPr>
        <p:cNvPr id="1" name="Shape 3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4" name="Google Shape;3304;g3681a448973_2_1629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05" name="Google Shape;3305;g3681a448973_2_162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306" name="Google Shape;3306;g3681a448973_2_1629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7" name="Google Shape;3307;g3681a448973_2_162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8" name="Google Shape;3308;g3681a448973_2_162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3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0" name="Google Shape;3310;g3681a448973_2_1629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1" name="Google Shape;3311;g3681a448973_2_1629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2" name="Google Shape;3312;g3681a448973_2_1629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3" name="Google Shape;3313;g3681a448973_2_1629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4" name="Google Shape;3314;g3681a448973_2_1629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15" name="Google Shape;3315;g3681a448973_2_16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3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7" name="Google Shape;3317;g3681a448973_2_163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8" name="Google Shape;3318;g3681a448973_2_163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9" name="Google Shape;3319;g3681a448973_2_16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20" name="Google Shape;3320;g3681a448973_2_16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1" name="Google Shape;3321;g3681a448973_2_16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22" name="Google Shape;3322;g3681a448973_2_16303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3" name="Google Shape;3323;g3681a448973_2_16303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4" name="Google Shape;3324;g3681a448973_2_163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25" name="Google Shape;3325;g3681a448973_2_163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3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681a448973_2_1631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8" name="Google Shape;3328;g3681a448973_2_1631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9" name="Google Shape;3329;g3681a448973_2_1631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0" name="Google Shape;3330;g3681a448973_2_1631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31" name="Google Shape;3331;g3681a448973_2_163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3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3" name="Google Shape;3333;g3681a448973_2_1631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34" name="Google Shape;3334;g3681a448973_2_163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335" name="Google Shape;3335;g3681a448973_2_1631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6" name="Google Shape;3336;g3681a448973_2_163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7" name="Google Shape;3337;g3681a448973_2_163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3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9" name="Google Shape;3339;g3681a448973_2_1632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0" name="Google Shape;3340;g3681a448973_2_1632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1" name="Google Shape;3341;g3681a448973_2_1632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2" name="Google Shape;3342;g3681a448973_2_1632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3" name="Google Shape;3343;g3681a448973_2_1632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44" name="Google Shape;3344;g3681a448973_2_163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3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6" name="Google Shape;3346;g3681a448973_2_1633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7" name="Google Shape;3347;g3681a448973_2_1633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8" name="Google Shape;3348;g3681a448973_2_163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49" name="Google Shape;3349;g3681a448973_2_16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0" name="Google Shape;3350;g3681a448973_2_16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1" name="Google Shape;3351;g3681a448973_2_16332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2" name="Google Shape;3352;g3681a448973_2_16332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3" name="Google Shape;3353;g3681a448973_2_1633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54" name="Google Shape;3354;g3681a448973_2_163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3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6" name="Google Shape;3356;g3681a448973_2_1634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7" name="Google Shape;3357;g3681a448973_2_1634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8" name="Google Shape;3358;g3681a448973_2_1634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59" name="Google Shape;3359;g3681a448973_2_16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0" name="Google Shape;3360;g3681a448973_2_16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61" name="Google Shape;3361;g3681a448973_2_16342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2" name="Google Shape;3362;g3681a448973_2_16342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3" name="Google Shape;3363;g3681a448973_2_1634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64" name="Google Shape;3364;g3681a448973_2_163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3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6" name="Google Shape;3366;g3681a448973_2_163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7" name="Google Shape;3367;g3681a448973_2_163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8" name="Google Shape;3368;g3681a448973_2_163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69" name="Google Shape;3369;g3681a448973_2_16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0" name="Google Shape;3370;g3681a448973_2_16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71" name="Google Shape;3371;g3681a448973_2_16352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2" name="Google Shape;3372;g3681a448973_2_16352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3" name="Google Shape;3373;g3681a448973_2_163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74" name="Google Shape;3374;g3681a448973_2_163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3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6" name="Google Shape;3376;g3681a448973_2_1636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7" name="Google Shape;3377;g3681a448973_2_1636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8" name="Google Shape;3378;g3681a448973_2_1636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9" name="Google Shape;3379;g3681a448973_2_1636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80" name="Google Shape;3380;g3681a448973_2_163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g3681a448973_2_1334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" name="Google Shape;360;g3681a448973_2_13345"/>
          <p:cNvSpPr/>
          <p:nvPr/>
        </p:nvSpPr>
        <p:spPr>
          <a:xfrm>
            <a:off x="3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61" name="Google Shape;361;g3681a448973_2_133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62" name="Google Shape;362;g3681a448973_2_13345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63" name="Google Shape;363;g3681a448973_2_133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364" name="Google Shape;364;g3681a448973_2_1334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5" name="Google Shape;365;g3681a448973_2_1334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" name="Google Shape;366;g3681a448973_2_1334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g3681a448973_2_13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g3681a448973_2_1334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9" name="Google Shape;369;g3681a448973_2_13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3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2" name="Google Shape;3382;g3681a448973_2_1636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83" name="Google Shape;3383;g3681a448973_2_163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384" name="Google Shape;3384;g3681a448973_2_1636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5" name="Google Shape;3385;g3681a448973_2_1636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6" name="Google Shape;3386;g3681a448973_2_1636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3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8" name="Google Shape;3388;g3681a448973_2_1637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9" name="Google Shape;3389;g3681a448973_2_1637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g3681a448973_2_1637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1" name="Google Shape;3391;g3681a448973_2_1637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2" name="Google Shape;3392;g3681a448973_2_1637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93" name="Google Shape;3393;g3681a448973_2_16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3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5" name="Google Shape;3395;g3681a448973_2_1638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6" name="Google Shape;3396;g3681a448973_2_1638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7" name="Google Shape;3397;g3681a448973_2_1638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98" name="Google Shape;3398;g3681a448973_2_163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9" name="Google Shape;3399;g3681a448973_2_163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00" name="Google Shape;3400;g3681a448973_2_16381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1" name="Google Shape;3401;g3681a448973_2_16381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2" name="Google Shape;3402;g3681a448973_2_1638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03" name="Google Shape;3403;g3681a448973_2_163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3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Google Shape;3405;g3681a448973_2_1639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6" name="Google Shape;3406;g3681a448973_2_1639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7" name="Google Shape;3407;g3681a448973_2_1639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8" name="Google Shape;3408;g3681a448973_2_1639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09" name="Google Shape;3409;g3681a448973_2_163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3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1" name="Google Shape;3411;g3681a448973_2_1639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12" name="Google Shape;3412;g3681a448973_2_16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13" name="Google Shape;3413;g3681a448973_2_1639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4" name="Google Shape;3414;g3681a448973_2_163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5" name="Google Shape;3415;g3681a448973_2_163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3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7" name="Google Shape;3417;g3681a448973_2_1640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8" name="Google Shape;3418;g3681a448973_2_1640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9" name="Google Shape;3419;g3681a448973_2_1640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0" name="Google Shape;3420;g3681a448973_2_1640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1" name="Google Shape;3421;g3681a448973_2_1640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22" name="Google Shape;3422;g3681a448973_2_16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3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4" name="Google Shape;3424;g3681a448973_2_1641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5" name="Google Shape;3425;g3681a448973_2_1641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6" name="Google Shape;3426;g3681a448973_2_1641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27" name="Google Shape;3427;g3681a448973_2_164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8" name="Google Shape;3428;g3681a448973_2_164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29" name="Google Shape;3429;g3681a448973_2_1641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0" name="Google Shape;3430;g3681a448973_2_1641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1" name="Google Shape;3431;g3681a448973_2_1641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32" name="Google Shape;3432;g3681a448973_2_164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3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4" name="Google Shape;3434;g3681a448973_2_1642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5" name="Google Shape;3435;g3681a448973_2_1642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6" name="Google Shape;3436;g3681a448973_2_1642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7" name="Google Shape;3437;g3681a448973_2_1642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38" name="Google Shape;3438;g3681a448973_2_164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3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0" name="Google Shape;3440;g3681a448973_2_1642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41" name="Google Shape;3441;g3681a448973_2_16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42" name="Google Shape;3442;g3681a448973_2_1642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3" name="Google Shape;3443;g3681a448973_2_1642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4" name="Google Shape;3444;g3681a448973_2_1642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3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6" name="Google Shape;3446;g3681a448973_2_1643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7" name="Google Shape;3447;g3681a448973_2_1643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8" name="Google Shape;3448;g3681a448973_2_1643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9" name="Google Shape;3449;g3681a448973_2_1643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0" name="Google Shape;3450;g3681a448973_2_1643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51" name="Google Shape;3451;g3681a448973_2_16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g3681a448973_2_133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g3681a448973_2_133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g3681a448973_2_133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" name="Google Shape;374;g3681a448973_2_133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" name="Google Shape;375;g3681a448973_2_13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6" name="Google Shape;376;g3681a448973_2_13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7" name="Google Shape;377;g3681a448973_2_133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78" name="Google Shape;378;g3681a448973_2_13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9" name="Google Shape;379;g3681a448973_2_133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0" name="Google Shape;380;g3681a448973_2_13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1" name="Google Shape;381;g3681a448973_2_13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2" name="Google Shape;382;g3681a448973_2_133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3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3" name="Google Shape;3453;g3681a448973_2_164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4" name="Google Shape;3454;g3681a448973_2_164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5" name="Google Shape;3455;g3681a448973_2_164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56" name="Google Shape;3456;g3681a448973_2_16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7" name="Google Shape;3457;g3681a448973_2_16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58" name="Google Shape;3458;g3681a448973_2_16439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9" name="Google Shape;3459;g3681a448973_2_16439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0" name="Google Shape;3460;g3681a448973_2_164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61" name="Google Shape;3461;g3681a448973_2_164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3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3" name="Google Shape;3463;g3681a448973_2_1644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64" name="Google Shape;3464;g3681a448973_2_1644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5" name="Google Shape;3465;g3681a448973_2_1644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6" name="Google Shape;3466;g3681a448973_2_1644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67" name="Google Shape;3467;g3681a448973_2_164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3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9" name="Google Shape;3469;g3681a448973_2_1645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70" name="Google Shape;3470;g3681a448973_2_164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71" name="Google Shape;3471;g3681a448973_2_1645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2" name="Google Shape;3472;g3681a448973_2_1645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3" name="Google Shape;3473;g3681a448973_2_1645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3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5" name="Google Shape;3475;g3681a448973_2_1646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6" name="Google Shape;3476;g3681a448973_2_1646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7" name="Google Shape;3477;g3681a448973_2_1646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8" name="Google Shape;3478;g3681a448973_2_1646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9" name="Google Shape;3479;g3681a448973_2_1646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80" name="Google Shape;3480;g3681a448973_2_164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3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" name="Google Shape;3482;g3681a448973_2_1646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3" name="Google Shape;3483;g3681a448973_2_1646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4" name="Google Shape;3484;g3681a448973_2_1646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5" name="Google Shape;3485;g3681a448973_2_1646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86" name="Google Shape;3486;g3681a448973_2_164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3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8" name="Google Shape;3488;g3681a448973_2_1647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89" name="Google Shape;3489;g3681a448973_2_164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90" name="Google Shape;3490;g3681a448973_2_1647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1" name="Google Shape;3491;g3681a448973_2_1647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2" name="Google Shape;3492;g3681a448973_2_1647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3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4" name="Google Shape;3494;g3681a448973_2_1648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5" name="Google Shape;3495;g3681a448973_2_1648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6" name="Google Shape;3496;g3681a448973_2_1648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7" name="Google Shape;3497;g3681a448973_2_1648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8" name="Google Shape;3498;g3681a448973_2_1648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99" name="Google Shape;3499;g3681a448973_2_164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3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1" name="Google Shape;3501;g3681a448973_2_1648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2" name="Google Shape;3502;g3681a448973_2_164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3" name="Google Shape;3503;g3681a448973_2_164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4" name="Google Shape;3504;g3681a448973_2_164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05" name="Google Shape;3505;g3681a448973_2_164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06" name="Google Shape;3506;g3681a448973_2_16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7" name="Google Shape;3507;g3681a448973_2_164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08" name="Google Shape;3508;g3681a448973_2_16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3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10" name="Google Shape;3510;g3681a448973_2_1649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11" name="Google Shape;3511;g3681a448973_2_1649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2" name="Google Shape;3512;g3681a448973_2_164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3" name="Google Shape;3513;g3681a448973_2_1649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4" name="Google Shape;3514;g3681a448973_2_164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15" name="Google Shape;3515;g3681a448973_2_1649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16" name="Google Shape;3516;g3681a448973_2_1649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3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8" name="Google Shape;3518;g3681a448973_2_1650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19" name="Google Shape;3519;g3681a448973_2_1650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20" name="Google Shape;3520;g3681a448973_2_1650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21" name="Google Shape;3521;g3681a448973_2_1650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2" name="Google Shape;3522;g3681a448973_2_1650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23" name="Google Shape;3523;g3681a448973_2_1650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524" name="Google Shape;3524;g3681a448973_2_16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3681a448973_2_133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" name="Google Shape;385;g3681a448973_2_1337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6" name="Google Shape;386;g3681a448973_2_133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7" name="Google Shape;387;g3681a448973_2_13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8" name="Google Shape;388;g3681a448973_2_133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9" name="Google Shape;389;g3681a448973_2_133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0" name="Google Shape;390;g3681a448973_2_133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1" name="Google Shape;391;g3681a448973_2_1337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2" name="Google Shape;392;g3681a448973_2_1337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3" name="Google Shape;393;g3681a448973_2_133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4" name="Google Shape;394;g3681a448973_2_133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3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6" name="Google Shape;3526;g3681a448973_2_1651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7" name="Google Shape;3527;g3681a448973_2_165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8" name="Google Shape;3528;g3681a448973_2_165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9" name="Google Shape;3529;g3681a448973_2_165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0" name="Google Shape;3530;g3681a448973_2_165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1" name="Google Shape;3531;g3681a448973_2_165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2" name="Google Shape;3532;g3681a448973_2_165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33" name="Google Shape;3533;g3681a448973_2_16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34" name="Google Shape;3534;g3681a448973_2_165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35" name="Google Shape;3535;g3681a448973_2_165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6" name="Google Shape;3536;g3681a448973_2_165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37" name="Google Shape;3537;g3681a448973_2_165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3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39" name="Google Shape;3539;g3681a448973_2_165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40" name="Google Shape;3540;g3681a448973_2_16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1" name="Google Shape;3541;g3681a448973_2_165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42" name="Google Shape;3542;g3681a448973_2_16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3" name="Google Shape;3543;g3681a448973_2_16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4" name="Google Shape;3544;g3681a448973_2_165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5" name="Google Shape;3545;g3681a448973_2_165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46" name="Google Shape;3546;g3681a448973_2_16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47" name="Google Shape;3547;g3681a448973_2_16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8" name="Google Shape;3548;g3681a448973_2_16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3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0" name="Google Shape;3550;g3681a448973_2_165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1" name="Google Shape;3551;g3681a448973_2_165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552" name="Google Shape;3552;g3681a448973_2_1653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53" name="Google Shape;3553;g3681a448973_2_165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4" name="Google Shape;3554;g3681a448973_2_165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55" name="Google Shape;3555;g3681a448973_2_165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56" name="Google Shape;3556;g3681a448973_2_165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57" name="Google Shape;3557;g3681a448973_2_165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8" name="Google Shape;3558;g3681a448973_2_165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59" name="Google Shape;3559;g3681a448973_2_165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60" name="Google Shape;3560;g3681a448973_2_16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3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2" name="Google Shape;3562;g3681a448973_2_1654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63" name="Google Shape;3563;g3681a448973_2_16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64" name="Google Shape;3564;g3681a448973_2_165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65" name="Google Shape;3565;g3681a448973_2_16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6" name="Google Shape;3566;g3681a448973_2_16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67" name="Google Shape;3567;g3681a448973_2_165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68" name="Google Shape;3568;g3681a448973_2_165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69" name="Google Shape;3569;g3681a448973_2_165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0" name="Google Shape;3570;g3681a448973_2_165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1" name="Google Shape;3571;g3681a448973_2_165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2" name="Google Shape;3572;g3681a448973_2_16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3" name="Google Shape;3573;g3681a448973_2_16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4" name="Google Shape;3574;g3681a448973_2_16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3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76" name="Google Shape;3576;g3681a448973_2_1656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77" name="Google Shape;3577;g3681a448973_2_16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8" name="Google Shape;3578;g3681a448973_2_165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79" name="Google Shape;3579;g3681a448973_2_16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0" name="Google Shape;3580;g3681a448973_2_16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1" name="Google Shape;3581;g3681a448973_2_165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2" name="Google Shape;3582;g3681a448973_2_16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83" name="Google Shape;3583;g3681a448973_2_16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4" name="Google Shape;3584;g3681a448973_2_16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3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6" name="Google Shape;3586;g3681a448973_2_165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587" name="Google Shape;3587;g3681a448973_2_165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8" name="Google Shape;3588;g3681a448973_2_165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89" name="Google Shape;3589;g3681a448973_2_1657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0" name="Google Shape;3590;g3681a448973_2_165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1" name="Google Shape;3591;g3681a448973_2_165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92" name="Google Shape;3592;g3681a448973_2_165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93" name="Google Shape;3593;g3681a448973_2_16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3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5" name="Google Shape;3595;g3681a448973_2_165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96" name="Google Shape;3596;g3681a448973_2_165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97" name="Google Shape;3597;g3681a448973_2_165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98" name="Google Shape;3598;g3681a448973_2_165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99" name="Google Shape;3599;g3681a448973_2_165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0" name="Google Shape;3600;g3681a448973_2_165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01" name="Google Shape;3601;g3681a448973_2_165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2" name="Google Shape;3602;g3681a448973_2_165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3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" name="Google Shape;3604;g3681a448973_2_16590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605" name="Google Shape;3605;g3681a448973_2_16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606" name="Google Shape;3606;g3681a448973_2_16590"/>
          <p:cNvGrpSpPr/>
          <p:nvPr/>
        </p:nvGrpSpPr>
        <p:grpSpPr>
          <a:xfrm>
            <a:off x="0" y="0"/>
            <a:ext cx="1862644" cy="6629629"/>
            <a:chOff x="-15876" y="0"/>
            <a:chExt cx="1927803" cy="6858001"/>
          </a:xfrm>
        </p:grpSpPr>
        <p:sp>
          <p:nvSpPr>
            <p:cNvPr id="3607" name="Google Shape;3607;g3681a448973_2_16590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8" name="Google Shape;3608;g3681a448973_2_16590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3609" name="Google Shape;3609;g3681a448973_2_1659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0" name="Google Shape;3610;g3681a448973_2_1659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1" name="Google Shape;3611;g3681a448973_2_1659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2" name="Google Shape;3612;g3681a448973_2_1659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3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" name="Google Shape;3614;g3681a448973_2_16600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15" name="Google Shape;3615;g3681a448973_2_1660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6" name="Google Shape;3616;g3681a448973_2_1660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7" name="Google Shape;3617;g3681a448973_2_1660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8" name="Google Shape;3618;g3681a448973_2_166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619" name="Google Shape;3619;g3681a448973_2_1660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3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21" name="Google Shape;3621;g3681a448973_2_166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22" name="Google Shape;3622;g3681a448973_2_166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23" name="Google Shape;3623;g3681a448973_2_166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24" name="Google Shape;3624;g3681a448973_2_166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25" name="Google Shape;3625;g3681a448973_2_166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26" name="Google Shape;3626;g3681a448973_2_166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7" name="Google Shape;3627;g3681a448973_2_166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28" name="Google Shape;3628;g3681a448973_2_166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29" name="Google Shape;3629;g3681a448973_2_166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30" name="Google Shape;3630;g3681a448973_2_166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6" name="Google Shape;396;g3681a448973_2_133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7" name="Google Shape;397;g3681a448973_2_133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8" name="Google Shape;398;g3681a448973_2_133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9" name="Google Shape;399;g3681a448973_2_133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" name="Google Shape;400;g3681a448973_2_133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" name="Google Shape;401;g3681a448973_2_1338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" name="Google Shape;402;g3681a448973_2_1338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3" name="Google Shape;403;g3681a448973_2_1338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4" name="Google Shape;404;g3681a448973_2_133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5" name="Google Shape;405;g3681a448973_2_133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" name="Google Shape;406;g3681a448973_2_133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7" name="Google Shape;407;g3681a448973_2_133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" name="Google Shape;408;g3681a448973_2_133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3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2" name="Google Shape;3632;g3681a448973_2_1661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33" name="Google Shape;3633;g3681a448973_2_1661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34" name="Google Shape;3634;g3681a448973_2_1661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35" name="Google Shape;3635;g3681a448973_2_1661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6" name="Google Shape;3636;g3681a448973_2_1661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37" name="Google Shape;3637;g3681a448973_2_1661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638" name="Google Shape;3638;g3681a448973_2_166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3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40" name="Google Shape;3640;g3681a448973_2_166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41" name="Google Shape;3641;g3681a448973_2_166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642" name="Google Shape;3642;g3681a448973_2_16626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3" name="Google Shape;3643;g3681a448973_2_1662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 2">
    <p:spTree>
      <p:nvGrpSpPr>
        <p:cNvPr id="1" name="Shape 3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45" name="Google Shape;3645;g3681a448973_2_166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1" cy="6856475"/>
          </a:xfrm>
          <a:prstGeom prst="rect">
            <a:avLst/>
          </a:prstGeom>
          <a:noFill/>
          <a:ln>
            <a:noFill/>
          </a:ln>
        </p:spPr>
      </p:pic>
      <p:sp>
        <p:nvSpPr>
          <p:cNvPr id="3646" name="Google Shape;3646;g3681a448973_2_166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7" name="Google Shape;3647;g3681a448973_2_16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48" name="Google Shape;3648;g3681a448973_2_16631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3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50" name="Google Shape;3650;g3681a448973_2_166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3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3651" name="Google Shape;3651;g3681a448973_2_166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2" name="Google Shape;3652;g3681a448973_2_166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53" name="Google Shape;3653;g3681a448973_2_16636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3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55" name="Google Shape;3655;g3681a448973_2_166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3656" name="Google Shape;3656;g3681a448973_2_16641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7" name="Google Shape;3657;g3681a448973_2_16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58" name="Google Shape;3658;g3681a448973_2_16641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3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60" name="Google Shape;3660;g3681a448973_2_166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61" name="Google Shape;3661;g3681a448973_2_166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662" name="Google Shape;3662;g3681a448973_2_1664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3" name="Google Shape;3663;g3681a448973_2_1664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3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65" name="Google Shape;3665;g3681a448973_2_166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66" name="Google Shape;3666;g3681a448973_2_1665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667" name="Google Shape;3667;g3681a448973_2_16651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8" name="Google Shape;3668;g3681a448973_2_16651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3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70" name="Google Shape;3670;g3681a448973_2_166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71" name="Google Shape;3671;g3681a448973_2_166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672" name="Google Shape;3672;g3681a448973_2_1665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3" name="Google Shape;3673;g3681a448973_2_1665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3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75" name="Google Shape;3675;g3681a448973_2_166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7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676" name="Google Shape;3676;g3681a448973_2_166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7" name="Google Shape;3677;g3681a448973_2_166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78" name="Google Shape;3678;g3681a448973_2_1666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3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0" name="Google Shape;3680;g3681a448973_2_16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81" name="Google Shape;3681;g3681a448973_2_1666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2" name="Google Shape;3682;g3681a448973_2_1666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83" name="Google Shape;3683;g3681a448973_2_1666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" name="Google Shape;410;g3681a448973_2_133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11" name="Google Shape;411;g3681a448973_2_13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2" name="Google Shape;412;g3681a448973_2_133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3" name="Google Shape;413;g3681a448973_2_13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" name="Google Shape;414;g3681a448973_2_13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5" name="Google Shape;415;g3681a448973_2_13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" name="Google Shape;416;g3681a448973_2_133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7" name="Google Shape;417;g3681a448973_2_13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8" name="Google Shape;418;g3681a448973_2_13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3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5" name="Google Shape;3685;g3681a448973_2_16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86" name="Google Shape;3686;g3681a448973_2_1667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2">
    <p:spTree>
      <p:nvGrpSpPr>
        <p:cNvPr id="1" name="Shape 3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8" name="Google Shape;3688;g3681a448973_2_16674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89" name="Google Shape;3689;g3681a448973_2_1667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90" name="Google Shape;3690;g3681a448973_2_16674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691" name="Google Shape;3691;g3681a448973_2_166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2" name="Google Shape;3692;g3681a448973_2_166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3" name="Google Shape;3693;g3681a448973_2_166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694" name="Google Shape;3694;g3681a448973_2_166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3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6" name="Google Shape;3696;g3681a448973_2_1668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7" name="Google Shape;3697;g3681a448973_2_1668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8" name="Google Shape;3698;g3681a448973_2_1668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9" name="Google Shape;3699;g3681a448973_2_1668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00" name="Google Shape;3700;g3681a448973_2_166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3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2" name="Google Shape;3702;g3681a448973_2_1668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03" name="Google Shape;3703;g3681a448973_2_166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704" name="Google Shape;3704;g3681a448973_2_1668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5" name="Google Shape;3705;g3681a448973_2_16688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6" name="Google Shape;3706;g3681a448973_2_16688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3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8" name="Google Shape;3708;g3681a448973_2_1669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9" name="Google Shape;3709;g3681a448973_2_1669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0" name="Google Shape;3710;g3681a448973_2_16694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1" name="Google Shape;3711;g3681a448973_2_16694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2" name="Google Shape;3712;g3681a448973_2_16694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13" name="Google Shape;3713;g3681a448973_2_166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3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5" name="Google Shape;3715;g3681a448973_2_16701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6" name="Google Shape;3716;g3681a448973_2_16701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7" name="Google Shape;3717;g3681a448973_2_16701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8" name="Google Shape;3718;g3681a448973_2_16701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9" name="Google Shape;3719;g3681a448973_2_167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20" name="Google Shape;3720;g3681a448973_2_1670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3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2" name="Google Shape;3722;g3681a448973_2_16708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3" name="Google Shape;3723;g3681a448973_2_16708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3724" name="Google Shape;3724;g3681a448973_2_1670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25" name="Google Shape;3725;g3681a448973_2_167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6" name="Google Shape;3726;g3681a448973_2_167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3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8" name="Google Shape;3728;g3681a448973_2_16714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9" name="Google Shape;3729;g3681a448973_2_16714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3730" name="Google Shape;3730;g3681a448973_2_16714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3731" name="Google Shape;3731;g3681a448973_2_167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32" name="Google Shape;3732;g3681a448973_2_167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3" name="Google Shape;3733;g3681a448973_2_167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3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5" name="Google Shape;3735;g3681a448973_2_16721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6" name="Google Shape;3736;g3681a448973_2_16721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37" name="Google Shape;3737;g3681a448973_2_1672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38" name="Google Shape;3738;g3681a448973_2_16721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39" name="Google Shape;3739;g3681a448973_2_1672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0" name="Google Shape;3740;g3681a448973_2_1672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41" name="Google Shape;3741;g3681a448973_2_16721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42" name="Google Shape;3742;g3681a448973_2_16721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43" name="Google Shape;3743;g3681a448973_2_167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3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45" name="Google Shape;3745;g3681a448973_2_1673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746" name="Google Shape;3746;g3681a448973_2_167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47" name="Google Shape;3747;g3681a448973_2_1673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748" name="Google Shape;3748;g3681a448973_2_167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49" name="Google Shape;3749;g3681a448973_2_167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50" name="Google Shape;3750;g3681a448973_2_16731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1" name="Google Shape;3751;g3681a448973_2_1673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2" name="Google Shape;3752;g3681a448973_2_1673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3" name="Google Shape;3753;g3681a448973_2_167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4" name="Google Shape;3754;g3681a448973_2_16731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0" name="Google Shape;420;g3681a448973_2_1340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1" name="Google Shape;421;g3681a448973_2_1340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g3681a448973_2_1340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3" name="Google Shape;423;g3681a448973_2_1340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g3681a448973_2_1340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" name="Google Shape;425;g3681a448973_2_1340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6" name="Google Shape;426;g3681a448973_2_13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7" name="Google Shape;427;g3681a448973_2_134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3">
    <p:spTree>
      <p:nvGrpSpPr>
        <p:cNvPr id="1" name="Shape 3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6" name="Google Shape;3756;g3681a448973_2_1674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57" name="Google Shape;3757;g3681a448973_2_1674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758" name="Google Shape;3758;g3681a448973_2_1674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759" name="Google Shape;3759;g3681a448973_2_167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0" name="Google Shape;3760;g3681a448973_2_167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61" name="Google Shape;3761;g3681a448973_2_167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762" name="Google Shape;3762;g3681a448973_2_167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4">
    <p:spTree>
      <p:nvGrpSpPr>
        <p:cNvPr id="1" name="Shape 3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4" name="Google Shape;3764;g3681a448973_2_1675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65" name="Google Shape;3765;g3681a448973_2_1675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766" name="Google Shape;3766;g3681a448973_2_1675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767" name="Google Shape;3767;g3681a448973_2_1675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8" name="Google Shape;3768;g3681a448973_2_1675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69" name="Google Shape;3769;g3681a448973_2_1675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770" name="Google Shape;3770;g3681a448973_2_167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3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2" name="Google Shape;3772;g3681a448973_2_16758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73" name="Google Shape;3773;g3681a448973_2_16758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74" name="Google Shape;3774;g3681a448973_2_1675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75" name="Google Shape;3775;g3681a448973_2_16758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76" name="Google Shape;3776;g3681a448973_2_1675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7" name="Google Shape;3777;g3681a448973_2_1675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78" name="Google Shape;3778;g3681a448973_2_16758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9" name="Google Shape;3779;g3681a448973_2_16758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80" name="Google Shape;3780;g3681a448973_2_167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3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2" name="Google Shape;3782;g3681a448973_2_16768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3" name="Google Shape;3783;g3681a448973_2_16768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84" name="Google Shape;3784;g3681a448973_2_1676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5" name="Google Shape;3785;g3681a448973_2_16768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86" name="Google Shape;3786;g3681a448973_2_1676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7" name="Google Shape;3787;g3681a448973_2_1676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88" name="Google Shape;3788;g3681a448973_2_16768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89" name="Google Shape;3789;g3681a448973_2_16768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90" name="Google Shape;3790;g3681a448973_2_167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3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2" name="Google Shape;3792;g3681a448973_2_1677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3" name="Google Shape;3793;g3681a448973_2_1677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4" name="Google Shape;3794;g3681a448973_2_167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5" name="Google Shape;3795;g3681a448973_2_167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96" name="Google Shape;3796;g3681a448973_2_16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97" name="Google Shape;3797;g3681a448973_2_16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98" name="Google Shape;3798;g3681a448973_2_167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799" name="Google Shape;3799;g3681a448973_2_16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0" name="Google Shape;3800;g3681a448973_2_167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01" name="Google Shape;3801;g3681a448973_2_16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02" name="Google Shape;3802;g3681a448973_2_16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03" name="Google Shape;3803;g3681a448973_2_167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38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5" name="Google Shape;3805;g3681a448973_2_1679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6" name="Google Shape;3806;g3681a448973_2_1679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7" name="Google Shape;3807;g3681a448973_2_1679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808" name="Google Shape;3808;g3681a448973_2_167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809" name="Google Shape;3809;g3681a448973_2_1679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3810" name="Google Shape;3810;g3681a448973_2_167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1" name="Google Shape;3811;g3681a448973_2_167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12" name="Google Shape;3812;g3681a448973_2_16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3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14" name="Google Shape;3814;g3681a448973_2_1680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3815" name="Google Shape;3815;g3681a448973_2_168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6" name="Google Shape;3816;g3681a448973_2_16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7" name="Google Shape;3817;g3681a448973_2_168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18" name="Google Shape;3818;g3681a448973_2_16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19" name="Google Shape;3819;g3681a448973_2_1680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0" name="Google Shape;3820;g3681a448973_2_1680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 5">
    <p:spTree>
      <p:nvGrpSpPr>
        <p:cNvPr id="1" name="Shape 3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2" name="Google Shape;3822;g3681a448973_2_1680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23" name="Google Shape;3823;g3681a448973_2_1680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824" name="Google Shape;3824;g3681a448973_2_1680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825" name="Google Shape;3825;g3681a448973_2_16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6" name="Google Shape;3826;g3681a448973_2_16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27" name="Google Shape;3827;g3681a448973_2_16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828" name="Google Shape;3828;g3681a448973_2_16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3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0" name="Google Shape;3830;g3681a448973_2_1681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1" name="Google Shape;3831;g3681a448973_2_1681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2" name="Google Shape;3832;g3681a448973_2_168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3" name="Google Shape;3833;g3681a448973_2_168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34" name="Google Shape;3834;g3681a448973_2_168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35" name="Google Shape;3835;g3681a448973_2_168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36" name="Google Shape;3836;g3681a448973_2_168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37" name="Google Shape;3837;g3681a448973_2_16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38" name="Google Shape;3838;g3681a448973_2_168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39" name="Google Shape;3839;g3681a448973_2_168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40" name="Google Shape;3840;g3681a448973_2_168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41" name="Google Shape;3841;g3681a448973_2_168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 2">
    <p:spTree>
      <p:nvGrpSpPr>
        <p:cNvPr id="1" name="Shape 3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43" name="Google Shape;3843;g3681a448973_2_168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44" name="Google Shape;3844;g3681a448973_2_16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45" name="Google Shape;3845;g3681a448973_2_168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46" name="Google Shape;3846;g3681a448973_2_168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47" name="Google Shape;3847;g3681a448973_2_168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48" name="Google Shape;3848;g3681a448973_2_168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9" name="Google Shape;3849;g3681a448973_2_168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0" name="Google Shape;3850;g3681a448973_2_168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1" name="Google Shape;3851;g3681a448973_2_168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52" name="Google Shape;3852;g3681a448973_2_168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g3681a448973_2_1303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" name="Google Shape;50;g3681a448973_2_1303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1" name="Google Shape;51;g3681a448973_2_1303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2" name="Google Shape;52;g3681a448973_2_1303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g3681a448973_2_1303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" name="Google Shape;54;g3681a448973_2_1303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5" name="Google Shape;55;g3681a448973_2_13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g3681a448973_2_134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" name="Google Shape;430;g3681a448973_2_13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1" name="Google Shape;431;g3681a448973_2_13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2" name="Google Shape;432;g3681a448973_2_134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3" name="Google Shape;433;g3681a448973_2_13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g3681a448973_2_134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5" name="Google Shape;435;g3681a448973_2_13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g3681a448973_2_13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3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4" name="Google Shape;3854;g3681a448973_2_16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5" name="Google Shape;3855;g3681a448973_2_1684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56" name="Google Shape;3856;g3681a448973_2_168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57" name="Google Shape;3857;g3681a448973_2_16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58" name="Google Shape;3858;g3681a448973_2_16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59" name="Google Shape;3859;g3681a448973_2_16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60" name="Google Shape;3860;g3681a448973_2_16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61" name="Google Shape;3861;g3681a448973_2_1684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2" name="Google Shape;3862;g3681a448973_2_1684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63" name="Google Shape;3863;g3681a448973_2_16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4" name="Google Shape;3864;g3681a448973_2_16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3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66" name="Google Shape;3866;g3681a448973_2_1685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67" name="Google Shape;3867;g3681a448973_2_16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68" name="Google Shape;3868;g3681a448973_2_168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69" name="Google Shape;3869;g3681a448973_2_168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70" name="Google Shape;3870;g3681a448973_2_168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71" name="Google Shape;3871;g3681a448973_2_1685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2" name="Google Shape;3872;g3681a448973_2_1685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873" name="Google Shape;3873;g3681a448973_2_1685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4" name="Google Shape;3874;g3681a448973_2_168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875" name="Google Shape;3875;g3681a448973_2_168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6" name="Google Shape;3876;g3681a448973_2_1685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77" name="Google Shape;3877;g3681a448973_2_168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78" name="Google Shape;3878;g3681a448973_2_168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3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80" name="Google Shape;3880;g3681a448973_2_168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81" name="Google Shape;3881;g3681a448973_2_16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82" name="Google Shape;3882;g3681a448973_2_168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83" name="Google Shape;3883;g3681a448973_2_16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84" name="Google Shape;3884;g3681a448973_2_16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85" name="Google Shape;3885;g3681a448973_2_168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86" name="Google Shape;3886;g3681a448973_2_168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87" name="Google Shape;3887;g3681a448973_2_16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88" name="Google Shape;3888;g3681a448973_2_16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3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90" name="Google Shape;3890;g3681a448973_2_168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891" name="Google Shape;3891;g3681a448973_2_168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2" name="Google Shape;3892;g3681a448973_2_168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93" name="Google Shape;3893;g3681a448973_2_1687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4" name="Google Shape;3894;g3681a448973_2_1687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95" name="Google Shape;3895;g3681a448973_2_168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96" name="Google Shape;3896;g3681a448973_2_168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897" name="Google Shape;3897;g3681a448973_2_168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3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9" name="Google Shape;3899;g3681a448973_2_1688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00" name="Google Shape;3900;g3681a448973_2_168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01" name="Google Shape;3901;g3681a448973_2_168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02" name="Google Shape;3902;g3681a448973_2_1688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03" name="Google Shape;3903;g3681a448973_2_168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04" name="Google Shape;3904;g3681a448973_2_168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05" name="Google Shape;3905;g3681a448973_2_168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06" name="Google Shape;3906;g3681a448973_2_168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3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08" name="Google Shape;3908;g3681a448973_2_168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09" name="Google Shape;3909;g3681a448973_2_168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910" name="Google Shape;3910;g3681a448973_2_16894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1" name="Google Shape;3911;g3681a448973_2_168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3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13" name="Google Shape;3913;g3681a448973_2_168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3914" name="Google Shape;3914;g3681a448973_2_1689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5" name="Google Shape;3915;g3681a448973_2_168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16" name="Google Shape;3916;g3681a448973_2_1689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3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18" name="Google Shape;3918;g3681a448973_2_169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9" name="Google Shape;3919;g3681a448973_2_169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920" name="Google Shape;3920;g3681a448973_2_1690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21" name="Google Shape;3921;g3681a448973_2_1690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3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23" name="Google Shape;3923;g3681a448973_2_16909"/>
          <p:cNvPicPr preferRelativeResize="0"/>
          <p:nvPr/>
        </p:nvPicPr>
        <p:blipFill rotWithShape="1">
          <a:blip r:embed="rId2">
            <a:alphaModFix/>
          </a:blip>
          <a:srcRect t="12180" r="12171"/>
          <a:stretch/>
        </p:blipFill>
        <p:spPr>
          <a:xfrm>
            <a:off x="1524" y="0"/>
            <a:ext cx="1219047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24" name="Google Shape;3924;g3681a448973_2_169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5" name="Google Shape;3925;g3681a448973_2_169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26" name="Google Shape;3926;g3681a448973_2_1690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3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28" name="Google Shape;3928;g3681a448973_2_16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g3681a448973_2_169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0" name="Google Shape;3930;g3681a448973_2_169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1" name="Google Shape;3931;g3681a448973_2_16914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g3681a448973_2_1342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9" name="Google Shape;439;g3681a448973_2_1342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g3681a448973_2_1342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1" name="Google Shape;441;g3681a448973_2_134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2" name="Google Shape;442;g3681a448973_2_1342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43" name="Google Shape;443;g3681a448973_2_134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4" name="Google Shape;444;g3681a448973_2_1342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5" name="Google Shape;445;g3681a448973_2_13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3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33" name="Google Shape;3933;g3681a448973_2_16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34" name="Google Shape;3934;g3681a448973_2_169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3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36" name="Google Shape;3936;g3681a448973_2_169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37" name="Google Shape;3937;g3681a448973_2_169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938" name="Google Shape;3938;g3681a448973_2_1692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9" name="Google Shape;3939;g3681a448973_2_1692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39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1" name="Google Shape;3941;g3681a448973_2_1692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42" name="Google Shape;3942;g3681a448973_2_1692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43" name="Google Shape;3943;g3681a448973_2_1692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44" name="Google Shape;3944;g3681a448973_2_1692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45" name="Google Shape;3945;g3681a448973_2_1692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46" name="Google Shape;3946;g3681a448973_2_1692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47" name="Google Shape;3947;g3681a448973_2_16927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48" name="Google Shape;3948;g3681a448973_2_1692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949" name="Google Shape;3949;g3681a448973_2_169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39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1" name="Google Shape;3951;g3681a448973_2_1693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2" name="Google Shape;3952;g3681a448973_2_1693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53" name="Google Shape;3953;g3681a448973_2_1693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54" name="Google Shape;3954;g3681a448973_2_1693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55" name="Google Shape;3955;g3681a448973_2_1693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6" name="Google Shape;3956;g3681a448973_2_1693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57" name="Google Shape;3957;g3681a448973_2_16937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8" name="Google Shape;3958;g3681a448973_2_1693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959" name="Google Shape;3959;g3681a448973_2_169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3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1" name="Google Shape;3961;g3681a448973_2_1694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2" name="Google Shape;3962;g3681a448973_2_169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3" name="Google Shape;3963;g3681a448973_2_169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4" name="Google Shape;3964;g3681a448973_2_16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65" name="Google Shape;3965;g3681a448973_2_169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6" name="Google Shape;3966;g3681a448973_2_16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67" name="Google Shape;3967;g3681a448973_2_169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968" name="Google Shape;3968;g3681a448973_2_169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9" name="Google Shape;3969;g3681a448973_2_169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70" name="Google Shape;3970;g3681a448973_2_169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1" name="Google Shape;3971;g3681a448973_2_169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72" name="Google Shape;3972;g3681a448973_2_169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3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4" name="Google Shape;3974;g3681a448973_2_1696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75" name="Google Shape;3975;g3681a448973_2_169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6" name="Google Shape;3976;g3681a448973_2_169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7" name="Google Shape;3977;g3681a448973_2_169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78" name="Google Shape;3978;g3681a448973_2_169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79" name="Google Shape;3979;g3681a448973_2_169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0" name="Google Shape;3980;g3681a448973_2_169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81" name="Google Shape;3981;g3681a448973_2_169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3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83" name="Google Shape;3983;g3681a448973_2_169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984" name="Google Shape;3984;g3681a448973_2_169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5" name="Google Shape;3985;g3681a448973_2_169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6" name="Google Shape;3986;g3681a448973_2_169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87" name="Google Shape;3987;g3681a448973_2_169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988" name="Google Shape;3988;g3681a448973_2_169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9" name="Google Shape;3989;g3681a448973_2_169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3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1" name="Google Shape;3991;g3681a448973_2_169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92" name="Google Shape;3992;g3681a448973_2_169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993" name="Google Shape;3993;g3681a448973_2_169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994" name="Google Shape;3994;g3681a448973_2_169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5" name="Google Shape;3995;g3681a448973_2_169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96" name="Google Shape;3996;g3681a448973_2_169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997" name="Google Shape;3997;g3681a448973_2_169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3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9" name="Google Shape;3999;g3681a448973_2_1698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00" name="Google Shape;4000;g3681a448973_2_169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1" name="Google Shape;4001;g3681a448973_2_169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2" name="Google Shape;4002;g3681a448973_2_169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3" name="Google Shape;4003;g3681a448973_2_169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4" name="Google Shape;4004;g3681a448973_2_169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05" name="Google Shape;4005;g3681a448973_2_1698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06" name="Google Shape;4006;g3681a448973_2_16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07" name="Google Shape;4007;g3681a448973_2_169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08" name="Google Shape;4008;g3681a448973_2_169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9" name="Google Shape;4009;g3681a448973_2_169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10" name="Google Shape;4010;g3681a448973_2_169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4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2" name="Google Shape;4012;g3681a448973_2_169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13" name="Google Shape;4013;g3681a448973_2_169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4" name="Google Shape;4014;g3681a448973_2_169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15" name="Google Shape;4015;g3681a448973_2_169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6" name="Google Shape;4016;g3681a448973_2_169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7" name="Google Shape;4017;g3681a448973_2_169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8" name="Google Shape;4018;g3681a448973_2_169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19" name="Google Shape;4019;g3681a448973_2_169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20" name="Google Shape;4020;g3681a448973_2_169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21" name="Google Shape;4021;g3681a448973_2_169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7" name="Google Shape;447;g3681a448973_2_1343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48" name="Google Shape;448;g3681a448973_2_134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" name="Google Shape;449;g3681a448973_2_134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g3681a448973_2_134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1" name="Google Shape;451;g3681a448973_2_134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2" name="Google Shape;452;g3681a448973_2_1343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" name="Google Shape;453;g3681a448973_2_1343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4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3" name="Google Shape;4023;g3681a448973_2_170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4" name="Google Shape;4024;g3681a448973_2_170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25" name="Google Shape;4025;g3681a448973_2_1700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26" name="Google Shape;4026;g3681a448973_2_17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27" name="Google Shape;4027;g3681a448973_2_170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28" name="Google Shape;4028;g3681a448973_2_170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29" name="Google Shape;4029;g3681a448973_2_170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30" name="Google Shape;4030;g3681a448973_2_170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31" name="Google Shape;4031;g3681a448973_2_170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32" name="Google Shape;4032;g3681a448973_2_170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3" name="Google Shape;4033;g3681a448973_2_170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4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5" name="Google Shape;4035;g3681a448973_2_170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36" name="Google Shape;4036;g3681a448973_2_170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7" name="Google Shape;4037;g3681a448973_2_170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38" name="Google Shape;4038;g3681a448973_2_170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9" name="Google Shape;4039;g3681a448973_2_170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40" name="Google Shape;4040;g3681a448973_2_170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1" name="Google Shape;4041;g3681a448973_2_170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2" name="Google Shape;4042;g3681a448973_2_170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43" name="Google Shape;4043;g3681a448973_2_170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4" name="Google Shape;4044;g3681a448973_2_170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45" name="Google Shape;4045;g3681a448973_2_170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46" name="Google Shape;4046;g3681a448973_2_170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47" name="Google Shape;4047;g3681a448973_2_170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4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49" name="Google Shape;4049;g3681a448973_2_170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50" name="Google Shape;4050;g3681a448973_2_170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51" name="Google Shape;4051;g3681a448973_2_170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52" name="Google Shape;4052;g3681a448973_2_170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3" name="Google Shape;4053;g3681a448973_2_170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54" name="Google Shape;4054;g3681a448973_2_170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5" name="Google Shape;4055;g3681a448973_2_170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56" name="Google Shape;4056;g3681a448973_2_170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57" name="Google Shape;4057;g3681a448973_2_170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4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59" name="Google Shape;4059;g3681a448973_2_170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60" name="Google Shape;4060;g3681a448973_2_170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1" name="Google Shape;4061;g3681a448973_2_170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62" name="Google Shape;4062;g3681a448973_2_1704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3" name="Google Shape;4063;g3681a448973_2_170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4" name="Google Shape;4064;g3681a448973_2_170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065" name="Google Shape;4065;g3681a448973_2_170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066" name="Google Shape;4066;g3681a448973_2_170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4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8" name="Google Shape;4068;g3681a448973_2_170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9" name="Google Shape;4069;g3681a448973_2_170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70" name="Google Shape;4070;g3681a448973_2_170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71" name="Google Shape;4071;g3681a448973_2_1705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72" name="Google Shape;4072;g3681a448973_2_170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3" name="Google Shape;4073;g3681a448973_2_170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74" name="Google Shape;4074;g3681a448973_2_170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5" name="Google Shape;4075;g3681a448973_2_170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4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7" name="Google Shape;4077;g3681a448973_2_170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8" name="Google Shape;4078;g3681a448973_2_170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79" name="Google Shape;4079;g3681a448973_2_170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80" name="Google Shape;4080;g3681a448973_2_17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81" name="Google Shape;4081;g3681a448973_2_170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82" name="Google Shape;4082;g3681a448973_2_170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3" name="Google Shape;4083;g3681a448973_2_170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4" name="Google Shape;4084;g3681a448973_2_1706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5" name="Google Shape;4085;g3681a448973_2_1706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6" name="Google Shape;4086;g3681a448973_2_170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7" name="Google Shape;4087;g3681a448973_2_170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4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89" name="Google Shape;4089;g3681a448973_2_17075"/>
          <p:cNvCxnSpPr/>
          <p:nvPr/>
        </p:nvCxnSpPr>
        <p:spPr>
          <a:xfrm>
            <a:off x="2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4090" name="Google Shape;4090;g3681a448973_2_17075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1" name="Google Shape;4091;g3681a448973_2_17075"/>
          <p:cNvSpPr/>
          <p:nvPr/>
        </p:nvSpPr>
        <p:spPr>
          <a:xfrm>
            <a:off x="9815334" y="5955178"/>
            <a:ext cx="2376600" cy="90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2" name="Google Shape;4092;g3681a448973_2_17075"/>
          <p:cNvSpPr/>
          <p:nvPr/>
        </p:nvSpPr>
        <p:spPr>
          <a:xfrm>
            <a:off x="9815334" y="77979"/>
            <a:ext cx="2376600" cy="9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093" name="Google Shape;4093;g3681a448973_2_17075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4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95" name="Google Shape;4095;g3681a448973_2_17081"/>
          <p:cNvCxnSpPr/>
          <p:nvPr/>
        </p:nvCxnSpPr>
        <p:spPr>
          <a:xfrm>
            <a:off x="1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4096" name="Google Shape;4096;g3681a448973_2_17081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7" name="Google Shape;4097;g3681a448973_2_17081"/>
          <p:cNvSpPr/>
          <p:nvPr/>
        </p:nvSpPr>
        <p:spPr>
          <a:xfrm>
            <a:off x="9815333" y="5694745"/>
            <a:ext cx="2376600" cy="1163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8" name="Google Shape;4098;g3681a448973_2_17081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00" cy="49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5" name="Google Shape;4105;g3681a448973_2_170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106" name="Google Shape;4106;g3681a448973_2_17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7" name="Google Shape;4107;g3681a448973_2_170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08" name="Google Shape;4108;g3681a448973_2_170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9" name="Google Shape;4109;g3681a448973_2_170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10" name="Google Shape;4110;g3681a448973_2_170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11" name="Google Shape;4111;g3681a448973_2_170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2" name="Google Shape;4112;g3681a448973_2_170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3" name="Google Shape;4113;g3681a448973_2_170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4" name="Google Shape;4114;g3681a448973_2_170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4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" name="Google Shape;4116;g3681a448973_2_1710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17" name="Google Shape;4117;g3681a448973_2_1710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18" name="Google Shape;4118;g3681a448973_2_1710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119" name="Google Shape;4119;g3681a448973_2_17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120" name="Google Shape;4120;g3681a448973_2_1710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121" name="Google Shape;4121;g3681a448973_2_1710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2" name="Google Shape;4122;g3681a448973_2_1710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23" name="Google Shape;4123;g3681a448973_2_17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Google Shape;455;g3681a448973_2_1344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6" name="Google Shape;456;g3681a448973_2_1344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g3681a448973_2_1344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8" name="Google Shape;458;g3681a448973_2_134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9" name="Google Shape;459;g3681a448973_2_1344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60" name="Google Shape;460;g3681a448973_2_134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461;g3681a448973_2_134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2" name="Google Shape;462;g3681a448973_2_13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4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5" name="Google Shape;4125;g3681a448973_2_1711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6" name="Google Shape;4126;g3681a448973_2_1711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7" name="Google Shape;4127;g3681a448973_2_17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8" name="Google Shape;4128;g3681a448973_2_1711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29" name="Google Shape;4129;g3681a448973_2_17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0" name="Google Shape;4130;g3681a448973_2_17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31" name="Google Shape;4131;g3681a448973_2_1711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132" name="Google Shape;4132;g3681a448973_2_17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3" name="Google Shape;4133;g3681a448973_2_171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34" name="Google Shape;4134;g3681a448973_2_17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35" name="Google Shape;4135;g3681a448973_2_17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136" name="Google Shape;4136;g3681a448973_2_17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38" name="Google Shape;4138;g3681a448973_2_1712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139" name="Google Shape;4139;g3681a448973_2_171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0" name="Google Shape;4140;g3681a448973_2_171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1" name="Google Shape;4141;g3681a448973_2_171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42" name="Google Shape;4142;g3681a448973_2_17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143" name="Google Shape;4143;g3681a448973_2_1712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4" name="Google Shape;4144;g3681a448973_2_1712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6" name="Google Shape;4146;g3681a448973_2_171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7" name="Google Shape;4147;g3681a448973_2_1713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48" name="Google Shape;4148;g3681a448973_2_171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149" name="Google Shape;4149;g3681a448973_2_17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50" name="Google Shape;4150;g3681a448973_2_171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51" name="Google Shape;4151;g3681a448973_2_171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2" name="Google Shape;4152;g3681a448973_2_171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53" name="Google Shape;4153;g3681a448973_2_1713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4" name="Google Shape;4154;g3681a448973_2_1713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55" name="Google Shape;4155;g3681a448973_2_171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56" name="Google Shape;4156;g3681a448973_2_171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8" name="Google Shape;4158;g3681a448973_2_17144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59" name="Google Shape;4159;g3681a448973_2_1714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60" name="Google Shape;4160;g3681a448973_2_17144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161" name="Google Shape;4161;g3681a448973_2_171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2" name="Google Shape;4162;g3681a448973_2_171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3" name="Google Shape;4163;g3681a448973_2_171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164" name="Google Shape;4164;g3681a448973_2_17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66" name="Google Shape;4166;g3681a448973_2_1715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167" name="Google Shape;4167;g3681a448973_2_17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68" name="Google Shape;4168;g3681a448973_2_171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69" name="Google Shape;4169;g3681a448973_2_17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70" name="Google Shape;4170;g3681a448973_2_17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71" name="Google Shape;4171;g3681a448973_2_1715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2" name="Google Shape;4172;g3681a448973_2_1715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73" name="Google Shape;4173;g3681a448973_2_1715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4" name="Google Shape;4174;g3681a448973_2_171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75" name="Google Shape;4175;g3681a448973_2_171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6" name="Google Shape;4176;g3681a448973_2_1715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77" name="Google Shape;4177;g3681a448973_2_17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78" name="Google Shape;4178;g3681a448973_2_17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4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0" name="Google Shape;4180;g3681a448973_2_1716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1" name="Google Shape;4181;g3681a448973_2_1716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82" name="Google Shape;4182;g3681a448973_2_1716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183" name="Google Shape;4183;g3681a448973_2_171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184" name="Google Shape;4184;g3681a448973_2_1716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185" name="Google Shape;4185;g3681a448973_2_171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6" name="Google Shape;4186;g3681a448973_2_1716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87" name="Google Shape;4187;g3681a448973_2_17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4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89" name="Google Shape;4189;g3681a448973_2_1717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190" name="Google Shape;4190;g3681a448973_2_17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1" name="Google Shape;4191;g3681a448973_2_17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2" name="Google Shape;4192;g3681a448973_2_17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93" name="Google Shape;4193;g3681a448973_2_17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194" name="Google Shape;4194;g3681a448973_2_1717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5" name="Google Shape;4195;g3681a448973_2_1717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4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7" name="Google Shape;4197;g3681a448973_2_1718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98" name="Google Shape;4198;g3681a448973_2_171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99" name="Google Shape;4199;g3681a448973_2_1718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200" name="Google Shape;4200;g3681a448973_2_171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1" name="Google Shape;4201;g3681a448973_2_171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02" name="Google Shape;4202;g3681a448973_2_171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203" name="Google Shape;4203;g3681a448973_2_171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4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5" name="Google Shape;4205;g3681a448973_2_1719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6" name="Google Shape;4206;g3681a448973_2_1719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7" name="Google Shape;4207;g3681a448973_2_171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8" name="Google Shape;4208;g3681a448973_2_171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09" name="Google Shape;4209;g3681a448973_2_17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10" name="Google Shape;4210;g3681a448973_2_17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11" name="Google Shape;4211;g3681a448973_2_171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12" name="Google Shape;4212;g3681a448973_2_17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3" name="Google Shape;4213;g3681a448973_2_171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14" name="Google Shape;4214;g3681a448973_2_17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5" name="Google Shape;4215;g3681a448973_2_17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216" name="Google Shape;4216;g3681a448973_2_171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4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8" name="Google Shape;4218;g3681a448973_2_1720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19" name="Google Shape;4219;g3681a448973_2_17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20" name="Google Shape;4220;g3681a448973_2_172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21" name="Google Shape;4221;g3681a448973_2_17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2" name="Google Shape;4222;g3681a448973_2_17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23" name="Google Shape;4223;g3681a448973_2_172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4" name="Google Shape;4224;g3681a448973_2_172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5" name="Google Shape;4225;g3681a448973_2_172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26" name="Google Shape;4226;g3681a448973_2_17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27" name="Google Shape;4227;g3681a448973_2_17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4" name="Google Shape;464;g3681a448973_2_134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5" name="Google Shape;465;g3681a448973_2_134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6" name="Google Shape;466;g3681a448973_2_134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7" name="Google Shape;467;g3681a448973_2_134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g3681a448973_2_134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9" name="Google Shape;469;g3681a448973_2_134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" name="Google Shape;470;g3681a448973_2_134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1" name="Google Shape;471;g3681a448973_2_134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2" name="Google Shape;472;g3681a448973_2_134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4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" name="Google Shape;4229;g3681a448973_2_1721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0" name="Google Shape;4230;g3681a448973_2_1721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1" name="Google Shape;4231;g3681a448973_2_172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2" name="Google Shape;4232;g3681a448973_2_172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3" name="Google Shape;4233;g3681a448973_2_17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34" name="Google Shape;4234;g3681a448973_2_17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35" name="Google Shape;4235;g3681a448973_2_172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36" name="Google Shape;4236;g3681a448973_2_17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37" name="Google Shape;4237;g3681a448973_2_172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38" name="Google Shape;4238;g3681a448973_2_17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9" name="Google Shape;4239;g3681a448973_2_17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240" name="Google Shape;4240;g3681a448973_2_172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4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2" name="Google Shape;4242;g3681a448973_2_17228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3" name="Google Shape;4243;g3681a448973_2_17228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4244" name="Google Shape;4244;g3681a448973_2_17228"/>
          <p:cNvGrpSpPr/>
          <p:nvPr/>
        </p:nvGrpSpPr>
        <p:grpSpPr>
          <a:xfrm flipH="1">
            <a:off x="225" y="2"/>
            <a:ext cx="6418638" cy="1509802"/>
            <a:chOff x="7522541" y="1"/>
            <a:chExt cx="4669459" cy="1098357"/>
          </a:xfrm>
        </p:grpSpPr>
        <p:sp>
          <p:nvSpPr>
            <p:cNvPr id="4245" name="Google Shape;4245;g3681a448973_2_1722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6" name="Google Shape;4246;g3681a448973_2_1722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4247" name="Google Shape;4247;g3681a448973_2_172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4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9" name="Google Shape;4249;g3681a448973_2_1723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0" name="Google Shape;4250;g3681a448973_2_1723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51" name="Google Shape;4251;g3681a448973_2_1723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52" name="Google Shape;4252;g3681a448973_2_172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53" name="Google Shape;4253;g3681a448973_2_1723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254" name="Google Shape;4254;g3681a448973_2_172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5" name="Google Shape;4255;g3681a448973_2_172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56" name="Google Shape;4256;g3681a448973_2_172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4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8" name="Google Shape;4258;g3681a448973_2_1724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259" name="Google Shape;4259;g3681a448973_2_1724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0" name="Google Shape;4260;g3681a448973_2_172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1" name="Google Shape;4261;g3681a448973_2_1724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62" name="Google Shape;4262;g3681a448973_2_172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263" name="Google Shape;4263;g3681a448973_2_1724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4" name="Google Shape;4264;g3681a448973_2_1724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4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6" name="Google Shape;4266;g3681a448973_2_1725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267" name="Google Shape;4267;g3681a448973_2_172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268" name="Google Shape;4268;g3681a448973_2_1725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269" name="Google Shape;4269;g3681a448973_2_172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0" name="Google Shape;4270;g3681a448973_2_172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71" name="Google Shape;4271;g3681a448973_2_172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272" name="Google Shape;4272;g3681a448973_2_17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4" name="Google Shape;4274;g3681a448973_2_1726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75" name="Google Shape;4275;g3681a448973_2_1726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6" name="Google Shape;4276;g3681a448973_2_172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77" name="Google Shape;4277;g3681a448973_2_172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78" name="Google Shape;4278;g3681a448973_2_172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79" name="Google Shape;4279;g3681a448973_2_172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80" name="Google Shape;4280;g3681a448973_2_172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81" name="Google Shape;4281;g3681a448973_2_17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2" name="Google Shape;4282;g3681a448973_2_172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83" name="Google Shape;4283;g3681a448973_2_172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4" name="Google Shape;4284;g3681a448973_2_172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285" name="Google Shape;4285;g3681a448973_2_1726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4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7" name="Google Shape;4287;g3681a448973_2_172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88" name="Google Shape;4288;g3681a448973_2_17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9" name="Google Shape;4289;g3681a448973_2_172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90" name="Google Shape;4290;g3681a448973_2_17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1" name="Google Shape;4291;g3681a448973_2_17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2" name="Google Shape;4292;g3681a448973_2_17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3" name="Google Shape;4293;g3681a448973_2_17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4" name="Google Shape;4294;g3681a448973_2_172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95" name="Google Shape;4295;g3681a448973_2_17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96" name="Google Shape;4296;g3681a448973_2_17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4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8" name="Google Shape;4298;g3681a448973_2_172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9" name="Google Shape;4299;g3681a448973_2_1728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00" name="Google Shape;4300;g3681a448973_2_172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01" name="Google Shape;4301;g3681a448973_2_172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02" name="Google Shape;4302;g3681a448973_2_172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03" name="Google Shape;4303;g3681a448973_2_172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4" name="Google Shape;4304;g3681a448973_2_172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05" name="Google Shape;4305;g3681a448973_2_1728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6" name="Google Shape;4306;g3681a448973_2_1728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7" name="Google Shape;4307;g3681a448973_2_172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08" name="Google Shape;4308;g3681a448973_2_17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4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10" name="Google Shape;4310;g3681a448973_2_172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11" name="Google Shape;4311;g3681a448973_2_172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12" name="Google Shape;4312;g3681a448973_2_172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13" name="Google Shape;4313;g3681a448973_2_172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4" name="Google Shape;4314;g3681a448973_2_172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15" name="Google Shape;4315;g3681a448973_2_1729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6" name="Google Shape;4316;g3681a448973_2_1729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7" name="Google Shape;4317;g3681a448973_2_1729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8" name="Google Shape;4318;g3681a448973_2_1729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9" name="Google Shape;4319;g3681a448973_2_1729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0" name="Google Shape;4320;g3681a448973_2_172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21" name="Google Shape;4321;g3681a448973_2_172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2" name="Google Shape;4322;g3681a448973_2_172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4" name="Google Shape;4324;g3681a448973_2_1731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25" name="Google Shape;4325;g3681a448973_2_17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26" name="Google Shape;4326;g3681a448973_2_173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27" name="Google Shape;4327;g3681a448973_2_17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8" name="Google Shape;4328;g3681a448973_2_17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29" name="Google Shape;4329;g3681a448973_2_173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0" name="Google Shape;4330;g3681a448973_2_1731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31" name="Google Shape;4331;g3681a448973_2_17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32" name="Google Shape;4332;g3681a448973_2_17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4" name="Google Shape;474;g3681a448973_2_134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5" name="Google Shape;475;g3681a448973_2_134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g3681a448973_2_134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7" name="Google Shape;477;g3681a448973_2_1346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g3681a448973_2_1346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9" name="Google Shape;479;g3681a448973_2_134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0" name="Google Shape;480;g3681a448973_2_134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1" name="Google Shape;481;g3681a448973_2_134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4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34" name="Google Shape;4334;g3681a448973_2_1732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335" name="Google Shape;4335;g3681a448973_2_1732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6" name="Google Shape;4336;g3681a448973_2_1732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37" name="Google Shape;4337;g3681a448973_2_1732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38" name="Google Shape;4338;g3681a448973_2_1732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39" name="Google Shape;4339;g3681a448973_2_1732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340" name="Google Shape;4340;g3681a448973_2_173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341" name="Google Shape;4341;g3681a448973_2_173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3" name="Google Shape;4343;g3681a448973_2_173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44" name="Google Shape;4344;g3681a448973_2_173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45" name="Google Shape;4345;g3681a448973_2_173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46" name="Google Shape;4346;g3681a448973_2_173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47" name="Google Shape;4347;g3681a448973_2_17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8" name="Google Shape;4348;g3681a448973_2_173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49" name="Google Shape;4349;g3681a448973_2_173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0" name="Google Shape;4350;g3681a448973_2_173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4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" name="Google Shape;4352;g3681a448973_2_1733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3" name="Google Shape;4353;g3681a448973_2_1733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4" name="Google Shape;4354;g3681a448973_2_1733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5" name="Google Shape;4355;g3681a448973_2_173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356" name="Google Shape;4356;g3681a448973_2_1733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357" name="Google Shape;4357;g3681a448973_2_17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8" name="Google Shape;4358;g3681a448973_2_173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59" name="Google Shape;4359;g3681a448973_2_17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4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61" name="Google Shape;4361;g3681a448973_2_1734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362" name="Google Shape;4362;g3681a448973_2_173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3" name="Google Shape;4363;g3681a448973_2_173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4" name="Google Shape;4364;g3681a448973_2_173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5" name="Google Shape;4365;g3681a448973_2_17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66" name="Google Shape;4366;g3681a448973_2_1734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7" name="Google Shape;4367;g3681a448973_2_1734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4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9" name="Google Shape;4369;g3681a448973_2_1735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70" name="Google Shape;4370;g3681a448973_2_1735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371" name="Google Shape;4371;g3681a448973_2_1735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372" name="Google Shape;4372;g3681a448973_2_1735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73" name="Google Shape;4373;g3681a448973_2_1735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74" name="Google Shape;4374;g3681a448973_2_1735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375" name="Google Shape;4375;g3681a448973_2_173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4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7" name="Google Shape;4377;g3681a448973_2_1736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78" name="Google Shape;4378;g3681a448973_2_1736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79" name="Google Shape;4379;g3681a448973_2_17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0" name="Google Shape;4380;g3681a448973_2_173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81" name="Google Shape;4381;g3681a448973_2_17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82" name="Google Shape;4382;g3681a448973_2_17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83" name="Google Shape;4383;g3681a448973_2_1736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84" name="Google Shape;4384;g3681a448973_2_17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85" name="Google Shape;4385;g3681a448973_2_173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86" name="Google Shape;4386;g3681a448973_2_17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7" name="Google Shape;4387;g3681a448973_2_17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88" name="Google Shape;4388;g3681a448973_2_17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4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0" name="Google Shape;4390;g3681a448973_2_173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91" name="Google Shape;4391;g3681a448973_2_17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2" name="Google Shape;4392;g3681a448973_2_173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93" name="Google Shape;4393;g3681a448973_2_17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4" name="Google Shape;4394;g3681a448973_2_17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95" name="Google Shape;4395;g3681a448973_2_173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96" name="Google Shape;4396;g3681a448973_2_173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7" name="Google Shape;4397;g3681a448973_2_1737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98" name="Google Shape;4398;g3681a448973_2_17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99" name="Google Shape;4399;g3681a448973_2_17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4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1" name="Google Shape;4401;g3681a448973_2_173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2" name="Google Shape;4402;g3681a448973_2_1738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403" name="Google Shape;4403;g3681a448973_2_173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04" name="Google Shape;4404;g3681a448973_2_17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05" name="Google Shape;4405;g3681a448973_2_173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06" name="Google Shape;4406;g3681a448973_2_17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7" name="Google Shape;4407;g3681a448973_2_17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8" name="Google Shape;4408;g3681a448973_2_1738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9" name="Google Shape;4409;g3681a448973_2_1738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10" name="Google Shape;4410;g3681a448973_2_17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11" name="Google Shape;4411;g3681a448973_2_17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4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13" name="Google Shape;4413;g3681a448973_2_173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14" name="Google Shape;4414;g3681a448973_2_17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15" name="Google Shape;4415;g3681a448973_2_173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16" name="Google Shape;4416;g3681a448973_2_17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7" name="Google Shape;4417;g3681a448973_2_17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18" name="Google Shape;4418;g3681a448973_2_1739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9" name="Google Shape;4419;g3681a448973_2_1739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20" name="Google Shape;4420;g3681a448973_2_1739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1" name="Google Shape;4421;g3681a448973_2_173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22" name="Google Shape;4422;g3681a448973_2_173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3" name="Google Shape;4423;g3681a448973_2_173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24" name="Google Shape;4424;g3681a448973_2_17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25" name="Google Shape;4425;g3681a448973_2_17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7" name="Google Shape;4427;g3681a448973_2_174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28" name="Google Shape;4428;g3681a448973_2_17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29" name="Google Shape;4429;g3681a448973_2_174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30" name="Google Shape;4430;g3681a448973_2_17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1" name="Google Shape;4431;g3681a448973_2_17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32" name="Google Shape;4432;g3681a448973_2_174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33" name="Google Shape;4433;g3681a448973_2_174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4" name="Google Shape;4434;g3681a448973_2_17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35" name="Google Shape;4435;g3681a448973_2_17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" name="Google Shape;483;g3681a448973_2_1346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84" name="Google Shape;484;g3681a448973_2_134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g3681a448973_2_134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g3681a448973_2_134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7" name="Google Shape;487;g3681a448973_2_134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8" name="Google Shape;488;g3681a448973_2_1346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g3681a448973_2_1346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4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7" name="Google Shape;4437;g3681a448973_2_174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438" name="Google Shape;4438;g3681a448973_2_174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9" name="Google Shape;4439;g3681a448973_2_174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40" name="Google Shape;4440;g3681a448973_2_1742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41" name="Google Shape;4441;g3681a448973_2_1742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42" name="Google Shape;4442;g3681a448973_2_174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443" name="Google Shape;4443;g3681a448973_2_174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444" name="Google Shape;4444;g3681a448973_2_174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4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6" name="Google Shape;4446;g3681a448973_2_1743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47" name="Google Shape;4447;g3681a448973_2_174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8" name="Google Shape;4448;g3681a448973_2_174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449" name="Google Shape;4449;g3681a448973_2_174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50" name="Google Shape;4450;g3681a448973_2_174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1" name="Google Shape;4451;g3681a448973_2_174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52" name="Google Shape;4452;g3681a448973_2_174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3" name="Google Shape;4453;g3681a448973_2_174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4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5" name="Google Shape;4455;g3681a448973_2_1744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56" name="Google Shape;4456;g3681a448973_2_1744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7" name="Google Shape;4457;g3681a448973_2_17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8" name="Google Shape;4458;g3681a448973_2_1744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59" name="Google Shape;4459;g3681a448973_2_17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60" name="Google Shape;4460;g3681a448973_2_17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461" name="Google Shape;4461;g3681a448973_2_174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62" name="Google Shape;4462;g3681a448973_2_17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63" name="Google Shape;4463;g3681a448973_2_174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64" name="Google Shape;4464;g3681a448973_2_17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5" name="Google Shape;4465;g3681a448973_2_17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466" name="Google Shape;4466;g3681a448973_2_174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8" name="Google Shape;4468;g3681a448973_2_1745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69" name="Google Shape;4469;g3681a448973_2_17454"/>
          <p:cNvSpPr/>
          <p:nvPr/>
        </p:nvSpPr>
        <p:spPr>
          <a:xfrm>
            <a:off x="3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70" name="Google Shape;4470;g3681a448973_2_174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4471" name="Google Shape;4471;g3681a448973_2_17454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72" name="Google Shape;4472;g3681a448973_2_174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4473" name="Google Shape;4473;g3681a448973_2_1745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4" name="Google Shape;4474;g3681a448973_2_1745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5" name="Google Shape;4475;g3681a448973_2_1745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76" name="Google Shape;4476;g3681a448973_2_174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7" name="Google Shape;4477;g3681a448973_2_1745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78" name="Google Shape;4478;g3681a448973_2_174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4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0" name="Google Shape;4480;g3681a448973_2_174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81" name="Google Shape;4481;g3681a448973_2_174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2" name="Google Shape;4482;g3681a448973_2_174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83" name="Google Shape;4483;g3681a448973_2_174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84" name="Google Shape;4484;g3681a448973_2_17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85" name="Google Shape;4485;g3681a448973_2_17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486" name="Google Shape;4486;g3681a448973_2_174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87" name="Google Shape;4487;g3681a448973_2_17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8" name="Google Shape;4488;g3681a448973_2_174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89" name="Google Shape;4489;g3681a448973_2_17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0" name="Google Shape;4490;g3681a448973_2_17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491" name="Google Shape;4491;g3681a448973_2_174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4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3" name="Google Shape;4493;g3681a448973_2_174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4" name="Google Shape;4494;g3681a448973_2_17479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495" name="Google Shape;4495;g3681a448973_2_174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96" name="Google Shape;4496;g3681a448973_2_17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97" name="Google Shape;4497;g3681a448973_2_174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98" name="Google Shape;4498;g3681a448973_2_17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9" name="Google Shape;4499;g3681a448973_2_17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0" name="Google Shape;4500;g3681a448973_2_17479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1" name="Google Shape;4501;g3681a448973_2_17479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2" name="Google Shape;4502;g3681a448973_2_17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03" name="Google Shape;4503;g3681a448973_2_17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4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5" name="Google Shape;4505;g3681a448973_2_174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506" name="Google Shape;4506;g3681a448973_2_174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7" name="Google Shape;4507;g3681a448973_2_174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508" name="Google Shape;4508;g3681a448973_2_174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9" name="Google Shape;4509;g3681a448973_2_174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0" name="Google Shape;4510;g3681a448973_2_17491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1" name="Google Shape;4511;g3681a448973_2_17491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12" name="Google Shape;4512;g3681a448973_2_17491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3" name="Google Shape;4513;g3681a448973_2_1749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14" name="Google Shape;4514;g3681a448973_2_1749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5" name="Google Shape;4515;g3681a448973_2_174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16" name="Google Shape;4516;g3681a448973_2_174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7" name="Google Shape;4517;g3681a448973_2_17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4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19" name="Google Shape;4519;g3681a448973_2_1750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520" name="Google Shape;4520;g3681a448973_2_17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21" name="Google Shape;4521;g3681a448973_2_1750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522" name="Google Shape;4522;g3681a448973_2_17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3" name="Google Shape;4523;g3681a448973_2_17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24" name="Google Shape;4524;g3681a448973_2_175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5" name="Google Shape;4525;g3681a448973_2_175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26" name="Google Shape;4526;g3681a448973_2_17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27" name="Google Shape;4527;g3681a448973_2_17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4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29" name="Google Shape;4529;g3681a448973_2_1751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530" name="Google Shape;4530;g3681a448973_2_1751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1" name="Google Shape;4531;g3681a448973_2_1751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32" name="Google Shape;4532;g3681a448973_2_17515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3" name="Google Shape;4533;g3681a448973_2_17515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34" name="Google Shape;4534;g3681a448973_2_1751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535" name="Google Shape;4535;g3681a448973_2_175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536" name="Google Shape;4536;g3681a448973_2_175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4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8" name="Google Shape;4538;g3681a448973_2_1752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9" name="Google Shape;4539;g3681a448973_2_17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0" name="Google Shape;4540;g3681a448973_2_17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41" name="Google Shape;4541;g3681a448973_2_1752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542" name="Google Shape;4542;g3681a448973_2_17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43" name="Google Shape;4543;g3681a448973_2_1752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544" name="Google Shape;4544;g3681a448973_2_17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5" name="Google Shape;4545;g3681a448973_2_17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3681a448973_2_1347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2" name="Google Shape;492;g3681a448973_2_134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3" name="Google Shape;493;g3681a448973_2_1347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94" name="Google Shape;494;g3681a448973_2_134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g3681a448973_2_134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6" name="Google Shape;496;g3681a448973_2_134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97" name="Google Shape;497;g3681a448973_2_134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4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7" name="Google Shape;4547;g3681a448973_2_17533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8" name="Google Shape;4548;g3681a448973_2_17533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9" name="Google Shape;4549;g3681a448973_2_17533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50" name="Google Shape;4550;g3681a448973_2_175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51" name="Google Shape;4551;g3681a448973_2_17533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552" name="Google Shape;4552;g3681a448973_2_175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53" name="Google Shape;4553;g3681a448973_2_1753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54" name="Google Shape;4554;g3681a448973_2_175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4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56" name="Google Shape;4556;g3681a448973_2_1754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557" name="Google Shape;4557;g3681a448973_2_175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58" name="Google Shape;4558;g3681a448973_2_175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59" name="Google Shape;4559;g3681a448973_2_175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60" name="Google Shape;4560;g3681a448973_2_17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61" name="Google Shape;4561;g3681a448973_2_1754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62" name="Google Shape;4562;g3681a448973_2_1754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4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4" name="Google Shape;4564;g3681a448973_2_1755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65" name="Google Shape;4565;g3681a448973_2_1755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66" name="Google Shape;4566;g3681a448973_2_1755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67" name="Google Shape;4567;g3681a448973_2_175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68" name="Google Shape;4568;g3681a448973_2_1755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569" name="Google Shape;4569;g3681a448973_2_175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70" name="Google Shape;4570;g3681a448973_2_175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71" name="Google Shape;4571;g3681a448973_2_175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4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73" name="Google Shape;4573;g3681a448973_2_175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574" name="Google Shape;4574;g3681a448973_2_17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5" name="Google Shape;4575;g3681a448973_2_175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576" name="Google Shape;4576;g3681a448973_2_17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7" name="Google Shape;4577;g3681a448973_2_17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78" name="Google Shape;4578;g3681a448973_2_17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9" name="Google Shape;4579;g3681a448973_2_175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80" name="Google Shape;4580;g3681a448973_2_17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81" name="Google Shape;4581;g3681a448973_2_17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4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83" name="Google Shape;4583;g3681a448973_2_175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584" name="Google Shape;4584;g3681a448973_2_175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85" name="Google Shape;4585;g3681a448973_2_175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86" name="Google Shape;4586;g3681a448973_2_1756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87" name="Google Shape;4587;g3681a448973_2_1756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8" name="Google Shape;4588;g3681a448973_2_175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589" name="Google Shape;4589;g3681a448973_2_175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590" name="Google Shape;4590;g3681a448973_2_175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4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2" name="Google Shape;4592;g3681a448973_2_1757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593" name="Google Shape;4593;g3681a448973_2_1757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94" name="Google Shape;4594;g3681a448973_2_175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95" name="Google Shape;4595;g3681a448973_2_1757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96" name="Google Shape;4596;g3681a448973_2_175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97" name="Google Shape;4597;g3681a448973_2_1757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8" name="Google Shape;4598;g3681a448973_2_1757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4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0" name="Google Shape;4600;g3681a448973_2_1758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601" name="Google Shape;4601;g3681a448973_2_1758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602" name="Google Shape;4602;g3681a448973_2_1758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603" name="Google Shape;4603;g3681a448973_2_1758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04" name="Google Shape;4604;g3681a448973_2_1758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05" name="Google Shape;4605;g3681a448973_2_1758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606" name="Google Shape;4606;g3681a448973_2_175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4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" name="Google Shape;4608;g3681a448973_2_1759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09" name="Google Shape;4609;g3681a448973_2_1759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0" name="Google Shape;4610;g3681a448973_2_175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11" name="Google Shape;4611;g3681a448973_2_1759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12" name="Google Shape;4612;g3681a448973_2_175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3" name="Google Shape;4613;g3681a448973_2_175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14" name="Google Shape;4614;g3681a448973_2_1759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15" name="Google Shape;4615;g3681a448973_2_175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16" name="Google Shape;4616;g3681a448973_2_175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17" name="Google Shape;4617;g3681a448973_2_175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8" name="Google Shape;4618;g3681a448973_2_175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19" name="Google Shape;4619;g3681a448973_2_175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4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21" name="Google Shape;4621;g3681a448973_2_1760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22" name="Google Shape;4622;g3681a448973_2_176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23" name="Google Shape;4623;g3681a448973_2_176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24" name="Google Shape;4624;g3681a448973_2_176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5" name="Google Shape;4625;g3681a448973_2_176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26" name="Google Shape;4626;g3681a448973_2_176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27" name="Google Shape;4627;g3681a448973_2_176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8" name="Google Shape;4628;g3681a448973_2_176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29" name="Google Shape;4629;g3681a448973_2_176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0" name="Google Shape;4630;g3681a448973_2_176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4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2" name="Google Shape;4632;g3681a448973_2_176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3" name="Google Shape;4633;g3681a448973_2_1761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634" name="Google Shape;4634;g3681a448973_2_1761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35" name="Google Shape;4635;g3681a448973_2_17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36" name="Google Shape;4636;g3681a448973_2_1761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37" name="Google Shape;4637;g3681a448973_2_176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8" name="Google Shape;4638;g3681a448973_2_176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39" name="Google Shape;4639;g3681a448973_2_1761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0" name="Google Shape;4640;g3681a448973_2_1761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41" name="Google Shape;4641;g3681a448973_2_176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42" name="Google Shape;4642;g3681a448973_2_176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Google Shape;499;g3681a448973_2_1348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g3681a448973_2_1348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" name="Google Shape;501;g3681a448973_2_134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2" name="Google Shape;502;g3681a448973_2_1348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3" name="Google Shape;503;g3681a448973_2_134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" name="Google Shape;504;g3681a448973_2_134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5" name="Google Shape;505;g3681a448973_2_1348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6" name="Google Shape;506;g3681a448973_2_134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7" name="Google Shape;507;g3681a448973_2_134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8" name="Google Shape;508;g3681a448973_2_134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g3681a448973_2_134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0" name="Google Shape;510;g3681a448973_2_134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4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44" name="Google Shape;4644;g3681a448973_2_1763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45" name="Google Shape;4645;g3681a448973_2_176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6" name="Google Shape;4646;g3681a448973_2_176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47" name="Google Shape;4647;g3681a448973_2_176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8" name="Google Shape;4648;g3681a448973_2_176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49" name="Google Shape;4649;g3681a448973_2_1763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0" name="Google Shape;4650;g3681a448973_2_1763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51" name="Google Shape;4651;g3681a448973_2_1763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52" name="Google Shape;4652;g3681a448973_2_176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53" name="Google Shape;4653;g3681a448973_2_176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54" name="Google Shape;4654;g3681a448973_2_1763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55" name="Google Shape;4655;g3681a448973_2_176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6" name="Google Shape;4656;g3681a448973_2_176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4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8" name="Google Shape;4658;g3681a448973_2_176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59" name="Google Shape;4659;g3681a448973_2_176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60" name="Google Shape;4660;g3681a448973_2_176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61" name="Google Shape;4661;g3681a448973_2_176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2" name="Google Shape;4662;g3681a448973_2_176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63" name="Google Shape;4663;g3681a448973_2_176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4" name="Google Shape;4664;g3681a448973_2_176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65" name="Google Shape;4665;g3681a448973_2_176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66" name="Google Shape;4666;g3681a448973_2_176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4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68" name="Google Shape;4668;g3681a448973_2_176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69" name="Google Shape;4669;g3681a448973_2_176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0" name="Google Shape;4670;g3681a448973_2_176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71" name="Google Shape;4671;g3681a448973_2_1765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72" name="Google Shape;4672;g3681a448973_2_1765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73" name="Google Shape;4673;g3681a448973_2_176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74" name="Google Shape;4674;g3681a448973_2_17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75" name="Google Shape;4675;g3681a448973_2_176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4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7" name="Google Shape;4677;g3681a448973_2_176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78" name="Google Shape;4678;g3681a448973_2_17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79" name="Google Shape;4679;g3681a448973_2_17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80" name="Google Shape;4680;g3681a448973_2_1766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81" name="Google Shape;4681;g3681a448973_2_17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82" name="Google Shape;4682;g3681a448973_2_176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83" name="Google Shape;4683;g3681a448973_2_17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4" name="Google Shape;4684;g3681a448973_2_17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4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6" name="Google Shape;4686;g3681a448973_2_1767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7" name="Google Shape;4687;g3681a448973_2_1767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8" name="Google Shape;4688;g3681a448973_2_1767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89" name="Google Shape;4689;g3681a448973_2_176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90" name="Google Shape;4690;g3681a448973_2_1767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691" name="Google Shape;4691;g3681a448973_2_176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92" name="Google Shape;4692;g3681a448973_2_176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3" name="Google Shape;4693;g3681a448973_2_17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4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5" name="Google Shape;4695;g3681a448973_2_1768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696" name="Google Shape;4696;g3681a448973_2_1768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97" name="Google Shape;4697;g3681a448973_2_176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98" name="Google Shape;4698;g3681a448973_2_1768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9" name="Google Shape;4699;g3681a448973_2_17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0" name="Google Shape;4700;g3681a448973_2_1768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1" name="Google Shape;4701;g3681a448973_2_1768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4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3" name="Google Shape;4703;g3681a448973_2_1768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04" name="Google Shape;4704;g3681a448973_2_1768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5" name="Google Shape;4705;g3681a448973_2_176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6" name="Google Shape;4706;g3681a448973_2_176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07" name="Google Shape;4707;g3681a448973_2_176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8" name="Google Shape;4708;g3681a448973_2_176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09" name="Google Shape;4709;g3681a448973_2_1768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10" name="Google Shape;4710;g3681a448973_2_176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1" name="Google Shape;4711;g3681a448973_2_176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12" name="Google Shape;4712;g3681a448973_2_176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3" name="Google Shape;4713;g3681a448973_2_176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714" name="Google Shape;4714;g3681a448973_2_176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4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16" name="Google Shape;4716;g3681a448973_2_177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17" name="Google Shape;4717;g3681a448973_2_17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8" name="Google Shape;4718;g3681a448973_2_177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19" name="Google Shape;4719;g3681a448973_2_17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0" name="Google Shape;4720;g3681a448973_2_17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21" name="Google Shape;4721;g3681a448973_2_177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2" name="Google Shape;4722;g3681a448973_2_177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3" name="Google Shape;4723;g3681a448973_2_177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24" name="Google Shape;4724;g3681a448973_2_17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25" name="Google Shape;4725;g3681a448973_2_17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4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7" name="Google Shape;4727;g3681a448973_2_177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8" name="Google Shape;4728;g3681a448973_2_1771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729" name="Google Shape;4729;g3681a448973_2_177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30" name="Google Shape;4730;g3681a448973_2_177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1" name="Google Shape;4731;g3681a448973_2_177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32" name="Google Shape;4732;g3681a448973_2_177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3" name="Google Shape;4733;g3681a448973_2_177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4" name="Google Shape;4734;g3681a448973_2_1771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5" name="Google Shape;4735;g3681a448973_2_1771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36" name="Google Shape;4736;g3681a448973_2_177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7" name="Google Shape;4737;g3681a448973_2_177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4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39" name="Google Shape;4739;g3681a448973_2_177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40" name="Google Shape;4740;g3681a448973_2_17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41" name="Google Shape;4741;g3681a448973_2_177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42" name="Google Shape;4742;g3681a448973_2_17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43" name="Google Shape;4743;g3681a448973_2_17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44" name="Google Shape;4744;g3681a448973_2_1772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5" name="Google Shape;4745;g3681a448973_2_1772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46" name="Google Shape;4746;g3681a448973_2_1772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7" name="Google Shape;4747;g3681a448973_2_177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48" name="Google Shape;4748;g3681a448973_2_177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9" name="Google Shape;4749;g3681a448973_2_177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0" name="Google Shape;4750;g3681a448973_2_17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1" name="Google Shape;4751;g3681a448973_2_17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" name="Google Shape;512;g3681a448973_2_1349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3" name="Google Shape;513;g3681a448973_2_134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" name="Google Shape;514;g3681a448973_2_134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5" name="Google Shape;515;g3681a448973_2_134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6" name="Google Shape;516;g3681a448973_2_134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7" name="Google Shape;517;g3681a448973_2_134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" name="Google Shape;518;g3681a448973_2_134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" name="Google Shape;519;g3681a448973_2_1349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0" name="Google Shape;520;g3681a448973_2_134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1" name="Google Shape;521;g3681a448973_2_134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g3681a448973_2_1773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54" name="Google Shape;4754;g3681a448973_2_1773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5" name="Google Shape;4755;g3681a448973_2_1773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756" name="Google Shape;4756;g3681a448973_2_1773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7" name="Google Shape;4757;g3681a448973_2_1773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58" name="Google Shape;4758;g3681a448973_2_1773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759" name="Google Shape;4759;g3681a448973_2_177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4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61" name="Google Shape;4761;g3681a448973_2_1774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62" name="Google Shape;4762;g3681a448973_2_1774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3" name="Google Shape;4763;g3681a448973_2_1774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64" name="Google Shape;4764;g3681a448973_2_1774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5" name="Google Shape;4765;g3681a448973_2_1774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6" name="Google Shape;4766;g3681a448973_2_1774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67" name="Google Shape;4767;g3681a448973_2_177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68" name="Google Shape;4768;g3681a448973_2_177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4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0" name="Google Shape;4770;g3681a448973_2_177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71" name="Google Shape;4771;g3681a448973_2_17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72" name="Google Shape;4772;g3681a448973_2_17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73" name="Google Shape;4773;g3681a448973_2_1775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74" name="Google Shape;4774;g3681a448973_2_17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5" name="Google Shape;4775;g3681a448973_2_177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76" name="Google Shape;4776;g3681a448973_2_17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7" name="Google Shape;4777;g3681a448973_2_17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4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79" name="Google Shape;4779;g3681a448973_2_1776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780" name="Google Shape;4780;g3681a448973_2_177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81" name="Google Shape;4781;g3681a448973_2_1776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782" name="Google Shape;4782;g3681a448973_2_177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83" name="Google Shape;4783;g3681a448973_2_177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84" name="Google Shape;4784;g3681a448973_2_177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85" name="Google Shape;4785;g3681a448973_2_1776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86" name="Google Shape;4786;g3681a448973_2_177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87" name="Google Shape;4787;g3681a448973_2_177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4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9" name="Google Shape;4789;g3681a448973_2_1777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90" name="Google Shape;4790;g3681a448973_2_1777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1" name="Google Shape;4791;g3681a448973_2_1777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92" name="Google Shape;4792;g3681a448973_2_177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793" name="Google Shape;4793;g3681a448973_2_1777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794" name="Google Shape;4794;g3681a448973_2_17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5" name="Google Shape;4795;g3681a448973_2_177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96" name="Google Shape;4796;g3681a448973_2_17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4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98" name="Google Shape;4798;g3681a448973_2_1778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799" name="Google Shape;4799;g3681a448973_2_177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0" name="Google Shape;4800;g3681a448973_2_177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1" name="Google Shape;4801;g3681a448973_2_177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02" name="Google Shape;4802;g3681a448973_2_177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03" name="Google Shape;4803;g3681a448973_2_1778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4" name="Google Shape;4804;g3681a448973_2_1778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4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6" name="Google Shape;4806;g3681a448973_2_1779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7" name="Google Shape;4807;g3681a448973_2_1779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8" name="Google Shape;4808;g3681a448973_2_177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9" name="Google Shape;4809;g3681a448973_2_177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0" name="Google Shape;4810;g3681a448973_2_177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11" name="Google Shape;4811;g3681a448973_2_177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12" name="Google Shape;4812;g3681a448973_2_1779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13" name="Google Shape;4813;g3681a448973_2_177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14" name="Google Shape;4814;g3681a448973_2_177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15" name="Google Shape;4815;g3681a448973_2_177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6" name="Google Shape;4816;g3681a448973_2_177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7" name="Google Shape;4817;g3681a448973_2_177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4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9" name="Google Shape;4819;g3681a448973_2_1780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20" name="Google Shape;4820;g3681a448973_2_17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21" name="Google Shape;4821;g3681a448973_2_1780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22" name="Google Shape;4822;g3681a448973_2_178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23" name="Google Shape;4823;g3681a448973_2_178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24" name="Google Shape;4824;g3681a448973_2_178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5" name="Google Shape;4825;g3681a448973_2_178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6" name="Google Shape;4826;g3681a448973_2_178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7" name="Google Shape;4827;g3681a448973_2_178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8" name="Google Shape;4828;g3681a448973_2_178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4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0" name="Google Shape;4830;g3681a448973_2_178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1" name="Google Shape;4831;g3681a448973_2_1781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32" name="Google Shape;4832;g3681a448973_2_178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33" name="Google Shape;4833;g3681a448973_2_17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4" name="Google Shape;4834;g3681a448973_2_178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35" name="Google Shape;4835;g3681a448973_2_178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6" name="Google Shape;4836;g3681a448973_2_178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7" name="Google Shape;4837;g3681a448973_2_1781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8" name="Google Shape;4838;g3681a448973_2_1781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39" name="Google Shape;4839;g3681a448973_2_178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40" name="Google Shape;4840;g3681a448973_2_178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4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42" name="Google Shape;4842;g3681a448973_2_178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43" name="Google Shape;4843;g3681a448973_2_17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44" name="Google Shape;4844;g3681a448973_2_178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45" name="Google Shape;4845;g3681a448973_2_17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6" name="Google Shape;4846;g3681a448973_2_17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47" name="Google Shape;4847;g3681a448973_2_1782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8" name="Google Shape;4848;g3681a448973_2_1782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9" name="Google Shape;4849;g3681a448973_2_1782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50" name="Google Shape;4850;g3681a448973_2_178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51" name="Google Shape;4851;g3681a448973_2_178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52" name="Google Shape;4852;g3681a448973_2_178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3" name="Google Shape;4853;g3681a448973_2_17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4" name="Google Shape;4854;g3681a448973_2_17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oogle Shape;57;g3681a448973_2_1304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" name="Google Shape;58;g3681a448973_2_13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" name="Google Shape;59;g3681a448973_2_130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" name="Google Shape;60;g3681a448973_2_13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" name="Google Shape;61;g3681a448973_2_13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" name="Google Shape;62;g3681a448973_2_1304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g3681a448973_2_1304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" name="Google Shape;64;g3681a448973_2_1304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g3681a448973_2_1304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" name="Google Shape;66;g3681a448973_2_1304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g3681a448973_2_1304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g3681a448973_2_13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" name="Google Shape;69;g3681a448973_2_13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" name="Google Shape;523;g3681a448973_2_135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" name="Google Shape;524;g3681a448973_2_13509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25" name="Google Shape;525;g3681a448973_2_1350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6" name="Google Shape;526;g3681a448973_2_135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7" name="Google Shape;527;g3681a448973_2_135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8" name="Google Shape;528;g3681a448973_2_135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9" name="Google Shape;529;g3681a448973_2_135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0" name="Google Shape;530;g3681a448973_2_13509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g3681a448973_2_13509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2" name="Google Shape;532;g3681a448973_2_135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" name="Google Shape;533;g3681a448973_2_135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4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6" name="Google Shape;4856;g3681a448973_2_1784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857" name="Google Shape;4857;g3681a448973_2_1784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858" name="Google Shape;4858;g3681a448973_2_1784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859" name="Google Shape;4859;g3681a448973_2_178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0" name="Google Shape;4860;g3681a448973_2_178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1" name="Google Shape;4861;g3681a448973_2_178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862" name="Google Shape;4862;g3681a448973_2_178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4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64" name="Google Shape;4864;g3681a448973_2_178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865" name="Google Shape;4865;g3681a448973_2_178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6" name="Google Shape;4866;g3681a448973_2_178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7" name="Google Shape;4867;g3681a448973_2_1785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8" name="Google Shape;4868;g3681a448973_2_1785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9" name="Google Shape;4869;g3681a448973_2_178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70" name="Google Shape;4870;g3681a448973_2_178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71" name="Google Shape;4871;g3681a448973_2_178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4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3" name="Google Shape;4873;g3681a448973_2_178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74" name="Google Shape;4874;g3681a448973_2_17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75" name="Google Shape;4875;g3681a448973_2_17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6" name="Google Shape;4876;g3681a448973_2_178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77" name="Google Shape;4877;g3681a448973_2_17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78" name="Google Shape;4878;g3681a448973_2_178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79" name="Google Shape;4879;g3681a448973_2_17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0" name="Google Shape;4880;g3681a448973_2_17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4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82" name="Google Shape;4882;g3681a448973_2_1786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83" name="Google Shape;4883;g3681a448973_2_178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84" name="Google Shape;4884;g3681a448973_2_178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85" name="Google Shape;4885;g3681a448973_2_178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6" name="Google Shape;4886;g3681a448973_2_178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87" name="Google Shape;4887;g3681a448973_2_178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8" name="Google Shape;4888;g3681a448973_2_1786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89" name="Google Shape;4889;g3681a448973_2_178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90" name="Google Shape;4890;g3681a448973_2_178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4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2" name="Google Shape;4892;g3681a448973_2_1787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893" name="Google Shape;4893;g3681a448973_2_1787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894" name="Google Shape;4894;g3681a448973_2_1787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895" name="Google Shape;4895;g3681a448973_2_178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6" name="Google Shape;4896;g3681a448973_2_178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97" name="Google Shape;4897;g3681a448973_2_178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898" name="Google Shape;4898;g3681a448973_2_17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4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0" name="Google Shape;4900;g3681a448973_2_1788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01" name="Google Shape;4901;g3681a448973_2_1788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2" name="Google Shape;4902;g3681a448973_2_178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03" name="Google Shape;4903;g3681a448973_2_178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04" name="Google Shape;4904;g3681a448973_2_17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05" name="Google Shape;4905;g3681a448973_2_17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906" name="Google Shape;4906;g3681a448973_2_178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07" name="Google Shape;4907;g3681a448973_2_17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08" name="Google Shape;4908;g3681a448973_2_178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09" name="Google Shape;4909;g3681a448973_2_17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0" name="Google Shape;4910;g3681a448973_2_17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11" name="Google Shape;4911;g3681a448973_2_178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4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3" name="Google Shape;4913;g3681a448973_2_178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14" name="Google Shape;4914;g3681a448973_2_17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15" name="Google Shape;4915;g3681a448973_2_178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16" name="Google Shape;4916;g3681a448973_2_17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7" name="Google Shape;4917;g3681a448973_2_17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18" name="Google Shape;4918;g3681a448973_2_178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9" name="Google Shape;4919;g3681a448973_2_178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20" name="Google Shape;4920;g3681a448973_2_178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21" name="Google Shape;4921;g3681a448973_2_17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2" name="Google Shape;4922;g3681a448973_2_17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4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4" name="Google Shape;4924;g3681a448973_2_17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25" name="Google Shape;4925;g3681a448973_2_1791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6" name="Google Shape;4926;g3681a448973_2_1791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27" name="Google Shape;4927;g3681a448973_2_17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28" name="Google Shape;4928;g3681a448973_2_179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29" name="Google Shape;4929;g3681a448973_2_17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0" name="Google Shape;4930;g3681a448973_2_17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31" name="Google Shape;4931;g3681a448973_2_1791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2" name="Google Shape;4932;g3681a448973_2_1791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33" name="Google Shape;4933;g3681a448973_2_17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34" name="Google Shape;4934;g3681a448973_2_17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4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36" name="Google Shape;4936;g3681a448973_2_1792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37" name="Google Shape;4937;g3681a448973_2_179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38" name="Google Shape;4938;g3681a448973_2_179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39" name="Google Shape;4939;g3681a448973_2_179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0" name="Google Shape;4940;g3681a448973_2_179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41" name="Google Shape;4941;g3681a448973_2_1792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2" name="Google Shape;4942;g3681a448973_2_1792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43" name="Google Shape;4943;g3681a448973_2_1792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44" name="Google Shape;4944;g3681a448973_2_179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45" name="Google Shape;4945;g3681a448973_2_179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46" name="Google Shape;4946;g3681a448973_2_179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47" name="Google Shape;4947;g3681a448973_2_179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48" name="Google Shape;4948;g3681a448973_2_17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4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0" name="Google Shape;4950;g3681a448973_2_1793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51" name="Google Shape;4951;g3681a448973_2_17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52" name="Google Shape;4952;g3681a448973_2_179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53" name="Google Shape;4953;g3681a448973_2_17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4" name="Google Shape;4954;g3681a448973_2_17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55" name="Google Shape;4955;g3681a448973_2_17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56" name="Google Shape;4956;g3681a448973_2_1793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57" name="Google Shape;4957;g3681a448973_2_17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8" name="Google Shape;4958;g3681a448973_2_17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" name="Google Shape;535;g3681a448973_2_135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6" name="Google Shape;536;g3681a448973_2_13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7" name="Google Shape;537;g3681a448973_2_135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8" name="Google Shape;538;g3681a448973_2_135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" name="Google Shape;539;g3681a448973_2_135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0" name="Google Shape;540;g3681a448973_2_13521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" name="Google Shape;541;g3681a448973_2_13521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2" name="Google Shape;542;g3681a448973_2_13521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" name="Google Shape;543;g3681a448973_2_135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4" name="Google Shape;544;g3681a448973_2_135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g3681a448973_2_135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6" name="Google Shape;546;g3681a448973_2_135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7" name="Google Shape;547;g3681a448973_2_135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4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0" name="Google Shape;4960;g3681a448973_2_1794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961" name="Google Shape;4961;g3681a448973_2_1794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2" name="Google Shape;4962;g3681a448973_2_1794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63" name="Google Shape;4963;g3681a448973_2_1794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64" name="Google Shape;4964;g3681a448973_2_1794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5" name="Google Shape;4965;g3681a448973_2_1794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966" name="Google Shape;4966;g3681a448973_2_179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967" name="Google Shape;4967;g3681a448973_2_179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4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9" name="Google Shape;4969;g3681a448973_2_1795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70" name="Google Shape;4970;g3681a448973_2_179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71" name="Google Shape;4971;g3681a448973_2_179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972" name="Google Shape;4972;g3681a448973_2_1795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973" name="Google Shape;4973;g3681a448973_2_179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74" name="Google Shape;4974;g3681a448973_2_179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975" name="Google Shape;4975;g3681a448973_2_179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6" name="Google Shape;4976;g3681a448973_2_179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4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8" name="Google Shape;4978;g3681a448973_2_1796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79" name="Google Shape;4979;g3681a448973_2_1796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0" name="Google Shape;4980;g3681a448973_2_1796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81" name="Google Shape;4981;g3681a448973_2_179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82" name="Google Shape;4982;g3681a448973_2_1796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983" name="Google Shape;4983;g3681a448973_2_179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4" name="Google Shape;4984;g3681a448973_2_1796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85" name="Google Shape;4985;g3681a448973_2_179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4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87" name="Google Shape;4987;g3681a448973_2_1797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988" name="Google Shape;4988;g3681a448973_2_179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9" name="Google Shape;4989;g3681a448973_2_179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0" name="Google Shape;4990;g3681a448973_2_179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91" name="Google Shape;4991;g3681a448973_2_179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92" name="Google Shape;4992;g3681a448973_2_1797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93" name="Google Shape;4993;g3681a448973_2_1797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4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5" name="Google Shape;4995;g3681a448973_2_1798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96" name="Google Shape;4996;g3681a448973_2_1798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97" name="Google Shape;4997;g3681a448973_2_1798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4998" name="Google Shape;4998;g3681a448973_2_1798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9" name="Google Shape;4999;g3681a448973_2_1798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00" name="Google Shape;5000;g3681a448973_2_1798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001" name="Google Shape;5001;g3681a448973_2_179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5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03" name="Google Shape;5003;g3681a448973_2_1798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04" name="Google Shape;5004;g3681a448973_2_179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05" name="Google Shape;5005;g3681a448973_2_179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06" name="Google Shape;5006;g3681a448973_2_179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07" name="Google Shape;5007;g3681a448973_2_179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08" name="Google Shape;5008;g3681a448973_2_179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9" name="Google Shape;5009;g3681a448973_2_179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10" name="Google Shape;5010;g3681a448973_2_179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11" name="Google Shape;5011;g3681a448973_2_179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12" name="Google Shape;5012;g3681a448973_2_179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50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4" name="Google Shape;5014;g3681a448973_2_180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5" name="Google Shape;5015;g3681a448973_2_1800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16" name="Google Shape;5016;g3681a448973_2_1800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17" name="Google Shape;5017;g3681a448973_2_180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18" name="Google Shape;5018;g3681a448973_2_180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19" name="Google Shape;5019;g3681a448973_2_180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0" name="Google Shape;5020;g3681a448973_2_180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21" name="Google Shape;5021;g3681a448973_2_1800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22" name="Google Shape;5022;g3681a448973_2_1800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23" name="Google Shape;5023;g3681a448973_2_180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24" name="Google Shape;5024;g3681a448973_2_180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5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6" name="Google Shape;5026;g3681a448973_2_180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27" name="Google Shape;5027;g3681a448973_2_18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8" name="Google Shape;5028;g3681a448973_2_180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29" name="Google Shape;5029;g3681a448973_2_18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0" name="Google Shape;5030;g3681a448973_2_18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31" name="Google Shape;5031;g3681a448973_2_1801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32" name="Google Shape;5032;g3681a448973_2_1801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33" name="Google Shape;5033;g3681a448973_2_1801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34" name="Google Shape;5034;g3681a448973_2_1801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35" name="Google Shape;5035;g3681a448973_2_1801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36" name="Google Shape;5036;g3681a448973_2_180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37" name="Google Shape;5037;g3681a448973_2_18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38" name="Google Shape;5038;g3681a448973_2_18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5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40" name="Google Shape;5040;g3681a448973_2_180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41" name="Google Shape;5041;g3681a448973_2_18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2" name="Google Shape;5042;g3681a448973_2_180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43" name="Google Shape;5043;g3681a448973_2_180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4" name="Google Shape;5044;g3681a448973_2_180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45" name="Google Shape;5045;g3681a448973_2_180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6" name="Google Shape;5046;g3681a448973_2_1802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47" name="Google Shape;5047;g3681a448973_2_180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8" name="Google Shape;5048;g3681a448973_2_180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5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50" name="Google Shape;5050;g3681a448973_2_180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051" name="Google Shape;5051;g3681a448973_2_180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52" name="Google Shape;5052;g3681a448973_2_180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53" name="Google Shape;5053;g3681a448973_2_1803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4" name="Google Shape;5054;g3681a448973_2_1803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5" name="Google Shape;5055;g3681a448973_2_180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056" name="Google Shape;5056;g3681a448973_2_180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057" name="Google Shape;5057;g3681a448973_2_180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9" name="Google Shape;549;g3681a448973_2_1353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50" name="Google Shape;550;g3681a448973_2_13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1" name="Google Shape;551;g3681a448973_2_135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52" name="Google Shape;552;g3681a448973_2_13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g3681a448973_2_13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4" name="Google Shape;554;g3681a448973_2_135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g3681a448973_2_1353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6" name="Google Shape;556;g3681a448973_2_13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7" name="Google Shape;557;g3681a448973_2_13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5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9" name="Google Shape;5059;g3681a448973_2_180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60" name="Google Shape;5060;g3681a448973_2_18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1" name="Google Shape;5061;g3681a448973_2_18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62" name="Google Shape;5062;g3681a448973_2_180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63" name="Google Shape;5063;g3681a448973_2_18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64" name="Google Shape;5064;g3681a448973_2_180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65" name="Google Shape;5065;g3681a448973_2_18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6" name="Google Shape;5066;g3681a448973_2_18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5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8" name="Google Shape;5068;g3681a448973_2_1805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9" name="Google Shape;5069;g3681a448973_2_1805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0" name="Google Shape;5070;g3681a448973_2_1805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71" name="Google Shape;5071;g3681a448973_2_180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72" name="Google Shape;5072;g3681a448973_2_1805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073" name="Google Shape;5073;g3681a448973_2_180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74" name="Google Shape;5074;g3681a448973_2_1805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75" name="Google Shape;5075;g3681a448973_2_180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5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77" name="Google Shape;5077;g3681a448973_2_1806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078" name="Google Shape;5078;g3681a448973_2_180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79" name="Google Shape;5079;g3681a448973_2_180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0" name="Google Shape;5080;g3681a448973_2_180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81" name="Google Shape;5081;g3681a448973_2_18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82" name="Google Shape;5082;g3681a448973_2_1806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3" name="Google Shape;5083;g3681a448973_2_1806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5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5" name="Google Shape;5085;g3681a448973_2_1807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6" name="Google Shape;5086;g3681a448973_2_1807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7" name="Google Shape;5087;g3681a448973_2_180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88" name="Google Shape;5088;g3681a448973_2_1807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89" name="Google Shape;5089;g3681a448973_2_180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90" name="Google Shape;5090;g3681a448973_2_180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91" name="Google Shape;5091;g3681a448973_2_1807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092" name="Google Shape;5092;g3681a448973_2_180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3" name="Google Shape;5093;g3681a448973_2_1807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094" name="Google Shape;5094;g3681a448973_2_180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5" name="Google Shape;5095;g3681a448973_2_180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96" name="Google Shape;5096;g3681a448973_2_180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5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8" name="Google Shape;5098;g3681a448973_2_18084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99" name="Google Shape;5099;g3681a448973_2_1808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100" name="Google Shape;5100;g3681a448973_2_18084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101" name="Google Shape;5101;g3681a448973_2_180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02" name="Google Shape;5102;g3681a448973_2_180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03" name="Google Shape;5103;g3681a448973_2_180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104" name="Google Shape;5104;g3681a448973_2_180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5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06" name="Google Shape;5106;g3681a448973_2_1809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07" name="Google Shape;5107;g3681a448973_2_180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08" name="Google Shape;5108;g3681a448973_2_180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09" name="Google Shape;5109;g3681a448973_2_180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0" name="Google Shape;5110;g3681a448973_2_180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11" name="Google Shape;5111;g3681a448973_2_180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12" name="Google Shape;5112;g3681a448973_2_180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3" name="Google Shape;5113;g3681a448973_2_180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14" name="Google Shape;5114;g3681a448973_2_180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5" name="Google Shape;5115;g3681a448973_2_180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5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7" name="Google Shape;5117;g3681a448973_2_18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18" name="Google Shape;5118;g3681a448973_2_1810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119" name="Google Shape;5119;g3681a448973_2_181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20" name="Google Shape;5120;g3681a448973_2_18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21" name="Google Shape;5121;g3681a448973_2_181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22" name="Google Shape;5122;g3681a448973_2_18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3" name="Google Shape;5123;g3681a448973_2_18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24" name="Google Shape;5124;g3681a448973_2_1810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5" name="Google Shape;5125;g3681a448973_2_1810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26" name="Google Shape;5126;g3681a448973_2_18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27" name="Google Shape;5127;g3681a448973_2_18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5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9" name="Google Shape;5129;g3681a448973_2_181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30" name="Google Shape;5130;g3681a448973_2_18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31" name="Google Shape;5131;g3681a448973_2_181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32" name="Google Shape;5132;g3681a448973_2_18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3" name="Google Shape;5133;g3681a448973_2_18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34" name="Google Shape;5134;g3681a448973_2_1811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5" name="Google Shape;5135;g3681a448973_2_1811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36" name="Google Shape;5136;g3681a448973_2_1811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7" name="Google Shape;5137;g3681a448973_2_18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38" name="Google Shape;5138;g3681a448973_2_18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9" name="Google Shape;5139;g3681a448973_2_181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40" name="Google Shape;5140;g3681a448973_2_18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1" name="Google Shape;5141;g3681a448973_2_18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5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43" name="Google Shape;5143;g3681a448973_2_181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44" name="Google Shape;5144;g3681a448973_2_18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5" name="Google Shape;5145;g3681a448973_2_181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46" name="Google Shape;5146;g3681a448973_2_18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7" name="Google Shape;5147;g3681a448973_2_18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8" name="Google Shape;5148;g3681a448973_2_18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9" name="Google Shape;5149;g3681a448973_2_181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50" name="Google Shape;5150;g3681a448973_2_18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51" name="Google Shape;5151;g3681a448973_2_18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5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53" name="Google Shape;5153;g3681a448973_2_181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154" name="Google Shape;5154;g3681a448973_2_181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5" name="Google Shape;5155;g3681a448973_2_181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56" name="Google Shape;5156;g3681a448973_2_1813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7" name="Google Shape;5157;g3681a448973_2_1813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8" name="Google Shape;5158;g3681a448973_2_181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59" name="Google Shape;5159;g3681a448973_2_18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160" name="Google Shape;5160;g3681a448973_2_181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9" name="Google Shape;559;g3681a448973_2_135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0" name="Google Shape;560;g3681a448973_2_135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1" name="Google Shape;561;g3681a448973_2_135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2" name="Google Shape;562;g3681a448973_2_13545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3" name="Google Shape;563;g3681a448973_2_13545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" name="Google Shape;564;g3681a448973_2_135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5" name="Google Shape;565;g3681a448973_2_135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66" name="Google Shape;566;g3681a448973_2_135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5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2" name="Google Shape;5162;g3681a448973_2_181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3" name="Google Shape;5163;g3681a448973_2_18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64" name="Google Shape;5164;g3681a448973_2_18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65" name="Google Shape;5165;g3681a448973_2_181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66" name="Google Shape;5166;g3681a448973_2_181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67" name="Google Shape;5167;g3681a448973_2_181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68" name="Google Shape;5168;g3681a448973_2_18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69" name="Google Shape;5169;g3681a448973_2_18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5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1" name="Google Shape;5171;g3681a448973_2_181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2" name="Google Shape;5172;g3681a448973_2_18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3" name="Google Shape;5173;g3681a448973_2_18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74" name="Google Shape;5174;g3681a448973_2_181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75" name="Google Shape;5175;g3681a448973_2_18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76" name="Google Shape;5176;g3681a448973_2_181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77" name="Google Shape;5177;g3681a448973_2_18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8" name="Google Shape;5178;g3681a448973_2_18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5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0" name="Google Shape;5180;g3681a448973_2_181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1" name="Google Shape;5181;g3681a448973_2_181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2" name="Google Shape;5182;g3681a448973_2_181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83" name="Google Shape;5183;g3681a448973_2_181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84" name="Google Shape;5184;g3681a448973_2_18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85" name="Google Shape;5185;g3681a448973_2_18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86" name="Google Shape;5186;g3681a448973_2_181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87" name="Google Shape;5187;g3681a448973_2_18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8" name="Google Shape;5188;g3681a448973_2_181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89" name="Google Shape;5189;g3681a448973_2_18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0" name="Google Shape;5190;g3681a448973_2_18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91" name="Google Shape;5191;g3681a448973_2_181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5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3" name="Google Shape;5193;g3681a448973_2_1817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94" name="Google Shape;5194;g3681a448973_2_1817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95" name="Google Shape;5195;g3681a448973_2_181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6" name="Google Shape;5196;g3681a448973_2_181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97" name="Google Shape;5197;g3681a448973_2_18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8" name="Google Shape;5198;g3681a448973_2_18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99" name="Google Shape;5199;g3681a448973_2_181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00" name="Google Shape;5200;g3681a448973_2_18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1" name="Google Shape;5201;g3681a448973_2_181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02" name="Google Shape;5202;g3681a448973_2_18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3" name="Google Shape;5203;g3681a448973_2_18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04" name="Google Shape;5204;g3681a448973_2_181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5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6" name="Google Shape;5206;g3681a448973_2_1819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7" name="Google Shape;5207;g3681a448973_2_1819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8" name="Google Shape;5208;g3681a448973_2_1819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09" name="Google Shape;5209;g3681a448973_2_1819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10" name="Google Shape;5210;g3681a448973_2_1819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211" name="Google Shape;5211;g3681a448973_2_18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2" name="Google Shape;5212;g3681a448973_2_1819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3" name="Google Shape;5213;g3681a448973_2_18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5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15" name="Google Shape;5215;g3681a448973_2_1820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216" name="Google Shape;5216;g3681a448973_2_182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7" name="Google Shape;5217;g3681a448973_2_182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8" name="Google Shape;5218;g3681a448973_2_182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9" name="Google Shape;5219;g3681a448973_2_18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20" name="Google Shape;5220;g3681a448973_2_1820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1" name="Google Shape;5221;g3681a448973_2_1820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5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3" name="Google Shape;5223;g3681a448973_2_1820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24" name="Google Shape;5224;g3681a448973_2_1820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25" name="Google Shape;5225;g3681a448973_2_1820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226" name="Google Shape;5226;g3681a448973_2_182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7" name="Google Shape;5227;g3681a448973_2_182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28" name="Google Shape;5228;g3681a448973_2_182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229" name="Google Shape;5229;g3681a448973_2_182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5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1" name="Google Shape;5231;g3681a448973_2_1821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2" name="Google Shape;5232;g3681a448973_2_1821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33" name="Google Shape;5233;g3681a448973_2_18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34" name="Google Shape;5234;g3681a448973_2_182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5" name="Google Shape;5235;g3681a448973_2_18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36" name="Google Shape;5236;g3681a448973_2_18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237" name="Google Shape;5237;g3681a448973_2_182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38" name="Google Shape;5238;g3681a448973_2_18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39" name="Google Shape;5239;g3681a448973_2_182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40" name="Google Shape;5240;g3681a448973_2_18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1" name="Google Shape;5241;g3681a448973_2_18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42" name="Google Shape;5242;g3681a448973_2_18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5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44" name="Google Shape;5244;g3681a448973_2_1823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45" name="Google Shape;5245;g3681a448973_2_18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46" name="Google Shape;5246;g3681a448973_2_182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47" name="Google Shape;5247;g3681a448973_2_18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8" name="Google Shape;5248;g3681a448973_2_18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9" name="Google Shape;5249;g3681a448973_2_18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0" name="Google Shape;5250;g3681a448973_2_182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1" name="Google Shape;5251;g3681a448973_2_1823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52" name="Google Shape;5252;g3681a448973_2_18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53" name="Google Shape;5253;g3681a448973_2_18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5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5" name="Google Shape;5255;g3681a448973_2_182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6" name="Google Shape;5256;g3681a448973_2_1824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257" name="Google Shape;5257;g3681a448973_2_182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58" name="Google Shape;5258;g3681a448973_2_182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59" name="Google Shape;5259;g3681a448973_2_182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60" name="Google Shape;5260;g3681a448973_2_182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1" name="Google Shape;5261;g3681a448973_2_182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62" name="Google Shape;5262;g3681a448973_2_1824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63" name="Google Shape;5263;g3681a448973_2_1824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64" name="Google Shape;5264;g3681a448973_2_182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5" name="Google Shape;5265;g3681a448973_2_182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3681a448973_2_1355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9" name="Google Shape;569;g3681a448973_2_135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0" name="Google Shape;570;g3681a448973_2_135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1" name="Google Shape;571;g3681a448973_2_1355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72" name="Google Shape;572;g3681a448973_2_135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" name="Google Shape;573;g3681a448973_2_135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74" name="Google Shape;574;g3681a448973_2_135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" name="Google Shape;575;g3681a448973_2_135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5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7" name="Google Shape;5267;g3681a448973_2_182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68" name="Google Shape;5268;g3681a448973_2_182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69" name="Google Shape;5269;g3681a448973_2_182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70" name="Google Shape;5270;g3681a448973_2_182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1" name="Google Shape;5271;g3681a448973_2_182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72" name="Google Shape;5272;g3681a448973_2_1825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3" name="Google Shape;5273;g3681a448973_2_1825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74" name="Google Shape;5274;g3681a448973_2_1825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5" name="Google Shape;5275;g3681a448973_2_182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76" name="Google Shape;5276;g3681a448973_2_182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7" name="Google Shape;5277;g3681a448973_2_182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78" name="Google Shape;5278;g3681a448973_2_182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79" name="Google Shape;5279;g3681a448973_2_18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5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1" name="Google Shape;5281;g3681a448973_2_1826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282" name="Google Shape;5282;g3681a448973_2_18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83" name="Google Shape;5283;g3681a448973_2_182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284" name="Google Shape;5284;g3681a448973_2_182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85" name="Google Shape;5285;g3681a448973_2_182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86" name="Google Shape;5286;g3681a448973_2_182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7" name="Google Shape;5287;g3681a448973_2_182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88" name="Google Shape;5288;g3681a448973_2_182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89" name="Google Shape;5289;g3681a448973_2_182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5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91" name="Google Shape;5291;g3681a448973_2_18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92" name="Google Shape;5292;g3681a448973_2_18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3" name="Google Shape;5293;g3681a448973_2_18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4" name="Google Shape;5294;g3681a448973_2_1827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5" name="Google Shape;5295;g3681a448973_2_1827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6" name="Google Shape;5296;g3681a448973_2_18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297" name="Google Shape;5297;g3681a448973_2_18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298" name="Google Shape;5298;g3681a448973_2_18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5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0" name="Google Shape;5300;g3681a448973_2_182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1" name="Google Shape;5301;g3681a448973_2_182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2" name="Google Shape;5302;g3681a448973_2_182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03" name="Google Shape;5303;g3681a448973_2_182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04" name="Google Shape;5304;g3681a448973_2_182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05" name="Google Shape;5305;g3681a448973_2_182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06" name="Google Shape;5306;g3681a448973_2_182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07" name="Google Shape;5307;g3681a448973_2_182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5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9" name="Google Shape;5309;g3681a448973_2_1829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0" name="Google Shape;5310;g3681a448973_2_182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1" name="Google Shape;5311;g3681a448973_2_182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2" name="Google Shape;5312;g3681a448973_2_182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13" name="Google Shape;5313;g3681a448973_2_182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4" name="Google Shape;5314;g3681a448973_2_182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15" name="Google Shape;5315;g3681a448973_2_182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16" name="Google Shape;5316;g3681a448973_2_182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17" name="Google Shape;5317;g3681a448973_2_182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18" name="Google Shape;5318;g3681a448973_2_182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9" name="Google Shape;5319;g3681a448973_2_182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20" name="Google Shape;5320;g3681a448973_2_1829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5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2" name="Google Shape;5322;g3681a448973_2_183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3" name="Google Shape;5323;g3681a448973_2_183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4" name="Google Shape;5324;g3681a448973_2_183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5" name="Google Shape;5325;g3681a448973_2_183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26" name="Google Shape;5326;g3681a448973_2_18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27" name="Google Shape;5327;g3681a448973_2_18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28" name="Google Shape;5328;g3681a448973_2_183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29" name="Google Shape;5329;g3681a448973_2_18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0" name="Google Shape;5330;g3681a448973_2_183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31" name="Google Shape;5331;g3681a448973_2_18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2" name="Google Shape;5332;g3681a448973_2_18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33" name="Google Shape;5333;g3681a448973_2_183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5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" name="Google Shape;5335;g3681a448973_2_1832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36" name="Google Shape;5336;g3681a448973_2_1832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37" name="Google Shape;5337;g3681a448973_2_18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38" name="Google Shape;5338;g3681a448973_2_183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39" name="Google Shape;5339;g3681a448973_2_18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40" name="Google Shape;5340;g3681a448973_2_18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41" name="Google Shape;5341;g3681a448973_2_183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42" name="Google Shape;5342;g3681a448973_2_18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43" name="Google Shape;5343;g3681a448973_2_183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44" name="Google Shape;5344;g3681a448973_2_18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5" name="Google Shape;5345;g3681a448973_2_18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46" name="Google Shape;5346;g3681a448973_2_183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5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8" name="Google Shape;5348;g3681a448973_2_1833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49" name="Google Shape;5349;g3681a448973_2_1833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0" name="Google Shape;5350;g3681a448973_2_1833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51" name="Google Shape;5351;g3681a448973_2_183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52" name="Google Shape;5352;g3681a448973_2_1833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353" name="Google Shape;5353;g3681a448973_2_1833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4" name="Google Shape;5354;g3681a448973_2_1833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55" name="Google Shape;5355;g3681a448973_2_18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5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7" name="Google Shape;5357;g3681a448973_2_1834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358" name="Google Shape;5358;g3681a448973_2_183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9" name="Google Shape;5359;g3681a448973_2_183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0" name="Google Shape;5360;g3681a448973_2_183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61" name="Google Shape;5361;g3681a448973_2_18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2" name="Google Shape;5362;g3681a448973_2_1834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3" name="Google Shape;5363;g3681a448973_2_1834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5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5" name="Google Shape;5365;g3681a448973_2_1835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66" name="Google Shape;5366;g3681a448973_2_1835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67" name="Google Shape;5367;g3681a448973_2_1835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368" name="Google Shape;5368;g3681a448973_2_183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9" name="Google Shape;5369;g3681a448973_2_183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370" name="Google Shape;5370;g3681a448973_2_183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371" name="Google Shape;5371;g3681a448973_2_18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3681a448973_2_13563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3681a448973_2_13563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g3681a448973_2_13563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0" name="Google Shape;580;g3681a448973_2_135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1" name="Google Shape;581;g3681a448973_2_13563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82" name="Google Shape;582;g3681a448973_2_135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g3681a448973_2_135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" name="Google Shape;584;g3681a448973_2_13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5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3" name="Google Shape;5373;g3681a448973_2_183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74" name="Google Shape;5374;g3681a448973_2_18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75" name="Google Shape;5375;g3681a448973_2_183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76" name="Google Shape;5376;g3681a448973_2_183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7" name="Google Shape;5377;g3681a448973_2_183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78" name="Google Shape;5378;g3681a448973_2_183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9" name="Google Shape;5379;g3681a448973_2_183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80" name="Google Shape;5380;g3681a448973_2_183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81" name="Google Shape;5381;g3681a448973_2_183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82" name="Google Shape;5382;g3681a448973_2_183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5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4" name="Google Shape;5384;g3681a448973_2_183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85" name="Google Shape;5385;g3681a448973_2_1837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386" name="Google Shape;5386;g3681a448973_2_183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87" name="Google Shape;5387;g3681a448973_2_18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88" name="Google Shape;5388;g3681a448973_2_183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89" name="Google Shape;5389;g3681a448973_2_183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0" name="Google Shape;5390;g3681a448973_2_183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91" name="Google Shape;5391;g3681a448973_2_1837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2" name="Google Shape;5392;g3681a448973_2_1837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93" name="Google Shape;5393;g3681a448973_2_183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94" name="Google Shape;5394;g3681a448973_2_183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5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96" name="Google Shape;5396;g3681a448973_2_183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397" name="Google Shape;5397;g3681a448973_2_183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98" name="Google Shape;5398;g3681a448973_2_183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399" name="Google Shape;5399;g3681a448973_2_183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00" name="Google Shape;5400;g3681a448973_2_183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01" name="Google Shape;5401;g3681a448973_2_1838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2" name="Google Shape;5402;g3681a448973_2_1838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03" name="Google Shape;5403;g3681a448973_2_1838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4" name="Google Shape;5404;g3681a448973_2_183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05" name="Google Shape;5405;g3681a448973_2_183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6" name="Google Shape;5406;g3681a448973_2_183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7" name="Google Shape;5407;g3681a448973_2_183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08" name="Google Shape;5408;g3681a448973_2_183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5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10" name="Google Shape;5410;g3681a448973_2_183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411" name="Google Shape;5411;g3681a448973_2_18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2" name="Google Shape;5412;g3681a448973_2_183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13" name="Google Shape;5413;g3681a448973_2_18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4" name="Google Shape;5414;g3681a448973_2_18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15" name="Google Shape;5415;g3681a448973_2_18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6" name="Google Shape;5416;g3681a448973_2_183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17" name="Google Shape;5417;g3681a448973_2_18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8" name="Google Shape;5418;g3681a448973_2_18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5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0" name="Google Shape;5420;g3681a448973_2_1840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21" name="Google Shape;5421;g3681a448973_2_1840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2" name="Google Shape;5422;g3681a448973_2_1840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23" name="Google Shape;5423;g3681a448973_2_1840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24" name="Google Shape;5424;g3681a448973_2_1840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5" name="Google Shape;5425;g3681a448973_2_1840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26" name="Google Shape;5426;g3681a448973_2_18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27" name="Google Shape;5427;g3681a448973_2_184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5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9" name="Google Shape;5429;g3681a448973_2_184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30" name="Google Shape;5430;g3681a448973_2_18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31" name="Google Shape;5431;g3681a448973_2_18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432" name="Google Shape;5432;g3681a448973_2_184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433" name="Google Shape;5433;g3681a448973_2_18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34" name="Google Shape;5434;g3681a448973_2_184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35" name="Google Shape;5435;g3681a448973_2_18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6" name="Google Shape;5436;g3681a448973_2_18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5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8" name="Google Shape;5438;g3681a448973_2_1842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39" name="Google Shape;5439;g3681a448973_2_1842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40" name="Google Shape;5440;g3681a448973_2_1842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41" name="Google Shape;5441;g3681a448973_2_184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442" name="Google Shape;5442;g3681a448973_2_1842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443" name="Google Shape;5443;g3681a448973_2_184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4" name="Google Shape;5444;g3681a448973_2_1842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45" name="Google Shape;5445;g3681a448973_2_18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5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47" name="Google Shape;5447;g3681a448973_2_1843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448" name="Google Shape;5448;g3681a448973_2_184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9" name="Google Shape;5449;g3681a448973_2_184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0" name="Google Shape;5450;g3681a448973_2_184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51" name="Google Shape;5451;g3681a448973_2_184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52" name="Google Shape;5452;g3681a448973_2_1843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3" name="Google Shape;5453;g3681a448973_2_1843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5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5" name="Google Shape;5455;g3681a448973_2_184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56" name="Google Shape;5456;g3681a448973_2_1844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57" name="Google Shape;5457;g3681a448973_2_184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458" name="Google Shape;5458;g3681a448973_2_184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9" name="Google Shape;5459;g3681a448973_2_184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0" name="Google Shape;5460;g3681a448973_2_184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461" name="Google Shape;5461;g3681a448973_2_184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5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63" name="Google Shape;5463;g3681a448973_2_1844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464" name="Google Shape;5464;g3681a448973_2_184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65" name="Google Shape;5465;g3681a448973_2_184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66" name="Google Shape;5466;g3681a448973_2_184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7" name="Google Shape;5467;g3681a448973_2_184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68" name="Google Shape;5468;g3681a448973_2_184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9" name="Google Shape;5469;g3681a448973_2_184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70" name="Google Shape;5470;g3681a448973_2_1844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71" name="Google Shape;5471;g3681a448973_2_184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72" name="Google Shape;5472;g3681a448973_2_184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6" name="Google Shape;586;g3681a448973_2_1357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87" name="Google Shape;587;g3681a448973_2_1357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g3681a448973_2_135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g3681a448973_2_1357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0" name="Google Shape;590;g3681a448973_2_135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1" name="Google Shape;591;g3681a448973_2_1357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" name="Google Shape;592;g3681a448973_2_1357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5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4" name="Google Shape;5474;g3681a448973_2_184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5" name="Google Shape;5475;g3681a448973_2_1846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76" name="Google Shape;5476;g3681a448973_2_184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477" name="Google Shape;5477;g3681a448973_2_184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78" name="Google Shape;5478;g3681a448973_2_184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79" name="Google Shape;5479;g3681a448973_2_184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80" name="Google Shape;5480;g3681a448973_2_184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81" name="Google Shape;5481;g3681a448973_2_1846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2" name="Google Shape;5482;g3681a448973_2_1846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83" name="Google Shape;5483;g3681a448973_2_184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4" name="Google Shape;5484;g3681a448973_2_184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5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86" name="Google Shape;5486;g3681a448973_2_1847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487" name="Google Shape;5487;g3681a448973_2_184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88" name="Google Shape;5488;g3681a448973_2_184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89" name="Google Shape;5489;g3681a448973_2_184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90" name="Google Shape;5490;g3681a448973_2_184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91" name="Google Shape;5491;g3681a448973_2_1847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2" name="Google Shape;5492;g3681a448973_2_1847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93" name="Google Shape;5493;g3681a448973_2_1847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94" name="Google Shape;5494;g3681a448973_2_1847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95" name="Google Shape;5495;g3681a448973_2_1847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96" name="Google Shape;5496;g3681a448973_2_1847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97" name="Google Shape;5497;g3681a448973_2_184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98" name="Google Shape;5498;g3681a448973_2_184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5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00" name="Google Shape;5500;g3681a448973_2_184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501" name="Google Shape;5501;g3681a448973_2_18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02" name="Google Shape;5502;g3681a448973_2_184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503" name="Google Shape;5503;g3681a448973_2_184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04" name="Google Shape;5504;g3681a448973_2_184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05" name="Google Shape;5505;g3681a448973_2_184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6" name="Google Shape;5506;g3681a448973_2_184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7" name="Google Shape;5507;g3681a448973_2_184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8" name="Google Shape;5508;g3681a448973_2_184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5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0" name="Google Shape;5510;g3681a448973_2_184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511" name="Google Shape;5511;g3681a448973_2_184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12" name="Google Shape;5512;g3681a448973_2_184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13" name="Google Shape;5513;g3681a448973_2_1849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4" name="Google Shape;5514;g3681a448973_2_1849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5" name="Google Shape;5515;g3681a448973_2_184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16" name="Google Shape;5516;g3681a448973_2_184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17" name="Google Shape;5517;g3681a448973_2_184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5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9" name="Google Shape;5519;g3681a448973_2_1850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20" name="Google Shape;5520;g3681a448973_2_18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21" name="Google Shape;5521;g3681a448973_2_18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22" name="Google Shape;5522;g3681a448973_2_1850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523" name="Google Shape;5523;g3681a448973_2_18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4" name="Google Shape;5524;g3681a448973_2_1850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525" name="Google Shape;5525;g3681a448973_2_18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26" name="Google Shape;5526;g3681a448973_2_18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TITLE">
    <p:spTree>
      <p:nvGrpSpPr>
        <p:cNvPr id="1" name="Shape 5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8" name="Google Shape;5528;g3681a448973_2_1851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9" name="Google Shape;5529;g3681a448973_2_1851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30" name="Google Shape;5530;g3681a448973_2_185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31" name="Google Shape;5531;g3681a448973_2_18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2" name="Google Shape;5532;g3681a448973_2_18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5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4" name="Google Shape;5534;g3681a448973_2_1852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35" name="Google Shape;5535;g3681a448973_2_1852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6" name="Google Shape;5536;g3681a448973_2_1852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37" name="Google Shape;5537;g3681a448973_2_185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8" name="Google Shape;5538;g3681a448973_2_185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39" name="Google Shape;5539;g3681a448973_2_18520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0" name="Google Shape;5540;g3681a448973_2_18520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1" name="Google Shape;5541;g3681a448973_2_1852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42" name="Google Shape;5542;g3681a448973_2_18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5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4" name="Google Shape;5544;g3681a448973_2_1853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5" name="Google Shape;5545;g3681a448973_2_1853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6" name="Google Shape;5546;g3681a448973_2_185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47" name="Google Shape;5547;g3681a448973_2_18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8" name="Google Shape;5548;g3681a448973_2_18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49" name="Google Shape;5549;g3681a448973_2_18530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50" name="Google Shape;5550;g3681a448973_2_18530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51" name="Google Shape;5551;g3681a448973_2_1853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52" name="Google Shape;5552;g3681a448973_2_185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5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4" name="Google Shape;5554;g3681a448973_2_18540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5" name="Google Shape;5555;g3681a448973_2_1854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56" name="Google Shape;5556;g3681a448973_2_1854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57" name="Google Shape;5557;g3681a448973_2_18540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58" name="Google Shape;5558;g3681a448973_2_185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5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0" name="Google Shape;5560;g3681a448973_2_1854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561" name="Google Shape;5561;g3681a448973_2_185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562" name="Google Shape;5562;g3681a448973_2_1854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3" name="Google Shape;5563;g3681a448973_2_18546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4" name="Google Shape;5564;g3681a448973_2_18546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g3681a448973_2_1358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5" name="Google Shape;595;g3681a448973_2_1358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6" name="Google Shape;596;g3681a448973_2_135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7" name="Google Shape;597;g3681a448973_2_1358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8" name="Google Shape;598;g3681a448973_2_135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9" name="Google Shape;599;g3681a448973_2_135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0" name="Google Shape;600;g3681a448973_2_1358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01" name="Google Shape;601;g3681a448973_2_135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" name="Google Shape;602;g3681a448973_2_135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3" name="Google Shape;603;g3681a448973_2_135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" name="Google Shape;604;g3681a448973_2_135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5" name="Google Shape;605;g3681a448973_2_135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5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6" name="Google Shape;5566;g3681a448973_2_1855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7" name="Google Shape;5567;g3681a448973_2_1855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8" name="Google Shape;5568;g3681a448973_2_18552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9" name="Google Shape;5569;g3681a448973_2_18552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0" name="Google Shape;5570;g3681a448973_2_18552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71" name="Google Shape;5571;g3681a448973_2_185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5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3" name="Google Shape;5573;g3681a448973_2_18559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4" name="Google Shape;5574;g3681a448973_2_18559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5" name="Google Shape;5575;g3681a448973_2_1855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76" name="Google Shape;5576;g3681a448973_2_18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7" name="Google Shape;5577;g3681a448973_2_18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78" name="Google Shape;5578;g3681a448973_2_18559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79" name="Google Shape;5579;g3681a448973_2_18559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0" name="Google Shape;5580;g3681a448973_2_18559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81" name="Google Shape;5581;g3681a448973_2_185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5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3" name="Google Shape;5583;g3681a448973_2_18569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84" name="Google Shape;5584;g3681a448973_2_1856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5" name="Google Shape;5585;g3681a448973_2_1856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6" name="Google Shape;5586;g3681a448973_2_18569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87" name="Google Shape;5587;g3681a448973_2_185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5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9" name="Google Shape;5589;g3681a448973_2_1857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90" name="Google Shape;5590;g3681a448973_2_1857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91" name="Google Shape;5591;g3681a448973_2_1857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2" name="Google Shape;5592;g3681a448973_2_1857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3" name="Google Shape;5593;g3681a448973_2_1857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94" name="Google Shape;5594;g3681a448973_2_185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5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6" name="Google Shape;5596;g3681a448973_2_18582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7" name="Google Shape;5597;g3681a448973_2_18582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8" name="Google Shape;5598;g3681a448973_2_185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99" name="Google Shape;5599;g3681a448973_2_185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0" name="Google Shape;5600;g3681a448973_2_185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01" name="Google Shape;5601;g3681a448973_2_18582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2" name="Google Shape;5602;g3681a448973_2_18582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3" name="Google Shape;5603;g3681a448973_2_18582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04" name="Google Shape;5604;g3681a448973_2_18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5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6" name="Google Shape;5606;g3681a448973_2_18592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7" name="Google Shape;5607;g3681a448973_2_18592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8" name="Google Shape;5608;g3681a448973_2_185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09" name="Google Shape;5609;g3681a448973_2_18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0" name="Google Shape;5610;g3681a448973_2_185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11" name="Google Shape;5611;g3681a448973_2_18592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2" name="Google Shape;5612;g3681a448973_2_18592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3" name="Google Shape;5613;g3681a448973_2_18592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14" name="Google Shape;5614;g3681a448973_2_185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5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6" name="Google Shape;5616;g3681a448973_2_18602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17" name="Google Shape;5617;g3681a448973_2_18602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8" name="Google Shape;5618;g3681a448973_2_186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19" name="Google Shape;5619;g3681a448973_2_18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0" name="Google Shape;5620;g3681a448973_2_18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21" name="Google Shape;5621;g3681a448973_2_18602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22" name="Google Shape;5622;g3681a448973_2_18602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23" name="Google Shape;5623;g3681a448973_2_18602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24" name="Google Shape;5624;g3681a448973_2_186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5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6" name="Google Shape;5626;g3681a448973_2_1861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7" name="Google Shape;5627;g3681a448973_2_1861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28" name="Google Shape;5628;g3681a448973_2_1861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29" name="Google Shape;5629;g3681a448973_2_1861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30" name="Google Shape;5630;g3681a448973_2_186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5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" name="Google Shape;5632;g3681a448973_2_1861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633" name="Google Shape;5633;g3681a448973_2_186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634" name="Google Shape;5634;g3681a448973_2_1861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35" name="Google Shape;5635;g3681a448973_2_18618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36" name="Google Shape;5636;g3681a448973_2_18618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5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8" name="Google Shape;5638;g3681a448973_2_1862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39" name="Google Shape;5639;g3681a448973_2_1862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0" name="Google Shape;5640;g3681a448973_2_18624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1" name="Google Shape;5641;g3681a448973_2_18624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2" name="Google Shape;5642;g3681a448973_2_18624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43" name="Google Shape;5643;g3681a448973_2_186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7" name="Google Shape;607;g3681a448973_2_1359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08" name="Google Shape;608;g3681a448973_2_135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" name="Google Shape;609;g3681a448973_2_1359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0" name="Google Shape;610;g3681a448973_2_135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" name="Google Shape;611;g3681a448973_2_135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2" name="Google Shape;612;g3681a448973_2_135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" name="Google Shape;613;g3681a448973_2_135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4" name="Google Shape;614;g3681a448973_2_1359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" name="Google Shape;615;g3681a448973_2_135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6" name="Google Shape;616;g3681a448973_2_135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5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5" name="Google Shape;5645;g3681a448973_2_18631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6" name="Google Shape;5646;g3681a448973_2_18631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7" name="Google Shape;5647;g3681a448973_2_1863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48" name="Google Shape;5648;g3681a448973_2_186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9" name="Google Shape;5649;g3681a448973_2_18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50" name="Google Shape;5650;g3681a448973_2_18631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51" name="Google Shape;5651;g3681a448973_2_18631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52" name="Google Shape;5652;g3681a448973_2_18631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53" name="Google Shape;5653;g3681a448973_2_186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5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5" name="Google Shape;5655;g3681a448973_2_18641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6" name="Google Shape;5656;g3681a448973_2_1864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57" name="Google Shape;5657;g3681a448973_2_1864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58" name="Google Shape;5658;g3681a448973_2_18641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59" name="Google Shape;5659;g3681a448973_2_186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5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1" name="Google Shape;5661;g3681a448973_2_1864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662" name="Google Shape;5662;g3681a448973_2_186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663" name="Google Shape;5663;g3681a448973_2_1864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64" name="Google Shape;5664;g3681a448973_2_18647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5" name="Google Shape;5665;g3681a448973_2_18647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7" name="Google Shape;5667;g3681a448973_2_1865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68" name="Google Shape;5668;g3681a448973_2_1865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69" name="Google Shape;5669;g3681a448973_2_18653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0" name="Google Shape;5670;g3681a448973_2_18653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1" name="Google Shape;5671;g3681a448973_2_18653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72" name="Google Shape;5672;g3681a448973_2_186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5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4" name="Google Shape;5674;g3681a448973_2_18660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5" name="Google Shape;5675;g3681a448973_2_18660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6" name="Google Shape;5676;g3681a448973_2_186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77" name="Google Shape;5677;g3681a448973_2_186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8" name="Google Shape;5678;g3681a448973_2_186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79" name="Google Shape;5679;g3681a448973_2_18660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0" name="Google Shape;5680;g3681a448973_2_18660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1" name="Google Shape;5681;g3681a448973_2_18660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82" name="Google Shape;5682;g3681a448973_2_186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5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4" name="Google Shape;5684;g3681a448973_2_18670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85" name="Google Shape;5685;g3681a448973_2_1867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6" name="Google Shape;5686;g3681a448973_2_1867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7" name="Google Shape;5687;g3681a448973_2_18670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88" name="Google Shape;5688;g3681a448973_2_186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5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0" name="Google Shape;5690;g3681a448973_2_1867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691" name="Google Shape;5691;g3681a448973_2_186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692" name="Google Shape;5692;g3681a448973_2_1867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93" name="Google Shape;5693;g3681a448973_2_18676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4" name="Google Shape;5694;g3681a448973_2_18676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5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6" name="Google Shape;5696;g3681a448973_2_1868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97" name="Google Shape;5697;g3681a448973_2_1868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98" name="Google Shape;5698;g3681a448973_2_18682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99" name="Google Shape;5699;g3681a448973_2_18682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00" name="Google Shape;5700;g3681a448973_2_18682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01" name="Google Shape;5701;g3681a448973_2_186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5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3" name="Google Shape;5703;g3681a448973_2_18689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04" name="Google Shape;5704;g3681a448973_2_18689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5" name="Google Shape;5705;g3681a448973_2_186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06" name="Google Shape;5706;g3681a448973_2_186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7" name="Google Shape;5707;g3681a448973_2_186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708" name="Google Shape;5708;g3681a448973_2_18689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9" name="Google Shape;5709;g3681a448973_2_18689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10" name="Google Shape;5710;g3681a448973_2_18689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711" name="Google Shape;5711;g3681a448973_2_186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5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" name="Google Shape;5713;g3681a448973_2_18699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4" name="Google Shape;5714;g3681a448973_2_1869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15" name="Google Shape;5715;g3681a448973_2_1869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16" name="Google Shape;5716;g3681a448973_2_18699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717" name="Google Shape;5717;g3681a448973_2_186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" name="Google Shape;618;g3681a448973_2_136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g3681a448973_2_1360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20" name="Google Shape;620;g3681a448973_2_1360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21" name="Google Shape;621;g3681a448973_2_13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" name="Google Shape;622;g3681a448973_2_136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3" name="Google Shape;623;g3681a448973_2_136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" name="Google Shape;624;g3681a448973_2_136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5" name="Google Shape;625;g3681a448973_2_1360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g3681a448973_2_1360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g3681a448973_2_136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g3681a448973_2_136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5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9" name="Google Shape;5719;g3681a448973_2_1870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720" name="Google Shape;5720;g3681a448973_2_187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721" name="Google Shape;5721;g3681a448973_2_1870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22" name="Google Shape;5722;g3681a448973_2_18705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3" name="Google Shape;5723;g3681a448973_2_18705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5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5" name="Google Shape;5725;g3681a448973_2_1871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26" name="Google Shape;5726;g3681a448973_2_1871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27" name="Google Shape;5727;g3681a448973_2_18711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8" name="Google Shape;5728;g3681a448973_2_18711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9" name="Google Shape;5729;g3681a448973_2_18711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30" name="Google Shape;5730;g3681a448973_2_187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5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2" name="Google Shape;5732;g3681a448973_2_18718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3" name="Google Shape;5733;g3681a448973_2_1871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34" name="Google Shape;5734;g3681a448973_2_1871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35" name="Google Shape;5735;g3681a448973_2_18718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736" name="Google Shape;5736;g3681a448973_2_187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5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8" name="Google Shape;5738;g3681a448973_2_1872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39" name="Google Shape;5739;g3681a448973_2_1872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0" name="Google Shape;5740;g3681a448973_2_18724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1" name="Google Shape;5741;g3681a448973_2_18724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2" name="Google Shape;5742;g3681a448973_2_18724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43" name="Google Shape;5743;g3681a448973_2_187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5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5" name="Google Shape;5745;g3681a448973_2_1873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746" name="Google Shape;5746;g3681a448973_2_18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5747" name="Google Shape;5747;g3681a448973_2_1873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8" name="Google Shape;5748;g3681a448973_2_1873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9" name="Google Shape;5749;g3681a448973_2_1873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5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1" name="Google Shape;5751;g3681a448973_2_18737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52" name="Google Shape;5752;g3681a448973_2_1873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53" name="Google Shape;5753;g3681a448973_2_1873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54" name="Google Shape;5754;g3681a448973_2_187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55" name="Google Shape;5755;g3681a448973_2_1873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756" name="Google Shape;5756;g3681a448973_2_187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7" name="Google Shape;5757;g3681a448973_2_1873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58" name="Google Shape;5758;g3681a448973_2_187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5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0" name="Google Shape;5760;g3681a448973_2_18746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761" name="Google Shape;5761;g3681a448973_2_1874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2" name="Google Shape;5762;g3681a448973_2_187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3" name="Google Shape;5763;g3681a448973_2_1874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64" name="Google Shape;5764;g3681a448973_2_18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65" name="Google Shape;5765;g3681a448973_2_18746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66" name="Google Shape;5766;g3681a448973_2_18746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5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8" name="Google Shape;5768;g3681a448973_2_18754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69" name="Google Shape;5769;g3681a448973_2_1875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70" name="Google Shape;5770;g3681a448973_2_18754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771" name="Google Shape;5771;g3681a448973_2_187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2" name="Google Shape;5772;g3681a448973_2_187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3" name="Google Shape;5773;g3681a448973_2_187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774" name="Google Shape;5774;g3681a448973_2_187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5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6" name="Google Shape;5776;g3681a448973_2_1876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7" name="Google Shape;5777;g3681a448973_2_1876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78" name="Google Shape;5778;g3681a448973_2_187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9" name="Google Shape;5779;g3681a448973_2_1876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0" name="Google Shape;5780;g3681a448973_2_187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81" name="Google Shape;5781;g3681a448973_2_187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82" name="Google Shape;5782;g3681a448973_2_1876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783" name="Google Shape;5783;g3681a448973_2_18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4" name="Google Shape;5784;g3681a448973_2_187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785" name="Google Shape;5785;g3681a448973_2_187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6" name="Google Shape;5786;g3681a448973_2_187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87" name="Google Shape;5787;g3681a448973_2_187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5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9" name="Google Shape;5789;g3681a448973_2_187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790" name="Google Shape;5790;g3681a448973_2_18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91" name="Google Shape;5791;g3681a448973_2_187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792" name="Google Shape;5792;g3681a448973_2_187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93" name="Google Shape;5793;g3681a448973_2_187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94" name="Google Shape;5794;g3681a448973_2_187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5" name="Google Shape;5795;g3681a448973_2_187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6" name="Google Shape;5796;g3681a448973_2_1877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97" name="Google Shape;5797;g3681a448973_2_187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8" name="Google Shape;5798;g3681a448973_2_187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g3681a448973_2_13057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g3681a448973_2_1305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g3681a448973_2_1305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" name="Google Shape;74;g3681a448973_2_130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5" name="Google Shape;75;g3681a448973_2_1305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76" name="Google Shape;76;g3681a448973_2_130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g3681a448973_2_130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" name="Google Shape;78;g3681a448973_2_130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0" name="Google Shape;630;g3681a448973_2_136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31" name="Google Shape;631;g3681a448973_2_13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2" name="Google Shape;632;g3681a448973_2_136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3" name="Google Shape;633;g3681a448973_2_13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" name="Google Shape;634;g3681a448973_2_13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5" name="Google Shape;635;g3681a448973_2_1361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" name="Google Shape;636;g3681a448973_2_1361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7" name="Google Shape;637;g3681a448973_2_1361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" name="Google Shape;638;g3681a448973_2_1361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9" name="Google Shape;639;g3681a448973_2_1361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" name="Google Shape;640;g3681a448973_2_136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" name="Google Shape;641;g3681a448973_2_13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2" name="Google Shape;642;g3681a448973_2_13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5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0" name="Google Shape;5800;g3681a448973_2_187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01" name="Google Shape;5801;g3681a448973_2_1878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02" name="Google Shape;5802;g3681a448973_2_187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03" name="Google Shape;5803;g3681a448973_2_18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04" name="Google Shape;5804;g3681a448973_2_187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05" name="Google Shape;5805;g3681a448973_2_187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6" name="Google Shape;5806;g3681a448973_2_187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07" name="Google Shape;5807;g3681a448973_2_1878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08" name="Google Shape;5808;g3681a448973_2_1878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09" name="Google Shape;5809;g3681a448973_2_187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10" name="Google Shape;5810;g3681a448973_2_187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5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12" name="Google Shape;5812;g3681a448973_2_1879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13" name="Google Shape;5813;g3681a448973_2_187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14" name="Google Shape;5814;g3681a448973_2_187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15" name="Google Shape;5815;g3681a448973_2_187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16" name="Google Shape;5816;g3681a448973_2_187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7" name="Google Shape;5817;g3681a448973_2_1879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8" name="Google Shape;5818;g3681a448973_2_1879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819" name="Google Shape;5819;g3681a448973_2_1879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0" name="Google Shape;5820;g3681a448973_2_187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821" name="Google Shape;5821;g3681a448973_2_187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2" name="Google Shape;5822;g3681a448973_2_1879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23" name="Google Shape;5823;g3681a448973_2_187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4" name="Google Shape;5824;g3681a448973_2_187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5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26" name="Google Shape;5826;g3681a448973_2_188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27" name="Google Shape;5827;g3681a448973_2_188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28" name="Google Shape;5828;g3681a448973_2_188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29" name="Google Shape;5829;g3681a448973_2_188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30" name="Google Shape;5830;g3681a448973_2_188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31" name="Google Shape;5831;g3681a448973_2_188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2" name="Google Shape;5832;g3681a448973_2_188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33" name="Google Shape;5833;g3681a448973_2_188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34" name="Google Shape;5834;g3681a448973_2_188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5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36" name="Google Shape;5836;g3681a448973_2_188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837" name="Google Shape;5837;g3681a448973_2_188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8" name="Google Shape;5838;g3681a448973_2_188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39" name="Google Shape;5839;g3681a448973_2_18822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40" name="Google Shape;5840;g3681a448973_2_18822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41" name="Google Shape;5841;g3681a448973_2_188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42" name="Google Shape;5842;g3681a448973_2_188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843" name="Google Shape;5843;g3681a448973_2_188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5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5" name="Google Shape;5845;g3681a448973_2_1883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6" name="Google Shape;5846;g3681a448973_2_188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47" name="Google Shape;5847;g3681a448973_2_188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48" name="Google Shape;5848;g3681a448973_2_1883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49" name="Google Shape;5849;g3681a448973_2_188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50" name="Google Shape;5850;g3681a448973_2_1883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51" name="Google Shape;5851;g3681a448973_2_188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52" name="Google Shape;5852;g3681a448973_2_188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5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4" name="Google Shape;5854;g3681a448973_2_18840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855" name="Google Shape;5855;g3681a448973_2_188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9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856" name="Google Shape;5856;g3681a448973_2_18840"/>
          <p:cNvGrpSpPr/>
          <p:nvPr/>
        </p:nvGrpSpPr>
        <p:grpSpPr>
          <a:xfrm>
            <a:off x="1" y="0"/>
            <a:ext cx="1862644" cy="6629629"/>
            <a:chOff x="-15876" y="0"/>
            <a:chExt cx="1927803" cy="6858001"/>
          </a:xfrm>
        </p:grpSpPr>
        <p:sp>
          <p:nvSpPr>
            <p:cNvPr id="5857" name="Google Shape;5857;g3681a448973_2_18840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58" name="Google Shape;5858;g3681a448973_2_18840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5859" name="Google Shape;5859;g3681a448973_2_1884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0" name="Google Shape;5860;g3681a448973_2_18840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1" name="Google Shape;5861;g3681a448973_2_1884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2" name="Google Shape;5862;g3681a448973_2_1884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5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4" name="Google Shape;5864;g3681a448973_2_18850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5" name="Google Shape;5865;g3681a448973_2_18850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6" name="Google Shape;5866;g3681a448973_2_18850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7" name="Google Shape;5867;g3681a448973_2_18850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8" name="Google Shape;5868;g3681a448973_2_188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869" name="Google Shape;5869;g3681a448973_2_1885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5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1" name="Google Shape;5871;g3681a448973_2_1885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2" name="Google Shape;5872;g3681a448973_2_188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3" name="Google Shape;5873;g3681a448973_2_188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4" name="Google Shape;5874;g3681a448973_2_188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75" name="Google Shape;5875;g3681a448973_2_188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76" name="Google Shape;5876;g3681a448973_2_188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7" name="Google Shape;5877;g3681a448973_2_188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78" name="Google Shape;5878;g3681a448973_2_18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5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0" name="Google Shape;5880;g3681a448973_2_1886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81" name="Google Shape;5881;g3681a448973_2_188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2" name="Google Shape;5882;g3681a448973_2_188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83" name="Google Shape;5883;g3681a448973_2_188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84" name="Google Shape;5884;g3681a448973_2_18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85" name="Google Shape;5885;g3681a448973_2_18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86" name="Google Shape;5886;g3681a448973_2_1886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887" name="Google Shape;5887;g3681a448973_2_18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8" name="Google Shape;5888;g3681a448973_2_188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89" name="Google Shape;5889;g3681a448973_2_18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90" name="Google Shape;5890;g3681a448973_2_18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91" name="Google Shape;5891;g3681a448973_2_188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5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93" name="Google Shape;5893;g3681a448973_2_188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94" name="Google Shape;5894;g3681a448973_2_188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5" name="Google Shape;5895;g3681a448973_2_188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6" name="Google Shape;5896;g3681a448973_2_188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97" name="Google Shape;5897;g3681a448973_2_188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98" name="Google Shape;5898;g3681a448973_2_188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99" name="Google Shape;5899;g3681a448973_2_188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3681a448973_2_1363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5" name="Google Shape;645;g3681a448973_2_1363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6" name="Google Shape;646;g3681a448973_2_1363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647" name="Google Shape;647;g3681a448973_2_136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8" name="Google Shape;648;g3681a448973_2_136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9" name="Google Shape;649;g3681a448973_2_136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50" name="Google Shape;650;g3681a448973_2_136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5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01" name="Google Shape;5901;g3681a448973_2_1888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02" name="Google Shape;5902;g3681a448973_2_18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03" name="Google Shape;5903;g3681a448973_2_188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04" name="Google Shape;5904;g3681a448973_2_18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05" name="Google Shape;5905;g3681a448973_2_18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06" name="Google Shape;5906;g3681a448973_2_188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7" name="Google Shape;5907;g3681a448973_2_188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8" name="Google Shape;5908;g3681a448973_2_188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09" name="Google Shape;5909;g3681a448973_2_18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10" name="Google Shape;5910;g3681a448973_2_18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5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2" name="Google Shape;5912;g3681a448973_2_188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3" name="Google Shape;5913;g3681a448973_2_188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914" name="Google Shape;5914;g3681a448973_2_188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15" name="Google Shape;5915;g3681a448973_2_188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6" name="Google Shape;5916;g3681a448973_2_188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17" name="Google Shape;5917;g3681a448973_2_188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8" name="Google Shape;5918;g3681a448973_2_188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19" name="Google Shape;5919;g3681a448973_2_188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0" name="Google Shape;5920;g3681a448973_2_188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1" name="Google Shape;5921;g3681a448973_2_188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22" name="Google Shape;5922;g3681a448973_2_188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5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24" name="Google Shape;5924;g3681a448973_2_189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25" name="Google Shape;5925;g3681a448973_2_18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26" name="Google Shape;5926;g3681a448973_2_189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27" name="Google Shape;5927;g3681a448973_2_18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28" name="Google Shape;5928;g3681a448973_2_18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29" name="Google Shape;5929;g3681a448973_2_18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30" name="Google Shape;5930;g3681a448973_2_189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31" name="Google Shape;5931;g3681a448973_2_189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2" name="Google Shape;5932;g3681a448973_2_189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33" name="Google Shape;5933;g3681a448973_2_189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4" name="Google Shape;5934;g3681a448973_2_18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35" name="Google Shape;5935;g3681a448973_2_18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6" name="Google Shape;5936;g3681a448973_2_18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5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8" name="Google Shape;5938;g3681a448973_2_1892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9" name="Google Shape;5939;g3681a448973_2_1892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0" name="Google Shape;5940;g3681a448973_2_1892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41" name="Google Shape;5941;g3681a448973_2_189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42" name="Google Shape;5942;g3681a448973_2_1892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43" name="Google Shape;5943;g3681a448973_2_189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44" name="Google Shape;5944;g3681a448973_2_1892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45" name="Google Shape;5945;g3681a448973_2_189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5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47" name="Google Shape;5947;g3681a448973_2_189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948" name="Google Shape;5948;g3681a448973_2_189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49" name="Google Shape;5949;g3681a448973_2_189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50" name="Google Shape;5950;g3681a448973_2_189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51" name="Google Shape;5951;g3681a448973_2_189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52" name="Google Shape;5952;g3681a448973_2_189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3" name="Google Shape;5953;g3681a448973_2_189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5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5" name="Google Shape;5955;g3681a448973_2_189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956" name="Google Shape;5956;g3681a448973_2_1894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957" name="Google Shape;5957;g3681a448973_2_189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958" name="Google Shape;5958;g3681a448973_2_189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59" name="Google Shape;5959;g3681a448973_2_189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60" name="Google Shape;5960;g3681a448973_2_189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961" name="Google Shape;5961;g3681a448973_2_189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5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3" name="Google Shape;5963;g3681a448973_2_1894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4" name="Google Shape;5964;g3681a448973_2_189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65" name="Google Shape;5965;g3681a448973_2_189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6" name="Google Shape;5966;g3681a448973_2_18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7" name="Google Shape;5967;g3681a448973_2_18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68" name="Google Shape;5968;g3681a448973_2_18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969" name="Google Shape;5969;g3681a448973_2_189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70" name="Google Shape;5970;g3681a448973_2_18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1" name="Google Shape;5971;g3681a448973_2_189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72" name="Google Shape;5972;g3681a448973_2_18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3" name="Google Shape;5973;g3681a448973_2_18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74" name="Google Shape;5974;g3681a448973_2_189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5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76" name="Google Shape;5976;g3681a448973_2_1896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77" name="Google Shape;5977;g3681a448973_2_189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8" name="Google Shape;5978;g3681a448973_2_189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79" name="Google Shape;5979;g3681a448973_2_189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80" name="Google Shape;5980;g3681a448973_2_189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1" name="Google Shape;5981;g3681a448973_2_189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2" name="Google Shape;5982;g3681a448973_2_189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83" name="Google Shape;5983;g3681a448973_2_189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84" name="Google Shape;5984;g3681a448973_2_189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85" name="Google Shape;5985;g3681a448973_2_189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5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7" name="Google Shape;5987;g3681a448973_2_1897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88" name="Google Shape;5988;g3681a448973_2_189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9" name="Google Shape;5989;g3681a448973_2_189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0" name="Google Shape;5990;g3681a448973_2_189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91" name="Google Shape;5991;g3681a448973_2_189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92" name="Google Shape;5992;g3681a448973_2_189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993" name="Google Shape;5993;g3681a448973_2_1897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5994" name="Google Shape;5994;g3681a448973_2_189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95" name="Google Shape;5995;g3681a448973_2_189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996" name="Google Shape;5996;g3681a448973_2_189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97" name="Google Shape;5997;g3681a448973_2_189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98" name="Google Shape;5998;g3681a448973_2_189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5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0" name="Google Shape;6000;g3681a448973_2_1898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01" name="Google Shape;6001;g3681a448973_2_1898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02" name="Google Shape;6002;g3681a448973_2_1898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03" name="Google Shape;6003;g3681a448973_2_1898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04" name="Google Shape;6004;g3681a448973_2_1898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05" name="Google Shape;6005;g3681a448973_2_1898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006" name="Google Shape;6006;g3681a448973_2_189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g3681a448973_2_136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3" name="Google Shape;653;g3681a448973_2_136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" name="Google Shape;654;g3681a448973_2_136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5" name="Google Shape;655;g3681a448973_2_1363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6" name="Google Shape;656;g3681a448973_2_1363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" name="Google Shape;657;g3681a448973_2_136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8" name="Google Shape;658;g3681a448973_2_136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9" name="Google Shape;659;g3681a448973_2_136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6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08" name="Google Shape;6008;g3681a448973_2_1899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09" name="Google Shape;6009;g3681a448973_2_1899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10" name="Google Shape;6010;g3681a448973_2_1899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11" name="Google Shape;6011;g3681a448973_2_1899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12" name="Google Shape;6012;g3681a448973_2_1899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3" name="Google Shape;6013;g3681a448973_2_1899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014" name="Google Shape;6014;g3681a448973_2_189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015" name="Google Shape;6015;g3681a448973_2_189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60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7" name="Google Shape;6017;g3681a448973_2_19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8" name="Google Shape;6018;g3681a448973_2_19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19" name="Google Shape;6019;g3681a448973_2_19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20" name="Google Shape;6020;g3681a448973_2_190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21" name="Google Shape;6021;g3681a448973_2_19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2" name="Google Shape;6022;g3681a448973_2_190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23" name="Google Shape;6023;g3681a448973_2_19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4" name="Google Shape;6024;g3681a448973_2_19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6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26" name="Google Shape;6026;g3681a448973_2_190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27" name="Google Shape;6027;g3681a448973_2_19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8" name="Google Shape;6028;g3681a448973_2_190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29" name="Google Shape;6029;g3681a448973_2_19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0" name="Google Shape;6030;g3681a448973_2_19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1" name="Google Shape;6031;g3681a448973_2_190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2" name="Google Shape;6032;g3681a448973_2_190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33" name="Google Shape;6033;g3681a448973_2_19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34" name="Google Shape;6034;g3681a448973_2_19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6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6" name="Google Shape;6036;g3681a448973_2_19022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7" name="Google Shape;6037;g3681a448973_2_19022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038" name="Google Shape;6038;g3681a448973_2_19022"/>
          <p:cNvGrpSpPr/>
          <p:nvPr/>
        </p:nvGrpSpPr>
        <p:grpSpPr>
          <a:xfrm flipH="1">
            <a:off x="225" y="1"/>
            <a:ext cx="6418638" cy="1509802"/>
            <a:chOff x="7522541" y="1"/>
            <a:chExt cx="4669459" cy="1098357"/>
          </a:xfrm>
        </p:grpSpPr>
        <p:sp>
          <p:nvSpPr>
            <p:cNvPr id="6039" name="Google Shape;6039;g3681a448973_2_19022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40" name="Google Shape;6040;g3681a448973_2_19022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041" name="Google Shape;6041;g3681a448973_2_190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6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3" name="Google Shape;6043;g3681a448973_2_190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044" name="Google Shape;6044;g3681a448973_2_190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45" name="Google Shape;6045;g3681a448973_2_190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46" name="Google Shape;6046;g3681a448973_2_190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47" name="Google Shape;6047;g3681a448973_2_19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048" name="Google Shape;6048;g3681a448973_2_190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9" name="Google Shape;6049;g3681a448973_2_190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6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1" name="Google Shape;6051;g3681a448973_2_190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52" name="Google Shape;6052;g3681a448973_2_190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53" name="Google Shape;6053;g3681a448973_2_190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54" name="Google Shape;6054;g3681a448973_2_190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55" name="Google Shape;6055;g3681a448973_2_190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56" name="Google Shape;6056;g3681a448973_2_190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057" name="Google Shape;6057;g3681a448973_2_190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6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9" name="Google Shape;6059;g3681a448973_2_1904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60" name="Google Shape;6060;g3681a448973_2_190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61" name="Google Shape;6061;g3681a448973_2_190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62" name="Google Shape;6062;g3681a448973_2_190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63" name="Google Shape;6063;g3681a448973_2_19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4" name="Google Shape;6064;g3681a448973_2_19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65" name="Google Shape;6065;g3681a448973_2_1904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66" name="Google Shape;6066;g3681a448973_2_19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67" name="Google Shape;6067;g3681a448973_2_190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68" name="Google Shape;6068;g3681a448973_2_19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69" name="Google Shape;6069;g3681a448973_2_19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70" name="Google Shape;6070;g3681a448973_2_190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6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72" name="Google Shape;6072;g3681a448973_2_190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73" name="Google Shape;6073;g3681a448973_2_19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74" name="Google Shape;6074;g3681a448973_2_190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75" name="Google Shape;6075;g3681a448973_2_190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76" name="Google Shape;6076;g3681a448973_2_190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77" name="Google Shape;6077;g3681a448973_2_190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78" name="Google Shape;6078;g3681a448973_2_190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9" name="Google Shape;6079;g3681a448973_2_190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80" name="Google Shape;6080;g3681a448973_2_190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81" name="Google Shape;6081;g3681a448973_2_190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6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3" name="Google Shape;6083;g3681a448973_2_190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84" name="Google Shape;6084;g3681a448973_2_190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85" name="Google Shape;6085;g3681a448973_2_1906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86" name="Google Shape;6086;g3681a448973_2_19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7" name="Google Shape;6087;g3681a448973_2_190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88" name="Google Shape;6088;g3681a448973_2_190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9" name="Google Shape;6089;g3681a448973_2_190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90" name="Google Shape;6090;g3681a448973_2_190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1" name="Google Shape;6091;g3681a448973_2_190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92" name="Google Shape;6092;g3681a448973_2_190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93" name="Google Shape;6093;g3681a448973_2_190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6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5" name="Google Shape;6095;g3681a448973_2_190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096" name="Google Shape;6096;g3681a448973_2_190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7" name="Google Shape;6097;g3681a448973_2_190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98" name="Google Shape;6098;g3681a448973_2_190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99" name="Google Shape;6099;g3681a448973_2_190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00" name="Google Shape;6100;g3681a448973_2_190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1" name="Google Shape;6101;g3681a448973_2_190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02" name="Google Shape;6102;g3681a448973_2_190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3" name="Google Shape;6103;g3681a448973_2_190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04" name="Google Shape;6104;g3681a448973_2_190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5" name="Google Shape;6105;g3681a448973_2_190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6" name="Google Shape;6106;g3681a448973_2_190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07" name="Google Shape;6107;g3681a448973_2_190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g3681a448973_2_1364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2" name="Google Shape;662;g3681a448973_2_136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3" name="Google Shape;663;g3681a448973_2_136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4" name="Google Shape;664;g3681a448973_2_1364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65" name="Google Shape;665;g3681a448973_2_13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6" name="Google Shape;666;g3681a448973_2_136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67" name="Google Shape;667;g3681a448973_2_136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8" name="Google Shape;668;g3681a448973_2_136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6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09" name="Google Shape;6109;g3681a448973_2_1909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10" name="Google Shape;6110;g3681a448973_2_19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11" name="Google Shape;6111;g3681a448973_2_190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12" name="Google Shape;6112;g3681a448973_2_19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3" name="Google Shape;6113;g3681a448973_2_19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4" name="Google Shape;6114;g3681a448973_2_19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5" name="Google Shape;6115;g3681a448973_2_19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16" name="Google Shape;6116;g3681a448973_2_19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7" name="Google Shape;6117;g3681a448973_2_19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6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19" name="Google Shape;6119;g3681a448973_2_19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20" name="Google Shape;6120;g3681a448973_2_19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21" name="Google Shape;6121;g3681a448973_2_19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22" name="Google Shape;6122;g3681a448973_2_1910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23" name="Google Shape;6123;g3681a448973_2_19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4" name="Google Shape;6124;g3681a448973_2_19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25" name="Google Shape;6125;g3681a448973_2_19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126" name="Google Shape;6126;g3681a448973_2_19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6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8" name="Google Shape;6128;g3681a448973_2_19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29" name="Google Shape;6129;g3681a448973_2_19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30" name="Google Shape;6130;g3681a448973_2_19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131" name="Google Shape;6131;g3681a448973_2_191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32" name="Google Shape;6132;g3681a448973_2_19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33" name="Google Shape;6133;g3681a448973_2_191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34" name="Google Shape;6134;g3681a448973_2_19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5" name="Google Shape;6135;g3681a448973_2_19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6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7" name="Google Shape;6137;g3681a448973_2_1912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38" name="Google Shape;6138;g3681a448973_2_1912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9" name="Google Shape;6139;g3681a448973_2_1912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40" name="Google Shape;6140;g3681a448973_2_191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141" name="Google Shape;6141;g3681a448973_2_1912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142" name="Google Shape;6142;g3681a448973_2_19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43" name="Google Shape;6143;g3681a448973_2_1912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44" name="Google Shape;6144;g3681a448973_2_19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6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6" name="Google Shape;6146;g3681a448973_2_191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147" name="Google Shape;6147;g3681a448973_2_191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48" name="Google Shape;6148;g3681a448973_2_19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49" name="Google Shape;6149;g3681a448973_2_191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50" name="Google Shape;6150;g3681a448973_2_19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51" name="Google Shape;6151;g3681a448973_2_191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2" name="Google Shape;6152;g3681a448973_2_191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6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4" name="Google Shape;6154;g3681a448973_2_1914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5" name="Google Shape;6155;g3681a448973_2_1914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6" name="Google Shape;6156;g3681a448973_2_1914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7" name="Google Shape;6157;g3681a448973_2_191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8" name="Google Shape;6158;g3681a448973_2_19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59" name="Google Shape;6159;g3681a448973_2_19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160" name="Google Shape;6160;g3681a448973_2_1914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61" name="Google Shape;6161;g3681a448973_2_19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2" name="Google Shape;6162;g3681a448973_2_191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63" name="Google Shape;6163;g3681a448973_2_19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64" name="Google Shape;6164;g3681a448973_2_19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65" name="Google Shape;6165;g3681a448973_2_1914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6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7" name="Google Shape;6167;g3681a448973_2_1915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68" name="Google Shape;6168;g3681a448973_2_19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9" name="Google Shape;6169;g3681a448973_2_191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70" name="Google Shape;6170;g3681a448973_2_19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1" name="Google Shape;6171;g3681a448973_2_19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72" name="Google Shape;6172;g3681a448973_2_19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3" name="Google Shape;6173;g3681a448973_2_19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4" name="Google Shape;6174;g3681a448973_2_19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75" name="Google Shape;6175;g3681a448973_2_19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76" name="Google Shape;6176;g3681a448973_2_19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6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8" name="Google Shape;6178;g3681a448973_2_191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9" name="Google Shape;6179;g3681a448973_2_191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180" name="Google Shape;6180;g3681a448973_2_191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81" name="Google Shape;6181;g3681a448973_2_19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2" name="Google Shape;6182;g3681a448973_2_191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83" name="Google Shape;6183;g3681a448973_2_19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84" name="Google Shape;6184;g3681a448973_2_19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5" name="Google Shape;6185;g3681a448973_2_191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86" name="Google Shape;6186;g3681a448973_2_191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7" name="Google Shape;6187;g3681a448973_2_19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88" name="Google Shape;6188;g3681a448973_2_19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6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0" name="Google Shape;6190;g3681a448973_2_1917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191" name="Google Shape;6191;g3681a448973_2_19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92" name="Google Shape;6192;g3681a448973_2_191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193" name="Google Shape;6193;g3681a448973_2_19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94" name="Google Shape;6194;g3681a448973_2_19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95" name="Google Shape;6195;g3681a448973_2_191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6" name="Google Shape;6196;g3681a448973_2_1917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97" name="Google Shape;6197;g3681a448973_2_1917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98" name="Google Shape;6198;g3681a448973_2_191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99" name="Google Shape;6199;g3681a448973_2_191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0" name="Google Shape;6200;g3681a448973_2_19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1" name="Google Shape;6201;g3681a448973_2_19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02" name="Google Shape;6202;g3681a448973_2_19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4" name="Google Shape;6204;g3681a448973_2_191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205" name="Google Shape;6205;g3681a448973_2_1919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206" name="Google Shape;6206;g3681a448973_2_191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207" name="Google Shape;6207;g3681a448973_2_191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08" name="Google Shape;6208;g3681a448973_2_191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09" name="Google Shape;6209;g3681a448973_2_191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210" name="Google Shape;6210;g3681a448973_2_191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0" name="Google Shape;670;g3681a448973_2_1365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71" name="Google Shape;671;g3681a448973_2_136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2" name="Google Shape;672;g3681a448973_2_136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3" name="Google Shape;673;g3681a448973_2_136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" name="Google Shape;674;g3681a448973_2_136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5" name="Google Shape;675;g3681a448973_2_136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6" name="Google Shape;676;g3681a448973_2_136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" name="Google Shape;677;g3681a448973_2_136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" name="Google Shape;678;g3681a448973_2_13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6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12" name="Google Shape;6212;g3681a448973_2_1919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213" name="Google Shape;6213;g3681a448973_2_1919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4" name="Google Shape;6214;g3681a448973_2_1919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15" name="Google Shape;6215;g3681a448973_2_1919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16" name="Google Shape;6216;g3681a448973_2_1919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7" name="Google Shape;6217;g3681a448973_2_1919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18" name="Google Shape;6218;g3681a448973_2_191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19" name="Google Shape;6219;g3681a448973_2_191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6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1" name="Google Shape;6221;g3681a448973_2_19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22" name="Google Shape;6222;g3681a448973_2_19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3" name="Google Shape;6223;g3681a448973_2_19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24" name="Google Shape;6224;g3681a448973_2_192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25" name="Google Shape;6225;g3681a448973_2_19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6" name="Google Shape;6226;g3681a448973_2_192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27" name="Google Shape;6227;g3681a448973_2_19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28" name="Google Shape;6228;g3681a448973_2_19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6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30" name="Google Shape;6230;g3681a448973_2_192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31" name="Google Shape;6231;g3681a448973_2_19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32" name="Google Shape;6232;g3681a448973_2_192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33" name="Google Shape;6233;g3681a448973_2_19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34" name="Google Shape;6234;g3681a448973_2_19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35" name="Google Shape;6235;g3681a448973_2_192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36" name="Google Shape;6236;g3681a448973_2_19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37" name="Google Shape;6237;g3681a448973_2_19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38" name="Google Shape;6238;g3681a448973_2_19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6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0" name="Google Shape;6240;g3681a448973_2_1922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1" name="Google Shape;6241;g3681a448973_2_192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2" name="Google Shape;6242;g3681a448973_2_192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43" name="Google Shape;6243;g3681a448973_2_192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44" name="Google Shape;6244;g3681a448973_2_192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45" name="Google Shape;6245;g3681a448973_2_192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46" name="Google Shape;6246;g3681a448973_2_192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47" name="Google Shape;6247;g3681a448973_2_19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6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49" name="Google Shape;6249;g3681a448973_2_1923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250" name="Google Shape;6250;g3681a448973_2_1923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51" name="Google Shape;6251;g3681a448973_2_192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52" name="Google Shape;6252;g3681a448973_2_1923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53" name="Google Shape;6253;g3681a448973_2_192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54" name="Google Shape;6254;g3681a448973_2_1923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5" name="Google Shape;6255;g3681a448973_2_1923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6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7" name="Google Shape;6257;g3681a448973_2_1924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8" name="Google Shape;6258;g3681a448973_2_192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9" name="Google Shape;6259;g3681a448973_2_192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0" name="Google Shape;6260;g3681a448973_2_192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1" name="Google Shape;6261;g3681a448973_2_192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62" name="Google Shape;6262;g3681a448973_2_192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63" name="Google Shape;6263;g3681a448973_2_1924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64" name="Google Shape;6264;g3681a448973_2_192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65" name="Google Shape;6265;g3681a448973_2_192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66" name="Google Shape;6266;g3681a448973_2_192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7" name="Google Shape;6267;g3681a448973_2_192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68" name="Google Shape;6268;g3681a448973_2_192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6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70" name="Google Shape;6270;g3681a448973_2_192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71" name="Google Shape;6271;g3681a448973_2_192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72" name="Google Shape;6272;g3681a448973_2_192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73" name="Google Shape;6273;g3681a448973_2_192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74" name="Google Shape;6274;g3681a448973_2_192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75" name="Google Shape;6275;g3681a448973_2_192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6" name="Google Shape;6276;g3681a448973_2_192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77" name="Google Shape;6277;g3681a448973_2_19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8" name="Google Shape;6278;g3681a448973_2_192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9" name="Google Shape;6279;g3681a448973_2_19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6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1" name="Google Shape;6281;g3681a448973_2_192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2" name="Google Shape;6282;g3681a448973_2_192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283" name="Google Shape;6283;g3681a448973_2_1926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84" name="Google Shape;6284;g3681a448973_2_19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85" name="Google Shape;6285;g3681a448973_2_192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86" name="Google Shape;6286;g3681a448973_2_192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87" name="Google Shape;6287;g3681a448973_2_192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88" name="Google Shape;6288;g3681a448973_2_192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89" name="Google Shape;6289;g3681a448973_2_192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90" name="Google Shape;6290;g3681a448973_2_192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91" name="Google Shape;6291;g3681a448973_2_192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6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93" name="Google Shape;6293;g3681a448973_2_1927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294" name="Google Shape;6294;g3681a448973_2_19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95" name="Google Shape;6295;g3681a448973_2_192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96" name="Google Shape;6296;g3681a448973_2_192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97" name="Google Shape;6297;g3681a448973_2_192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98" name="Google Shape;6298;g3681a448973_2_192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9" name="Google Shape;6299;g3681a448973_2_192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00" name="Google Shape;6300;g3681a448973_2_192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01" name="Google Shape;6301;g3681a448973_2_192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02" name="Google Shape;6302;g3681a448973_2_192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03" name="Google Shape;6303;g3681a448973_2_192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04" name="Google Shape;6304;g3681a448973_2_192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05" name="Google Shape;6305;g3681a448973_2_192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6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7" name="Google Shape;6307;g3681a448973_2_192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308" name="Google Shape;6308;g3681a448973_2_1929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309" name="Google Shape;6309;g3681a448973_2_192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310" name="Google Shape;6310;g3681a448973_2_192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11" name="Google Shape;6311;g3681a448973_2_192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12" name="Google Shape;6312;g3681a448973_2_192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313" name="Google Shape;6313;g3681a448973_2_19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g3681a448973_2_1366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g3681a448973_2_1366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g3681a448973_2_1366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3" name="Google Shape;683;g3681a448973_2_136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84" name="Google Shape;684;g3681a448973_2_1366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685" name="Google Shape;685;g3681a448973_2_136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686;g3681a448973_2_1366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87" name="Google Shape;687;g3681a448973_2_13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6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15" name="Google Shape;6315;g3681a448973_2_193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316" name="Google Shape;6316;g3681a448973_2_193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17" name="Google Shape;6317;g3681a448973_2_193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18" name="Google Shape;6318;g3681a448973_2_1930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9" name="Google Shape;6319;g3681a448973_2_193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0" name="Google Shape;6320;g3681a448973_2_193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321" name="Google Shape;6321;g3681a448973_2_19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322" name="Google Shape;6322;g3681a448973_2_193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6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4" name="Google Shape;6324;g3681a448973_2_193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25" name="Google Shape;6325;g3681a448973_2_19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26" name="Google Shape;6326;g3681a448973_2_19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27" name="Google Shape;6327;g3681a448973_2_193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28" name="Google Shape;6328;g3681a448973_2_19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29" name="Google Shape;6329;g3681a448973_2_193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30" name="Google Shape;6330;g3681a448973_2_19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1" name="Google Shape;6331;g3681a448973_2_19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6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33" name="Google Shape;6333;g3681a448973_2_193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34" name="Google Shape;6334;g3681a448973_2_19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35" name="Google Shape;6335;g3681a448973_2_193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36" name="Google Shape;6336;g3681a448973_2_19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7" name="Google Shape;6337;g3681a448973_2_19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38" name="Google Shape;6338;g3681a448973_2_193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39" name="Google Shape;6339;g3681a448973_2_19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0" name="Google Shape;6340;g3681a448973_2_19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1" name="Google Shape;6341;g3681a448973_2_19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6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3" name="Google Shape;6343;g3681a448973_2_193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344" name="Google Shape;6344;g3681a448973_2_1932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345" name="Google Shape;6345;g3681a448973_2_1932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346" name="Google Shape;6346;g3681a448973_2_193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7" name="Google Shape;6347;g3681a448973_2_193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48" name="Google Shape;6348;g3681a448973_2_193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349" name="Google Shape;6349;g3681a448973_2_193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6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1" name="Google Shape;6351;g3681a448973_2_1933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52" name="Google Shape;6352;g3681a448973_2_193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3" name="Google Shape;6353;g3681a448973_2_193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4" name="Google Shape;6354;g3681a448973_2_19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55" name="Google Shape;6355;g3681a448973_2_19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6" name="Google Shape;6356;g3681a448973_2_19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57" name="Google Shape;6357;g3681a448973_2_193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58" name="Google Shape;6358;g3681a448973_2_19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9" name="Google Shape;6359;g3681a448973_2_193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60" name="Google Shape;6360;g3681a448973_2_19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61" name="Google Shape;6361;g3681a448973_2_19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62" name="Google Shape;6362;g3681a448973_2_193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6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64" name="Google Shape;6364;g3681a448973_2_1935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65" name="Google Shape;6365;g3681a448973_2_19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6" name="Google Shape;6366;g3681a448973_2_193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67" name="Google Shape;6367;g3681a448973_2_19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68" name="Google Shape;6368;g3681a448973_2_19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69" name="Google Shape;6369;g3681a448973_2_19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70" name="Google Shape;6370;g3681a448973_2_193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71" name="Google Shape;6371;g3681a448973_2_19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72" name="Google Shape;6372;g3681a448973_2_19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73" name="Google Shape;6373;g3681a448973_2_19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6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5" name="Google Shape;6375;g3681a448973_2_193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76" name="Google Shape;6376;g3681a448973_2_193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77" name="Google Shape;6377;g3681a448973_2_1936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78" name="Google Shape;6378;g3681a448973_2_193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9" name="Google Shape;6379;g3681a448973_2_193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80" name="Google Shape;6380;g3681a448973_2_193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81" name="Google Shape;6381;g3681a448973_2_193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82" name="Google Shape;6382;g3681a448973_2_1936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3" name="Google Shape;6383;g3681a448973_2_1936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84" name="Google Shape;6384;g3681a448973_2_193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5" name="Google Shape;6385;g3681a448973_2_193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6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87" name="Google Shape;6387;g3681a448973_2_1937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388" name="Google Shape;6388;g3681a448973_2_19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9" name="Google Shape;6389;g3681a448973_2_193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390" name="Google Shape;6390;g3681a448973_2_19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1" name="Google Shape;6391;g3681a448973_2_19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2" name="Google Shape;6392;g3681a448973_2_193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93" name="Google Shape;6393;g3681a448973_2_193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94" name="Google Shape;6394;g3681a448973_2_193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5" name="Google Shape;6395;g3681a448973_2_193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96" name="Google Shape;6396;g3681a448973_2_193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7" name="Google Shape;6397;g3681a448973_2_19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98" name="Google Shape;6398;g3681a448973_2_19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99" name="Google Shape;6399;g3681a448973_2_19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6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01" name="Google Shape;6401;g3681a448973_2_1938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02" name="Google Shape;6402;g3681a448973_2_19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03" name="Google Shape;6403;g3681a448973_2_193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04" name="Google Shape;6404;g3681a448973_2_19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5" name="Google Shape;6405;g3681a448973_2_19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6" name="Google Shape;6406;g3681a448973_2_193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7" name="Google Shape;6407;g3681a448973_2_19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8" name="Google Shape;6408;g3681a448973_2_19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09" name="Google Shape;6409;g3681a448973_2_19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6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11" name="Google Shape;6411;g3681a448973_2_193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12" name="Google Shape;6412;g3681a448973_2_193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13" name="Google Shape;6413;g3681a448973_2_193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14" name="Google Shape;6414;g3681a448973_2_19397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15" name="Google Shape;6415;g3681a448973_2_193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16" name="Google Shape;6416;g3681a448973_2_193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17" name="Google Shape;6417;g3681a448973_2_19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418" name="Google Shape;6418;g3681a448973_2_19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9" name="Google Shape;689;g3681a448973_2_1367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690" name="Google Shape;690;g3681a448973_2_136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691;g3681a448973_2_136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692;g3681a448973_2_136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3" name="Google Shape;693;g3681a448973_2_13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4" name="Google Shape;694;g3681a448973_2_1367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g3681a448973_2_1367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6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0" name="Google Shape;6420;g3681a448973_2_194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21" name="Google Shape;6421;g3681a448973_2_194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22" name="Google Shape;6422;g3681a448973_2_194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423" name="Google Shape;6423;g3681a448973_2_1940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24" name="Google Shape;6424;g3681a448973_2_194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25" name="Google Shape;6425;g3681a448973_2_194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26" name="Google Shape;6426;g3681a448973_2_194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27" name="Google Shape;6427;g3681a448973_2_194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6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9" name="Google Shape;6429;g3681a448973_2_1941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30" name="Google Shape;6430;g3681a448973_2_19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31" name="Google Shape;6431;g3681a448973_2_19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32" name="Google Shape;6432;g3681a448973_2_19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33" name="Google Shape;6433;g3681a448973_2_19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34" name="Google Shape;6434;g3681a448973_2_19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35" name="Google Shape;6435;g3681a448973_2_19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36" name="Google Shape;6436;g3681a448973_2_19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6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8" name="Google Shape;6438;g3681a448973_2_194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39" name="Google Shape;6439;g3681a448973_2_194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0" name="Google Shape;6440;g3681a448973_2_194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1" name="Google Shape;6441;g3681a448973_2_194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42" name="Google Shape;6442;g3681a448973_2_19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43" name="Google Shape;6443;g3681a448973_2_194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4" name="Google Shape;6444;g3681a448973_2_194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6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6" name="Google Shape;6446;g3681a448973_2_194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47" name="Google Shape;6447;g3681a448973_2_1943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48" name="Google Shape;6448;g3681a448973_2_194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49" name="Google Shape;6449;g3681a448973_2_194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0" name="Google Shape;6450;g3681a448973_2_194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1" name="Google Shape;6451;g3681a448973_2_194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452" name="Google Shape;6452;g3681a448973_2_19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6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4" name="Google Shape;6454;g3681a448973_2_1944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5" name="Google Shape;6455;g3681a448973_2_1944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6" name="Google Shape;6456;g3681a448973_2_1944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7" name="Google Shape;6457;g3681a448973_2_194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58" name="Google Shape;6458;g3681a448973_2_194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59" name="Google Shape;6459;g3681a448973_2_194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460" name="Google Shape;6460;g3681a448973_2_1944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61" name="Google Shape;6461;g3681a448973_2_194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2" name="Google Shape;6462;g3681a448973_2_194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63" name="Google Shape;6463;g3681a448973_2_194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64" name="Google Shape;6464;g3681a448973_2_194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65" name="Google Shape;6465;g3681a448973_2_1944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6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67" name="Google Shape;6467;g3681a448973_2_1945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68" name="Google Shape;6468;g3681a448973_2_194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9" name="Google Shape;6469;g3681a448973_2_194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70" name="Google Shape;6470;g3681a448973_2_194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1" name="Google Shape;6471;g3681a448973_2_194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72" name="Google Shape;6472;g3681a448973_2_194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3" name="Google Shape;6473;g3681a448973_2_194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4" name="Google Shape;6474;g3681a448973_2_194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5" name="Google Shape;6475;g3681a448973_2_194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76" name="Google Shape;6476;g3681a448973_2_194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6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8" name="Google Shape;6478;g3681a448973_2_194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9" name="Google Shape;6479;g3681a448973_2_194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480" name="Google Shape;6480;g3681a448973_2_194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81" name="Google Shape;6481;g3681a448973_2_194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82" name="Google Shape;6482;g3681a448973_2_194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83" name="Google Shape;6483;g3681a448973_2_194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84" name="Google Shape;6484;g3681a448973_2_194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85" name="Google Shape;6485;g3681a448973_2_194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6" name="Google Shape;6486;g3681a448973_2_194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87" name="Google Shape;6487;g3681a448973_2_194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8" name="Google Shape;6488;g3681a448973_2_194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6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0" name="Google Shape;6490;g3681a448973_2_1947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491" name="Google Shape;6491;g3681a448973_2_194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2" name="Google Shape;6492;g3681a448973_2_194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493" name="Google Shape;6493;g3681a448973_2_194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4" name="Google Shape;6494;g3681a448973_2_194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95" name="Google Shape;6495;g3681a448973_2_194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96" name="Google Shape;6496;g3681a448973_2_1947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97" name="Google Shape;6497;g3681a448973_2_1947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98" name="Google Shape;6498;g3681a448973_2_194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99" name="Google Shape;6499;g3681a448973_2_194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00" name="Google Shape;6500;g3681a448973_2_194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01" name="Google Shape;6501;g3681a448973_2_194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02" name="Google Shape;6502;g3681a448973_2_194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6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04" name="Google Shape;6504;g3681a448973_2_194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05" name="Google Shape;6505;g3681a448973_2_19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06" name="Google Shape;6506;g3681a448973_2_194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07" name="Google Shape;6507;g3681a448973_2_19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08" name="Google Shape;6508;g3681a448973_2_19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09" name="Google Shape;6509;g3681a448973_2_194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10" name="Google Shape;6510;g3681a448973_2_19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11" name="Google Shape;6511;g3681a448973_2_19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12" name="Google Shape;6512;g3681a448973_2_19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6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14" name="Google Shape;6514;g3681a448973_2_1950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15" name="Google Shape;6515;g3681a448973_2_1950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16" name="Google Shape;6516;g3681a448973_2_1950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17" name="Google Shape;6517;g3681a448973_2_1950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18" name="Google Shape;6518;g3681a448973_2_1950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9" name="Google Shape;6519;g3681a448973_2_1950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20" name="Google Shape;6520;g3681a448973_2_195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21" name="Google Shape;6521;g3681a448973_2_195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Google Shape;697;g3681a448973_2_1368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8" name="Google Shape;698;g3681a448973_2_1368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" name="Google Shape;699;g3681a448973_2_136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" name="Google Shape;700;g3681a448973_2_136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" name="Google Shape;701;g3681a448973_2_136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2" name="Google Shape;702;g3681a448973_2_136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3" name="Google Shape;703;g3681a448973_2_136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04" name="Google Shape;704;g3681a448973_2_136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5" name="Google Shape;705;g3681a448973_2_136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6" name="Google Shape;706;g3681a448973_2_136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7" name="Google Shape;707;g3681a448973_2_136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8" name="Google Shape;708;g3681a448973_2_136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6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3" name="Google Shape;6523;g3681a448973_2_195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4" name="Google Shape;6524;g3681a448973_2_195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25" name="Google Shape;6525;g3681a448973_2_195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26" name="Google Shape;6526;g3681a448973_2_1950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27" name="Google Shape;6527;g3681a448973_2_195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28" name="Google Shape;6528;g3681a448973_2_195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29" name="Google Shape;6529;g3681a448973_2_195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30" name="Google Shape;6530;g3681a448973_2_195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6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2" name="Google Shape;6532;g3681a448973_2_1951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33" name="Google Shape;6533;g3681a448973_2_195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4" name="Google Shape;6534;g3681a448973_2_195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535" name="Google Shape;6535;g3681a448973_2_195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536" name="Google Shape;6536;g3681a448973_2_195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537" name="Google Shape;6537;g3681a448973_2_195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8" name="Google Shape;6538;g3681a448973_2_195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539" name="Google Shape;6539;g3681a448973_2_195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6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1" name="Google Shape;6541;g3681a448973_2_195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542" name="Google Shape;6542;g3681a448973_2_195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3" name="Google Shape;6543;g3681a448973_2_195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4" name="Google Shape;6544;g3681a448973_2_195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545" name="Google Shape;6545;g3681a448973_2_19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546" name="Google Shape;6546;g3681a448973_2_195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47" name="Google Shape;6547;g3681a448973_2_195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6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9" name="Google Shape;6549;g3681a448973_2_1953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50" name="Google Shape;6550;g3681a448973_2_195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51" name="Google Shape;6551;g3681a448973_2_195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52" name="Google Shape;6552;g3681a448973_2_19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3" name="Google Shape;6553;g3681a448973_2_19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4" name="Google Shape;6554;g3681a448973_2_19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55" name="Google Shape;6555;g3681a448973_2_195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56" name="Google Shape;6556;g3681a448973_2_19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57" name="Google Shape;6557;g3681a448973_2_195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58" name="Google Shape;6558;g3681a448973_2_19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59" name="Google Shape;6559;g3681a448973_2_19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60" name="Google Shape;6560;g3681a448973_2_1953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6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2" name="Google Shape;6562;g3681a448973_2_1954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563" name="Google Shape;6563;g3681a448973_2_1954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564" name="Google Shape;6564;g3681a448973_2_1954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565" name="Google Shape;6565;g3681a448973_2_1954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66" name="Google Shape;6566;g3681a448973_2_1954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67" name="Google Shape;6567;g3681a448973_2_1954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568" name="Google Shape;6568;g3681a448973_2_195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6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70" name="Google Shape;6570;g3681a448973_2_195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71" name="Google Shape;6571;g3681a448973_2_19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72" name="Google Shape;6572;g3681a448973_2_195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73" name="Google Shape;6573;g3681a448973_2_19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74" name="Google Shape;6574;g3681a448973_2_19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5" name="Google Shape;6575;g3681a448973_2_19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76" name="Google Shape;6576;g3681a448973_2_195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7" name="Google Shape;6577;g3681a448973_2_19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78" name="Google Shape;6578;g3681a448973_2_19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79" name="Google Shape;6579;g3681a448973_2_19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6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1" name="Google Shape;6581;g3681a448973_2_195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2" name="Google Shape;6582;g3681a448973_2_195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583" name="Google Shape;6583;g3681a448973_2_1956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84" name="Google Shape;6584;g3681a448973_2_195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5" name="Google Shape;6585;g3681a448973_2_195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86" name="Google Shape;6586;g3681a448973_2_195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7" name="Google Shape;6587;g3681a448973_2_195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88" name="Google Shape;6588;g3681a448973_2_195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89" name="Google Shape;6589;g3681a448973_2_195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0" name="Google Shape;6590;g3681a448973_2_195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91" name="Google Shape;6591;g3681a448973_2_195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6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93" name="Google Shape;6593;g3681a448973_2_1957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594" name="Google Shape;6594;g3681a448973_2_195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5" name="Google Shape;6595;g3681a448973_2_195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96" name="Google Shape;6596;g3681a448973_2_195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97" name="Google Shape;6597;g3681a448973_2_195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98" name="Google Shape;6598;g3681a448973_2_195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9" name="Google Shape;6599;g3681a448973_2_195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00" name="Google Shape;6600;g3681a448973_2_195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1" name="Google Shape;6601;g3681a448973_2_195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02" name="Google Shape;6602;g3681a448973_2_195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3" name="Google Shape;6603;g3681a448973_2_19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04" name="Google Shape;6604;g3681a448973_2_195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5" name="Google Shape;6605;g3681a448973_2_19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6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07" name="Google Shape;6607;g3681a448973_2_1959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608" name="Google Shape;6608;g3681a448973_2_195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9" name="Google Shape;6609;g3681a448973_2_1959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610" name="Google Shape;6610;g3681a448973_2_195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1" name="Google Shape;6611;g3681a448973_2_195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12" name="Google Shape;6612;g3681a448973_2_195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13" name="Google Shape;6613;g3681a448973_2_195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14" name="Google Shape;6614;g3681a448973_2_195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15" name="Google Shape;6615;g3681a448973_2_195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6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17" name="Google Shape;6617;g3681a448973_2_1960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18" name="Google Shape;6618;g3681a448973_2_1960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19" name="Google Shape;6619;g3681a448973_2_1960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20" name="Google Shape;6620;g3681a448973_2_1960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1" name="Google Shape;6621;g3681a448973_2_1960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22" name="Google Shape;6622;g3681a448973_2_1960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23" name="Google Shape;6623;g3681a448973_2_196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24" name="Google Shape;6624;g3681a448973_2_196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0" name="Google Shape;710;g3681a448973_2_136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11" name="Google Shape;711;g3681a448973_2_13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2" name="Google Shape;712;g3681a448973_2_136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3" name="Google Shape;713;g3681a448973_2_136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g3681a448973_2_136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5" name="Google Shape;715;g3681a448973_2_136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" name="Google Shape;716;g3681a448973_2_136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" name="Google Shape;717;g3681a448973_2_136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g3681a448973_2_136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g3681a448973_2_136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6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6" name="Google Shape;6626;g3681a448973_2_196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27" name="Google Shape;6627;g3681a448973_2_196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28" name="Google Shape;6628;g3681a448973_2_196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29" name="Google Shape;6629;g3681a448973_2_196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630" name="Google Shape;6630;g3681a448973_2_196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31" name="Google Shape;6631;g3681a448973_2_196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632" name="Google Shape;6632;g3681a448973_2_196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33" name="Google Shape;6633;g3681a448973_2_196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6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5" name="Google Shape;6635;g3681a448973_2_1962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36" name="Google Shape;6636;g3681a448973_2_196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7" name="Google Shape;6637;g3681a448973_2_196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638" name="Google Shape;6638;g3681a448973_2_196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639" name="Google Shape;6639;g3681a448973_2_196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640" name="Google Shape;6640;g3681a448973_2_196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1" name="Google Shape;6641;g3681a448973_2_196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642" name="Google Shape;6642;g3681a448973_2_196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6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4" name="Google Shape;6644;g3681a448973_2_1963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5" name="Google Shape;6645;g3681a448973_2_1963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6" name="Google Shape;6646;g3681a448973_2_1963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7" name="Google Shape;6647;g3681a448973_2_1963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648" name="Google Shape;6648;g3681a448973_2_196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6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0" name="Google Shape;6650;g3681a448973_2_1963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1" name="Google Shape;6651;g3681a448973_2_196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6652" name="Google Shape;6652;g3681a448973_2_1963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3" name="Google Shape;6653;g3681a448973_2_196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54" name="Google Shape;6654;g3681a448973_2_196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6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" name="Google Shape;6656;g3681a448973_2_1964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7" name="Google Shape;6657;g3681a448973_2_1964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8" name="Google Shape;6658;g3681a448973_2_1964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59" name="Google Shape;6659;g3681a448973_2_1964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0" name="Google Shape;6660;g3681a448973_2_1964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61" name="Google Shape;6661;g3681a448973_2_19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6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3" name="Google Shape;6663;g3681a448973_2_19649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4" name="Google Shape;6664;g3681a448973_2_1964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5" name="Google Shape;6665;g3681a448973_2_1964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6" name="Google Shape;6666;g3681a448973_2_1964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7" name="Google Shape;6667;g3681a448973_2_196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668" name="Google Shape;6668;g3681a448973_2_1964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6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0" name="Google Shape;6670;g3681a448973_2_1965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71" name="Google Shape;6671;g3681a448973_2_1965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6672" name="Google Shape;6672;g3681a448973_2_196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73" name="Google Shape;6673;g3681a448973_2_19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74" name="Google Shape;6674;g3681a448973_2_19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6" name="Google Shape;6676;g3681a448973_2_19662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77" name="Google Shape;6677;g3681a448973_2_19662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678" name="Google Shape;6678;g3681a448973_2_19662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679" name="Google Shape;6679;g3681a448973_2_196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80" name="Google Shape;6680;g3681a448973_2_196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1" name="Google Shape;6681;g3681a448973_2_196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6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3" name="Google Shape;6683;g3681a448973_2_19669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84" name="Google Shape;6684;g3681a448973_2_19669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685" name="Google Shape;6685;g3681a448973_2_1966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6" name="Google Shape;6686;g3681a448973_2_19669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687" name="Google Shape;6687;g3681a448973_2_1966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8" name="Google Shape;6688;g3681a448973_2_1966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689" name="Google Shape;6689;g3681a448973_2_19669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90" name="Google Shape;6690;g3681a448973_2_1966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691" name="Google Shape;6691;g3681a448973_2_196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6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93" name="Google Shape;6693;g3681a448973_2_1967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694" name="Google Shape;6694;g3681a448973_2_196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5" name="Google Shape;6695;g3681a448973_2_196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696" name="Google Shape;6696;g3681a448973_2_196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97" name="Google Shape;6697;g3681a448973_2_196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98" name="Google Shape;6698;g3681a448973_2_196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9" name="Google Shape;6699;g3681a448973_2_196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00" name="Google Shape;6700;g3681a448973_2_196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01" name="Google Shape;6701;g3681a448973_2_196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02" name="Google Shape;6702;g3681a448973_2_196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g3681a448973_2_137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" name="Google Shape;722;g3681a448973_2_1370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3" name="Google Shape;723;g3681a448973_2_1370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24" name="Google Shape;724;g3681a448973_2_137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5" name="Google Shape;725;g3681a448973_2_137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6" name="Google Shape;726;g3681a448973_2_137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7" name="Google Shape;727;g3681a448973_2_137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8" name="Google Shape;728;g3681a448973_2_1370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9" name="Google Shape;729;g3681a448973_2_1370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0" name="Google Shape;730;g3681a448973_2_137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" name="Google Shape;731;g3681a448973_2_137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6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4" name="Google Shape;6704;g3681a448973_2_196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05" name="Google Shape;6705;g3681a448973_2_1969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06" name="Google Shape;6706;g3681a448973_2_196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07" name="Google Shape;6707;g3681a448973_2_196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8" name="Google Shape;6708;g3681a448973_2_196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09" name="Google Shape;6709;g3681a448973_2_196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710" name="Google Shape;6710;g3681a448973_2_196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 2">
    <p:spTree>
      <p:nvGrpSpPr>
        <p:cNvPr id="1" name="Shape 6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2" name="Google Shape;6712;g3681a448973_2_196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13" name="Google Shape;6713;g3681a448973_2_1969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14" name="Google Shape;6714;g3681a448973_2_196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15" name="Google Shape;6715;g3681a448973_2_196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6" name="Google Shape;6716;g3681a448973_2_196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17" name="Google Shape;6717;g3681a448973_2_196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718" name="Google Shape;6718;g3681a448973_2_196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6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0" name="Google Shape;6720;g3681a448973_2_1970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21" name="Google Shape;6721;g3681a448973_2_197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22" name="Google Shape;6722;g3681a448973_2_197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723" name="Google Shape;6723;g3681a448973_2_197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724" name="Google Shape;6724;g3681a448973_2_197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725" name="Google Shape;6725;g3681a448973_2_197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26" name="Google Shape;6726;g3681a448973_2_197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27" name="Google Shape;6727;g3681a448973_2_19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6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29" name="Google Shape;6729;g3681a448973_2_197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730" name="Google Shape;6730;g3681a448973_2_197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31" name="Google Shape;6731;g3681a448973_2_197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32" name="Google Shape;6732;g3681a448973_2_197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33" name="Google Shape;6733;g3681a448973_2_197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734" name="Google Shape;6734;g3681a448973_2_197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5" name="Google Shape;6735;g3681a448973_2_197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 3">
    <p:spTree>
      <p:nvGrpSpPr>
        <p:cNvPr id="1" name="Shape 6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7" name="Google Shape;6737;g3681a448973_2_197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38" name="Google Shape;6738;g3681a448973_2_1972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39" name="Google Shape;6739;g3681a448973_2_197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40" name="Google Shape;6740;g3681a448973_2_197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1" name="Google Shape;6741;g3681a448973_2_197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42" name="Google Shape;6742;g3681a448973_2_197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743" name="Google Shape;6743;g3681a448973_2_19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 2">
    <p:spTree>
      <p:nvGrpSpPr>
        <p:cNvPr id="1" name="Shape 6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5" name="Google Shape;6745;g3681a448973_2_1973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746" name="Google Shape;6746;g3681a448973_2_197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7" name="Google Shape;6747;g3681a448973_2_1973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48" name="Google Shape;6748;g3681a448973_2_197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9" name="Google Shape;6749;g3681a448973_2_197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50" name="Google Shape;6750;g3681a448973_2_197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1" name="Google Shape;6751;g3681a448973_2_197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52" name="Google Shape;6752;g3681a448973_2_197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53" name="Google Shape;6753;g3681a448973_2_197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54" name="Google Shape;6754;g3681a448973_2_197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6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6" name="Google Shape;6756;g3681a448973_2_197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7" name="Google Shape;6757;g3681a448973_2_197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758" name="Google Shape;6758;g3681a448973_2_197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759" name="Google Shape;6759;g3681a448973_2_197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0" name="Google Shape;6760;g3681a448973_2_197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61" name="Google Shape;6761;g3681a448973_2_197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2" name="Google Shape;6762;g3681a448973_2_197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63" name="Google Shape;6763;g3681a448973_2_1974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64" name="Google Shape;6764;g3681a448973_2_1974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5" name="Google Shape;6765;g3681a448973_2_197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6" name="Google Shape;6766;g3681a448973_2_197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6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68" name="Google Shape;6768;g3681a448973_2_1975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769" name="Google Shape;6769;g3681a448973_2_197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70" name="Google Shape;6770;g3681a448973_2_197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71" name="Google Shape;6771;g3681a448973_2_197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72" name="Google Shape;6772;g3681a448973_2_197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3" name="Google Shape;6773;g3681a448973_2_197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4" name="Google Shape;6774;g3681a448973_2_197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5" name="Google Shape;6775;g3681a448973_2_197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6" name="Google Shape;6776;g3681a448973_2_197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7" name="Google Shape;6777;g3681a448973_2_197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8" name="Google Shape;6778;g3681a448973_2_197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9" name="Google Shape;6779;g3681a448973_2_197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0" name="Google Shape;6780;g3681a448973_2_197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6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82" name="Google Shape;6782;g3681a448973_2_197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783" name="Google Shape;6783;g3681a448973_2_197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84" name="Google Shape;6784;g3681a448973_2_197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85" name="Google Shape;6785;g3681a448973_2_197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6" name="Google Shape;6786;g3681a448973_2_197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87" name="Google Shape;6787;g3681a448973_2_197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8" name="Google Shape;6788;g3681a448973_2_197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89" name="Google Shape;6789;g3681a448973_2_197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90" name="Google Shape;6790;g3681a448973_2_197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6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92" name="Google Shape;6792;g3681a448973_2_1977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793" name="Google Shape;6793;g3681a448973_2_1977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4" name="Google Shape;6794;g3681a448973_2_1977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95" name="Google Shape;6795;g3681a448973_2_1977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6" name="Google Shape;6796;g3681a448973_2_1977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7" name="Google Shape;6797;g3681a448973_2_1977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98" name="Google Shape;6798;g3681a448973_2_197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99" name="Google Shape;6799;g3681a448973_2_197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oogle Shape;80;g3681a448973_2_13066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1" name="Google Shape;81;g3681a448973_2_130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g3681a448973_2_130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;g3681a448973_2_130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" name="Google Shape;84;g3681a448973_2_13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g3681a448973_2_13066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g3681a448973_2_13066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3" name="Google Shape;733;g3681a448973_2_1371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34" name="Google Shape;734;g3681a448973_2_137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g3681a448973_2_137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6" name="Google Shape;736;g3681a448973_2_137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g3681a448973_2_137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8" name="Google Shape;738;g3681a448973_2_1371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9" name="Google Shape;739;g3681a448973_2_1371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0" name="Google Shape;740;g3681a448973_2_1371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" name="Google Shape;741;g3681a448973_2_137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2" name="Google Shape;742;g3681a448973_2_137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" name="Google Shape;743;g3681a448973_2_1371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4" name="Google Shape;744;g3681a448973_2_137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5" name="Google Shape;745;g3681a448973_2_137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6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1" name="Google Shape;6801;g3681a448973_2_197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02" name="Google Shape;6802;g3681a448973_2_197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3" name="Google Shape;6803;g3681a448973_2_197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04" name="Google Shape;6804;g3681a448973_2_1978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05" name="Google Shape;6805;g3681a448973_2_19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06" name="Google Shape;6806;g3681a448973_2_197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07" name="Google Shape;6807;g3681a448973_2_197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08" name="Google Shape;6808;g3681a448973_2_197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6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0" name="Google Shape;6810;g3681a448973_2_1979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1" name="Google Shape;6811;g3681a448973_2_1979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12" name="Google Shape;6812;g3681a448973_2_1979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13" name="Google Shape;6813;g3681a448973_2_197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814" name="Google Shape;6814;g3681a448973_2_1979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815" name="Google Shape;6815;g3681a448973_2_197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6" name="Google Shape;6816;g3681a448973_2_1979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817" name="Google Shape;6817;g3681a448973_2_19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6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19" name="Google Shape;6819;g3681a448973_2_198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820" name="Google Shape;6820;g3681a448973_2_198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1" name="Google Shape;6821;g3681a448973_2_198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2" name="Google Shape;6822;g3681a448973_2_198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823" name="Google Shape;6823;g3681a448973_2_19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24" name="Google Shape;6824;g3681a448973_2_198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5" name="Google Shape;6825;g3681a448973_2_198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6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7" name="Google Shape;6827;g3681a448973_2_198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828" name="Google Shape;6828;g3681a448973_2_1981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829" name="Google Shape;6829;g3681a448973_2_198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830" name="Google Shape;6830;g3681a448973_2_198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1" name="Google Shape;6831;g3681a448973_2_198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32" name="Google Shape;6832;g3681a448973_2_198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833" name="Google Shape;6833;g3681a448973_2_198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6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5" name="Google Shape;6835;g3681a448973_2_1982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6" name="Google Shape;6836;g3681a448973_2_198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37" name="Google Shape;6837;g3681a448973_2_198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8" name="Google Shape;6838;g3681a448973_2_198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39" name="Google Shape;6839;g3681a448973_2_198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40" name="Google Shape;6840;g3681a448973_2_198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41" name="Google Shape;6841;g3681a448973_2_198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42" name="Google Shape;6842;g3681a448973_2_198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43" name="Google Shape;6843;g3681a448973_2_198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44" name="Google Shape;6844;g3681a448973_2_198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45" name="Google Shape;6845;g3681a448973_2_198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46" name="Google Shape;6846;g3681a448973_2_198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6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48" name="Google Shape;6848;g3681a448973_2_1983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49" name="Google Shape;6849;g3681a448973_2_198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50" name="Google Shape;6850;g3681a448973_2_198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51" name="Google Shape;6851;g3681a448973_2_198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52" name="Google Shape;6852;g3681a448973_2_198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853" name="Google Shape;6853;g3681a448973_2_198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54" name="Google Shape;6854;g3681a448973_2_198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5" name="Google Shape;6855;g3681a448973_2_19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56" name="Google Shape;6856;g3681a448973_2_198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7" name="Google Shape;6857;g3681a448973_2_19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6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9" name="Google Shape;6859;g3681a448973_2_198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0" name="Google Shape;6860;g3681a448973_2_198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61" name="Google Shape;6861;g3681a448973_2_1984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62" name="Google Shape;6862;g3681a448973_2_198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63" name="Google Shape;6863;g3681a448973_2_198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64" name="Google Shape;6864;g3681a448973_2_198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65" name="Google Shape;6865;g3681a448973_2_198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866" name="Google Shape;6866;g3681a448973_2_198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7" name="Google Shape;6867;g3681a448973_2_198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8" name="Google Shape;6868;g3681a448973_2_198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9" name="Google Shape;6869;g3681a448973_2_198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6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71" name="Google Shape;6871;g3681a448973_2_1985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72" name="Google Shape;6872;g3681a448973_2_19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73" name="Google Shape;6873;g3681a448973_2_198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74" name="Google Shape;6874;g3681a448973_2_198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75" name="Google Shape;6875;g3681a448973_2_198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876" name="Google Shape;6876;g3681a448973_2_198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7" name="Google Shape;6877;g3681a448973_2_1985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878" name="Google Shape;6878;g3681a448973_2_1985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9" name="Google Shape;6879;g3681a448973_2_1985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880" name="Google Shape;6880;g3681a448973_2_1985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1" name="Google Shape;6881;g3681a448973_2_198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82" name="Google Shape;6882;g3681a448973_2_198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83" name="Google Shape;6883;g3681a448973_2_198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85" name="Google Shape;6885;g3681a448973_2_1987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886" name="Google Shape;6886;g3681a448973_2_198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7" name="Google Shape;6887;g3681a448973_2_1987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88" name="Google Shape;6888;g3681a448973_2_198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89" name="Google Shape;6889;g3681a448973_2_198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890" name="Google Shape;6890;g3681a448973_2_198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91" name="Google Shape;6891;g3681a448973_2_19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92" name="Google Shape;6892;g3681a448973_2_198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93" name="Google Shape;6893;g3681a448973_2_19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6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95" name="Google Shape;6895;g3681a448973_2_198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96" name="Google Shape;6896;g3681a448973_2_198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7" name="Google Shape;6897;g3681a448973_2_198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98" name="Google Shape;6898;g3681a448973_2_1988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99" name="Google Shape;6899;g3681a448973_2_198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0" name="Google Shape;6900;g3681a448973_2_198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901" name="Google Shape;6901;g3681a448973_2_198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902" name="Google Shape;6902;g3681a448973_2_198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3681a448973_2_1373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48" name="Google Shape;748;g3681a448973_2_1373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49" name="Google Shape;749;g3681a448973_2_1373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50" name="Google Shape;750;g3681a448973_2_137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g3681a448973_2_137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2" name="Google Shape;752;g3681a448973_2_137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53" name="Google Shape;753;g3681a448973_2_137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6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4" name="Google Shape;6904;g3681a448973_2_19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5" name="Google Shape;6905;g3681a448973_2_19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06" name="Google Shape;6906;g3681a448973_2_19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07" name="Google Shape;6907;g3681a448973_2_198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08" name="Google Shape;6908;g3681a448973_2_19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9" name="Google Shape;6909;g3681a448973_2_198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10" name="Google Shape;6910;g3681a448973_2_19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1" name="Google Shape;6911;g3681a448973_2_19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6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3" name="Google Shape;6913;g3681a448973_2_1989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4" name="Google Shape;6914;g3681a448973_2_19899"/>
          <p:cNvSpPr/>
          <p:nvPr/>
        </p:nvSpPr>
        <p:spPr>
          <a:xfrm>
            <a:off x="2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15" name="Google Shape;6915;g3681a448973_2_198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6" name="Google Shape;6916;g3681a448973_2_1989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17" name="Google Shape;6917;g3681a448973_2_1989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918" name="Google Shape;6918;g3681a448973_2_1989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9" name="Google Shape;6919;g3681a448973_2_1989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20" name="Google Shape;6920;g3681a448973_2_1989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21" name="Google Shape;6921;g3681a448973_2_19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22" name="Google Shape;6922;g3681a448973_2_1989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23" name="Google Shape;6923;g3681a448973_2_198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6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5" name="Google Shape;6925;g3681a448973_2_1991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26" name="Google Shape;6926;g3681a448973_2_199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27" name="Google Shape;6927;g3681a448973_2_199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28" name="Google Shape;6928;g3681a448973_2_199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29" name="Google Shape;6929;g3681a448973_2_19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30" name="Google Shape;6930;g3681a448973_2_19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31" name="Google Shape;6931;g3681a448973_2_1991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32" name="Google Shape;6932;g3681a448973_2_19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33" name="Google Shape;6933;g3681a448973_2_199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34" name="Google Shape;6934;g3681a448973_2_19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35" name="Google Shape;6935;g3681a448973_2_19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36" name="Google Shape;6936;g3681a448973_2_199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6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8" name="Google Shape;6938;g3681a448973_2_199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9" name="Google Shape;6939;g3681a448973_2_199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940" name="Google Shape;6940;g3681a448973_2_1992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41" name="Google Shape;6941;g3681a448973_2_199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2" name="Google Shape;6942;g3681a448973_2_1992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43" name="Google Shape;6943;g3681a448973_2_199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44" name="Google Shape;6944;g3681a448973_2_199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45" name="Google Shape;6945;g3681a448973_2_199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46" name="Google Shape;6946;g3681a448973_2_199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7" name="Google Shape;6947;g3681a448973_2_199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48" name="Google Shape;6948;g3681a448973_2_199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6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50" name="Google Shape;6950;g3681a448973_2_1993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51" name="Google Shape;6951;g3681a448973_2_19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52" name="Google Shape;6952;g3681a448973_2_199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53" name="Google Shape;6953;g3681a448973_2_19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54" name="Google Shape;6954;g3681a448973_2_19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55" name="Google Shape;6955;g3681a448973_2_19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6" name="Google Shape;6956;g3681a448973_2_199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957" name="Google Shape;6957;g3681a448973_2_199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8" name="Google Shape;6958;g3681a448973_2_199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959" name="Google Shape;6959;g3681a448973_2_199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0" name="Google Shape;6960;g3681a448973_2_199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61" name="Google Shape;6961;g3681a448973_2_19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2" name="Google Shape;6962;g3681a448973_2_19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6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64" name="Google Shape;6964;g3681a448973_2_1995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65" name="Google Shape;6965;g3681a448973_2_199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66" name="Google Shape;6966;g3681a448973_2_199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67" name="Google Shape;6967;g3681a448973_2_199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68" name="Google Shape;6968;g3681a448973_2_199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69" name="Google Shape;6969;g3681a448973_2_199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0" name="Google Shape;6970;g3681a448973_2_199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71" name="Google Shape;6971;g3681a448973_2_199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72" name="Google Shape;6972;g3681a448973_2_199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6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4" name="Google Shape;6974;g3681a448973_2_199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975" name="Google Shape;6975;g3681a448973_2_199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6" name="Google Shape;6976;g3681a448973_2_199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77" name="Google Shape;6977;g3681a448973_2_1996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8" name="Google Shape;6978;g3681a448973_2_199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79" name="Google Shape;6979;g3681a448973_2_199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980" name="Google Shape;6980;g3681a448973_2_199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981" name="Google Shape;6981;g3681a448973_2_199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6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3" name="Google Shape;6983;g3681a448973_2_199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84" name="Google Shape;6984;g3681a448973_2_199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85" name="Google Shape;6985;g3681a448973_2_199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86" name="Google Shape;6986;g3681a448973_2_1996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6987" name="Google Shape;6987;g3681a448973_2_199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88" name="Google Shape;6988;g3681a448973_2_199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989" name="Google Shape;6989;g3681a448973_2_199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90" name="Google Shape;6990;g3681a448973_2_199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6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2" name="Google Shape;6992;g3681a448973_2_1997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93" name="Google Shape;6993;g3681a448973_2_199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4" name="Google Shape;6994;g3681a448973_2_199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95" name="Google Shape;6995;g3681a448973_2_199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96" name="Google Shape;6996;g3681a448973_2_199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97" name="Google Shape;6997;g3681a448973_2_199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8" name="Google Shape;6998;g3681a448973_2_199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99" name="Google Shape;6999;g3681a448973_2_199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7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01" name="Google Shape;7001;g3681a448973_2_19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02" name="Google Shape;7002;g3681a448973_2_19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3" name="Google Shape;7003;g3681a448973_2_19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4" name="Google Shape;7004;g3681a448973_2_19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5" name="Google Shape;7005;g3681a448973_2_19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06" name="Google Shape;7006;g3681a448973_2_19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7" name="Google Shape;7007;g3681a448973_2_19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5" name="Google Shape;755;g3681a448973_2_1374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56" name="Google Shape;756;g3681a448973_2_1374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g3681a448973_2_1374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8" name="Google Shape;758;g3681a448973_2_13741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" name="Google Shape;759;g3681a448973_2_13741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" name="Google Shape;760;g3681a448973_2_1374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1" name="Google Shape;761;g3681a448973_2_137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62" name="Google Shape;762;g3681a448973_2_137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7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9" name="Google Shape;7009;g3681a448973_2_1999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0" name="Google Shape;7010;g3681a448973_2_1999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1" name="Google Shape;7011;g3681a448973_2_199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2" name="Google Shape;7012;g3681a448973_2_199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3" name="Google Shape;7013;g3681a448973_2_199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14" name="Google Shape;7014;g3681a448973_2_199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15" name="Google Shape;7015;g3681a448973_2_1999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016" name="Google Shape;7016;g3681a448973_2_199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17" name="Google Shape;7017;g3681a448973_2_199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18" name="Google Shape;7018;g3681a448973_2_199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9" name="Google Shape;7019;g3681a448973_2_199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20" name="Google Shape;7020;g3681a448973_2_1999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7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2" name="Google Shape;7022;g3681a448973_2_2000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3" name="Google Shape;7023;g3681a448973_2_200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4" name="Google Shape;7024;g3681a448973_2_200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5" name="Google Shape;7025;g3681a448973_2_20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26" name="Google Shape;7026;g3681a448973_2_200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27" name="Google Shape;7027;g3681a448973_2_200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28" name="Google Shape;7028;g3681a448973_2_2000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029" name="Google Shape;7029;g3681a448973_2_200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30" name="Google Shape;7030;g3681a448973_2_200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31" name="Google Shape;7031;g3681a448973_2_200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32" name="Google Shape;7032;g3681a448973_2_200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33" name="Google Shape;7033;g3681a448973_2_200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7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5" name="Google Shape;7035;g3681a448973_2_2002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36" name="Google Shape;7036;g3681a448973_2_200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7" name="Google Shape;7037;g3681a448973_2_200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38" name="Google Shape;7038;g3681a448973_2_200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39" name="Google Shape;7039;g3681a448973_2_200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40" name="Google Shape;7040;g3681a448973_2_200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41" name="Google Shape;7041;g3681a448973_2_200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042" name="Google Shape;7042;g3681a448973_2_200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43" name="Google Shape;7043;g3681a448973_2_200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44" name="Google Shape;7044;g3681a448973_2_200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45" name="Google Shape;7045;g3681a448973_2_200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46" name="Google Shape;7046;g3681a448973_2_200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7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8" name="Google Shape;7048;g3681a448973_2_2003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49" name="Google Shape;7049;g3681a448973_2_2003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50" name="Google Shape;7050;g3681a448973_2_2003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051" name="Google Shape;7051;g3681a448973_2_200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052" name="Google Shape;7052;g3681a448973_2_2003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053" name="Google Shape;7053;g3681a448973_2_2003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4" name="Google Shape;7054;g3681a448973_2_2003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55" name="Google Shape;7055;g3681a448973_2_200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70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57" name="Google Shape;7057;g3681a448973_2_2004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58" name="Google Shape;7058;g3681a448973_2_200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9" name="Google Shape;7059;g3681a448973_2_200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0" name="Google Shape;7060;g3681a448973_2_200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1" name="Google Shape;7061;g3681a448973_2_20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62" name="Google Shape;7062;g3681a448973_2_2004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3" name="Google Shape;7063;g3681a448973_2_2004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7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" name="Google Shape;7065;g3681a448973_2_200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066" name="Google Shape;7066;g3681a448973_2_2005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067" name="Google Shape;7067;g3681a448973_2_200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068" name="Google Shape;7068;g3681a448973_2_200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9" name="Google Shape;7069;g3681a448973_2_200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70" name="Google Shape;7070;g3681a448973_2_200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071" name="Google Shape;7071;g3681a448973_2_200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7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3" name="Google Shape;7073;g3681a448973_2_2005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74" name="Google Shape;7074;g3681a448973_2_2005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75" name="Google Shape;7075;g3681a448973_2_2005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6" name="Google Shape;7076;g3681a448973_2_200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77" name="Google Shape;7077;g3681a448973_2_200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78" name="Google Shape;7078;g3681a448973_2_200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79" name="Google Shape;7079;g3681a448973_2_2005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080" name="Google Shape;7080;g3681a448973_2_200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81" name="Google Shape;7081;g3681a448973_2_200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82" name="Google Shape;7082;g3681a448973_2_200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83" name="Google Shape;7083;g3681a448973_2_200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84" name="Google Shape;7084;g3681a448973_2_2005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7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6" name="Google Shape;7086;g3681a448973_2_200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087" name="Google Shape;7087;g3681a448973_2_200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88" name="Google Shape;7088;g3681a448973_2_200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089" name="Google Shape;7089;g3681a448973_2_200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90" name="Google Shape;7090;g3681a448973_2_200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91" name="Google Shape;7091;g3681a448973_2_200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92" name="Google Shape;7092;g3681a448973_2_200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3" name="Google Shape;7093;g3681a448973_2_200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94" name="Google Shape;7094;g3681a448973_2_200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5" name="Google Shape;7095;g3681a448973_2_200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70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7" name="Google Shape;7097;g3681a448973_2_200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98" name="Google Shape;7098;g3681a448973_2_2008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99" name="Google Shape;7099;g3681a448973_2_2008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00" name="Google Shape;7100;g3681a448973_2_20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01" name="Google Shape;7101;g3681a448973_2_200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02" name="Google Shape;7102;g3681a448973_2_200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3" name="Google Shape;7103;g3681a448973_2_200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04" name="Google Shape;7104;g3681a448973_2_2008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05" name="Google Shape;7105;g3681a448973_2_2008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06" name="Google Shape;7106;g3681a448973_2_200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07" name="Google Shape;7107;g3681a448973_2_200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7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09" name="Google Shape;7109;g3681a448973_2_2009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10" name="Google Shape;7110;g3681a448973_2_20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11" name="Google Shape;7111;g3681a448973_2_200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12" name="Google Shape;7112;g3681a448973_2_20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13" name="Google Shape;7113;g3681a448973_2_20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14" name="Google Shape;7114;g3681a448973_2_20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5" name="Google Shape;7115;g3681a448973_2_200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16" name="Google Shape;7116;g3681a448973_2_200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17" name="Google Shape;7117;g3681a448973_2_200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18" name="Google Shape;7118;g3681a448973_2_200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19" name="Google Shape;7119;g3681a448973_2_20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20" name="Google Shape;7120;g3681a448973_2_20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21" name="Google Shape;7121;g3681a448973_2_20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Google Shape;764;g3681a448973_2_137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5" name="Google Shape;765;g3681a448973_2_13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6" name="Google Shape;766;g3681a448973_2_13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7" name="Google Shape;767;g3681a448973_2_137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68" name="Google Shape;768;g3681a448973_2_13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g3681a448973_2_137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70" name="Google Shape;770;g3681a448973_2_13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g3681a448973_2_13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7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23" name="Google Shape;7123;g3681a448973_2_2010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24" name="Google Shape;7124;g3681a448973_2_20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25" name="Google Shape;7125;g3681a448973_2_201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26" name="Google Shape;7126;g3681a448973_2_20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7" name="Google Shape;7127;g3681a448973_2_20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28" name="Google Shape;7128;g3681a448973_2_20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29" name="Google Shape;7129;g3681a448973_2_201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30" name="Google Shape;7130;g3681a448973_2_20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31" name="Google Shape;7131;g3681a448973_2_20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7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33" name="Google Shape;7133;g3681a448973_2_201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134" name="Google Shape;7134;g3681a448973_2_201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5" name="Google Shape;7135;g3681a448973_2_201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36" name="Google Shape;7136;g3681a448973_2_2011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7" name="Google Shape;7137;g3681a448973_2_201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8" name="Google Shape;7138;g3681a448973_2_201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139" name="Google Shape;7139;g3681a448973_2_20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140" name="Google Shape;7140;g3681a448973_2_201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7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2" name="Google Shape;7142;g3681a448973_2_20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43" name="Google Shape;7143;g3681a448973_2_20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44" name="Google Shape;7144;g3681a448973_2_20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45" name="Google Shape;7145;g3681a448973_2_201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46" name="Google Shape;7146;g3681a448973_2_20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47" name="Google Shape;7147;g3681a448973_2_201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48" name="Google Shape;7148;g3681a448973_2_20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9" name="Google Shape;7149;g3681a448973_2_20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7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1" name="Google Shape;7151;g3681a448973_2_2013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52" name="Google Shape;7152;g3681a448973_2_201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53" name="Google Shape;7153;g3681a448973_2_201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54" name="Google Shape;7154;g3681a448973_2_201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55" name="Google Shape;7155;g3681a448973_2_20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56" name="Google Shape;7156;g3681a448973_2_20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57" name="Google Shape;7157;g3681a448973_2_201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58" name="Google Shape;7158;g3681a448973_2_20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9" name="Google Shape;7159;g3681a448973_2_201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60" name="Google Shape;7160;g3681a448973_2_20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1" name="Google Shape;7161;g3681a448973_2_20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62" name="Google Shape;7162;g3681a448973_2_201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7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4" name="Google Shape;7164;g3681a448973_2_2015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65" name="Google Shape;7165;g3681a448973_2_20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6" name="Google Shape;7166;g3681a448973_2_20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67" name="Google Shape;7167;g3681a448973_2_20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68" name="Google Shape;7168;g3681a448973_2_20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69" name="Google Shape;7169;g3681a448973_2_20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70" name="Google Shape;7170;g3681a448973_2_2015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71" name="Google Shape;7171;g3681a448973_2_20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72" name="Google Shape;7172;g3681a448973_2_201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73" name="Google Shape;7173;g3681a448973_2_20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4" name="Google Shape;7174;g3681a448973_2_20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75" name="Google Shape;7175;g3681a448973_2_201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7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7" name="Google Shape;7177;g3681a448973_2_2016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78" name="Google Shape;7178;g3681a448973_2_20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9" name="Google Shape;7179;g3681a448973_2_20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0" name="Google Shape;7180;g3681a448973_2_20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1" name="Google Shape;7181;g3681a448973_2_20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82" name="Google Shape;7182;g3681a448973_2_20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83" name="Google Shape;7183;g3681a448973_2_201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184" name="Google Shape;7184;g3681a448973_2_20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85" name="Google Shape;7185;g3681a448973_2_201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86" name="Google Shape;7186;g3681a448973_2_20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7" name="Google Shape;7187;g3681a448973_2_20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88" name="Google Shape;7188;g3681a448973_2_20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7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0" name="Google Shape;7190;g3681a448973_2_2017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1" name="Google Shape;7191;g3681a448973_2_201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92" name="Google Shape;7192;g3681a448973_2_201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93" name="Google Shape;7193;g3681a448973_2_201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94" name="Google Shape;7194;g3681a448973_2_201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95" name="Google Shape;7195;g3681a448973_2_201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6" name="Google Shape;7196;g3681a448973_2_201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97" name="Google Shape;7197;g3681a448973_2_20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7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9" name="Google Shape;7199;g3681a448973_2_2018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00" name="Google Shape;7200;g3681a448973_2_2018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1" name="Google Shape;7201;g3681a448973_2_201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2" name="Google Shape;7202;g3681a448973_2_2018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03" name="Google Shape;7203;g3681a448973_2_201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04" name="Google Shape;7204;g3681a448973_2_2018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5" name="Google Shape;7205;g3681a448973_2_2018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7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07" name="Google Shape;7207;g3681a448973_2_20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08" name="Google Shape;7208;g3681a448973_2_2019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09" name="Google Shape;7209;g3681a448973_2_20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210" name="Google Shape;7210;g3681a448973_2_20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1" name="Google Shape;7211;g3681a448973_2_20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12" name="Google Shape;7212;g3681a448973_2_20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213" name="Google Shape;7213;g3681a448973_2_20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7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5" name="Google Shape;7215;g3681a448973_2_202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216" name="Google Shape;7216;g3681a448973_2_20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7" name="Google Shape;7217;g3681a448973_2_202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18" name="Google Shape;7218;g3681a448973_2_20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9" name="Google Shape;7219;g3681a448973_2_20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20" name="Google Shape;7220;g3681a448973_2_202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1" name="Google Shape;7221;g3681a448973_2_202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2" name="Google Shape;7222;g3681a448973_2_20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3" name="Google Shape;7223;g3681a448973_2_20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24" name="Google Shape;7224;g3681a448973_2_20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3" name="Google Shape;773;g3681a448973_2_137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74" name="Google Shape;774;g3681a448973_2_13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5" name="Google Shape;775;g3681a448973_2_137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76" name="Google Shape;776;g3681a448973_2_13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777;g3681a448973_2_13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8" name="Google Shape;778;g3681a448973_2_137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" name="Google Shape;779;g3681a448973_2_137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0" name="Google Shape;780;g3681a448973_2_13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1" name="Google Shape;781;g3681a448973_2_13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7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6" name="Google Shape;7226;g3681a448973_2_202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7" name="Google Shape;7227;g3681a448973_2_202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28" name="Google Shape;7228;g3681a448973_2_202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229" name="Google Shape;7229;g3681a448973_2_20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30" name="Google Shape;7230;g3681a448973_2_202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31" name="Google Shape;7231;g3681a448973_2_202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2" name="Google Shape;7232;g3681a448973_2_202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33" name="Google Shape;7233;g3681a448973_2_202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4" name="Google Shape;7234;g3681a448973_2_202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35" name="Google Shape;7235;g3681a448973_2_202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6" name="Google Shape;7236;g3681a448973_2_202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7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38" name="Google Shape;7238;g3681a448973_2_2022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239" name="Google Shape;7239;g3681a448973_2_20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40" name="Google Shape;7240;g3681a448973_2_2022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41" name="Google Shape;7241;g3681a448973_2_20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2" name="Google Shape;7242;g3681a448973_2_20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43" name="Google Shape;7243;g3681a448973_2_20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4" name="Google Shape;7244;g3681a448973_2_202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245" name="Google Shape;7245;g3681a448973_2_202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46" name="Google Shape;7246;g3681a448973_2_202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247" name="Google Shape;7247;g3681a448973_2_202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48" name="Google Shape;7248;g3681a448973_2_20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49" name="Google Shape;7249;g3681a448973_2_20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50" name="Google Shape;7250;g3681a448973_2_20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7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52" name="Google Shape;7252;g3681a448973_2_2023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253" name="Google Shape;7253;g3681a448973_2_20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54" name="Google Shape;7254;g3681a448973_2_202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55" name="Google Shape;7255;g3681a448973_2_20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56" name="Google Shape;7256;g3681a448973_2_20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57" name="Google Shape;7257;g3681a448973_2_202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58" name="Google Shape;7258;g3681a448973_2_20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59" name="Google Shape;7259;g3681a448973_2_20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60" name="Google Shape;7260;g3681a448973_2_20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7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62" name="Google Shape;7262;g3681a448973_2_202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63" name="Google Shape;7263;g3681a448973_2_202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4" name="Google Shape;7264;g3681a448973_2_202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65" name="Google Shape;7265;g3681a448973_2_2024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66" name="Google Shape;7266;g3681a448973_2_202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7" name="Google Shape;7267;g3681a448973_2_202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68" name="Google Shape;7268;g3681a448973_2_20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69" name="Google Shape;7269;g3681a448973_2_202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7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" name="Google Shape;7271;g3681a448973_2_20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72" name="Google Shape;7272;g3681a448973_2_202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3" name="Google Shape;7273;g3681a448973_2_20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74" name="Google Shape;7274;g3681a448973_2_2025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275" name="Google Shape;7275;g3681a448973_2_202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76" name="Google Shape;7276;g3681a448973_2_202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77" name="Google Shape;7277;g3681a448973_2_202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78" name="Google Shape;7278;g3681a448973_2_202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7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0" name="Google Shape;7280;g3681a448973_2_2026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81" name="Google Shape;7281;g3681a448973_2_2026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2" name="Google Shape;7282;g3681a448973_2_2026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83" name="Google Shape;7283;g3681a448973_2_202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284" name="Google Shape;7284;g3681a448973_2_2026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285" name="Google Shape;7285;g3681a448973_2_202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6" name="Google Shape;7286;g3681a448973_2_2026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87" name="Google Shape;7287;g3681a448973_2_20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7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89" name="Google Shape;7289;g3681a448973_2_202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90" name="Google Shape;7290;g3681a448973_2_202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1" name="Google Shape;7291;g3681a448973_2_202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2" name="Google Shape;7292;g3681a448973_2_202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93" name="Google Shape;7293;g3681a448973_2_202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94" name="Google Shape;7294;g3681a448973_2_202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5" name="Google Shape;7295;g3681a448973_2_202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7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7" name="Google Shape;7297;g3681a448973_2_202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98" name="Google Shape;7298;g3681a448973_2_202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99" name="Google Shape;7299;g3681a448973_2_202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00" name="Google Shape;7300;g3681a448973_2_202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1" name="Google Shape;7301;g3681a448973_2_202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02" name="Google Shape;7302;g3681a448973_2_202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303" name="Google Shape;7303;g3681a448973_2_20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7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05" name="Google Shape;7305;g3681a448973_2_202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06" name="Google Shape;7306;g3681a448973_2_202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07" name="Google Shape;7307;g3681a448973_2_202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08" name="Google Shape;7308;g3681a448973_2_202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09" name="Google Shape;7309;g3681a448973_2_202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10" name="Google Shape;7310;g3681a448973_2_202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1" name="Google Shape;7311;g3681a448973_2_202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2" name="Google Shape;7312;g3681a448973_2_202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3" name="Google Shape;7313;g3681a448973_2_202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4" name="Google Shape;7314;g3681a448973_2_202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7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6" name="Google Shape;7316;g3681a448973_2_203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7" name="Google Shape;7317;g3681a448973_2_203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318" name="Google Shape;7318;g3681a448973_2_2030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19" name="Google Shape;7319;g3681a448973_2_203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0" name="Google Shape;7320;g3681a448973_2_203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21" name="Google Shape;7321;g3681a448973_2_203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22" name="Google Shape;7322;g3681a448973_2_203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23" name="Google Shape;7323;g3681a448973_2_203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24" name="Google Shape;7324;g3681a448973_2_203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25" name="Google Shape;7325;g3681a448973_2_203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6" name="Google Shape;7326;g3681a448973_2_203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7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" name="Google Shape;783;g3681a448973_2_1376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4" name="Google Shape;784;g3681a448973_2_1376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85" name="Google Shape;785;g3681a448973_2_1376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86" name="Google Shape;786;g3681a448973_2_137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7" name="Google Shape;787;g3681a448973_2_137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88" name="Google Shape;788;g3681a448973_2_137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89" name="Google Shape;789;g3681a448973_2_137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7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28" name="Google Shape;7328;g3681a448973_2_203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29" name="Google Shape;7329;g3681a448973_2_20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30" name="Google Shape;7330;g3681a448973_2_203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31" name="Google Shape;7331;g3681a448973_2_20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32" name="Google Shape;7332;g3681a448973_2_20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33" name="Google Shape;7333;g3681a448973_2_203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4" name="Google Shape;7334;g3681a448973_2_203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35" name="Google Shape;7335;g3681a448973_2_203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6" name="Google Shape;7336;g3681a448973_2_203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37" name="Google Shape;7337;g3681a448973_2_203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8" name="Google Shape;7338;g3681a448973_2_20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39" name="Google Shape;7339;g3681a448973_2_20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40" name="Google Shape;7340;g3681a448973_2_20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7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42" name="Google Shape;7342;g3681a448973_2_203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43" name="Google Shape;7343;g3681a448973_2_20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44" name="Google Shape;7344;g3681a448973_2_203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45" name="Google Shape;7345;g3681a448973_2_20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6" name="Google Shape;7346;g3681a448973_2_20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47" name="Google Shape;7347;g3681a448973_2_203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48" name="Google Shape;7348;g3681a448973_2_203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49" name="Google Shape;7349;g3681a448973_2_20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50" name="Google Shape;7350;g3681a448973_2_20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7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52" name="Google Shape;7352;g3681a448973_2_203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53" name="Google Shape;7353;g3681a448973_2_203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4" name="Google Shape;7354;g3681a448973_2_203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55" name="Google Shape;7355;g3681a448973_2_2033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6" name="Google Shape;7356;g3681a448973_2_203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57" name="Google Shape;7357;g3681a448973_2_203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58" name="Google Shape;7358;g3681a448973_2_203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59" name="Google Shape;7359;g3681a448973_2_203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7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1" name="Google Shape;7361;g3681a448973_2_20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62" name="Google Shape;7362;g3681a448973_2_20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3" name="Google Shape;7363;g3681a448973_2_20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64" name="Google Shape;7364;g3681a448973_2_203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65" name="Google Shape;7365;g3681a448973_2_20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66" name="Google Shape;7366;g3681a448973_2_203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67" name="Google Shape;7367;g3681a448973_2_20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68" name="Google Shape;7368;g3681a448973_2_20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7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70" name="Google Shape;7370;g3681a448973_2_203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371" name="Google Shape;7371;g3681a448973_2_203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72" name="Google Shape;7372;g3681a448973_2_203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373" name="Google Shape;7373;g3681a448973_2_203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4" name="Google Shape;7374;g3681a448973_2_203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75" name="Google Shape;7375;g3681a448973_2_203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76" name="Google Shape;7376;g3681a448973_2_203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77" name="Google Shape;7377;g3681a448973_2_20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78" name="Google Shape;7378;g3681a448973_2_203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79" name="Google Shape;7379;g3681a448973_2_203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7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1" name="Google Shape;7381;g3681a448973_2_2036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2" name="Google Shape;7382;g3681a448973_2_2036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83" name="Google Shape;7383;g3681a448973_2_2036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84" name="Google Shape;7384;g3681a448973_2_20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5" name="Google Shape;7385;g3681a448973_2_203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7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7" name="Google Shape;7387;g3681a448973_2_2037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88" name="Google Shape;7388;g3681a448973_2_2037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9" name="Google Shape;7389;g3681a448973_2_203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90" name="Google Shape;7390;g3681a448973_2_20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91" name="Google Shape;7391;g3681a448973_2_20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392" name="Google Shape;7392;g3681a448973_2_20373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93" name="Google Shape;7393;g3681a448973_2_20373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94" name="Google Shape;7394;g3681a448973_2_2037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395" name="Google Shape;7395;g3681a448973_2_203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7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7" name="Google Shape;7397;g3681a448973_2_203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98" name="Google Shape;7398;g3681a448973_2_203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99" name="Google Shape;7399;g3681a448973_2_203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00" name="Google Shape;7400;g3681a448973_2_20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1" name="Google Shape;7401;g3681a448973_2_20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02" name="Google Shape;7402;g3681a448973_2_20383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3" name="Google Shape;7403;g3681a448973_2_20383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4" name="Google Shape;7404;g3681a448973_2_203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05" name="Google Shape;7405;g3681a448973_2_203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7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7" name="Google Shape;7407;g3681a448973_2_2039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8" name="Google Shape;7408;g3681a448973_2_2039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9" name="Google Shape;7409;g3681a448973_2_2039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10" name="Google Shape;7410;g3681a448973_2_2039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11" name="Google Shape;7411;g3681a448973_2_203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 2">
    <p:spTree>
      <p:nvGrpSpPr>
        <p:cNvPr id="1" name="Shape 7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3" name="Google Shape;7413;g3681a448973_2_2039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414" name="Google Shape;7414;g3681a448973_2_203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415" name="Google Shape;7415;g3681a448973_2_2039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16" name="Google Shape;7416;g3681a448973_2_2039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7" name="Google Shape;7417;g3681a448973_2_2039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Google Shape;791;g3681a448973_2_1377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2" name="Google Shape;792;g3681a448973_2_1377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" name="Google Shape;793;g3681a448973_2_137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" name="Google Shape;794;g3681a448973_2_137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5" name="Google Shape;795;g3681a448973_2_137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" name="Google Shape;796;g3681a448973_2_137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97" name="Google Shape;797;g3681a448973_2_137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8" name="Google Shape;798;g3681a448973_2_137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9" name="Google Shape;799;g3681a448973_2_137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00" name="Google Shape;800;g3681a448973_2_137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1" name="Google Shape;801;g3681a448973_2_137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2" name="Google Shape;802;g3681a448973_2_137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7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9" name="Google Shape;7419;g3681a448973_2_2040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20" name="Google Shape;7420;g3681a448973_2_2040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21" name="Google Shape;7421;g3681a448973_2_2040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22" name="Google Shape;7422;g3681a448973_2_2040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23" name="Google Shape;7423;g3681a448973_2_2040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24" name="Google Shape;7424;g3681a448973_2_20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7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6" name="Google Shape;7426;g3681a448973_2_2041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27" name="Google Shape;7427;g3681a448973_2_2041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8" name="Google Shape;7428;g3681a448973_2_2041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29" name="Google Shape;7429;g3681a448973_2_204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30" name="Google Shape;7430;g3681a448973_2_204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31" name="Google Shape;7431;g3681a448973_2_20412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32" name="Google Shape;7432;g3681a448973_2_20412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33" name="Google Shape;7433;g3681a448973_2_2041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34" name="Google Shape;7434;g3681a448973_2_20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7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6" name="Google Shape;7436;g3681a448973_2_204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37" name="Google Shape;7437;g3681a448973_2_2042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38" name="Google Shape;7438;g3681a448973_2_2042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39" name="Google Shape;7439;g3681a448973_2_204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40" name="Google Shape;7440;g3681a448973_2_204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7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2" name="Google Shape;7442;g3681a448973_2_2042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443" name="Google Shape;7443;g3681a448973_2_204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444" name="Google Shape;7444;g3681a448973_2_2042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45" name="Google Shape;7445;g3681a448973_2_2042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6" name="Google Shape;7446;g3681a448973_2_2042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7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8" name="Google Shape;7448;g3681a448973_2_2043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49" name="Google Shape;7449;g3681a448973_2_2043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0" name="Google Shape;7450;g3681a448973_2_2043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1" name="Google Shape;7451;g3681a448973_2_2043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2" name="Google Shape;7452;g3681a448973_2_2043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53" name="Google Shape;7453;g3681a448973_2_20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7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5" name="Google Shape;7455;g3681a448973_2_2044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6" name="Google Shape;7456;g3681a448973_2_2044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57" name="Google Shape;7457;g3681a448973_2_204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58" name="Google Shape;7458;g3681a448973_2_20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59" name="Google Shape;7459;g3681a448973_2_20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60" name="Google Shape;7460;g3681a448973_2_20441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1" name="Google Shape;7461;g3681a448973_2_20441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2" name="Google Shape;7462;g3681a448973_2_2044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63" name="Google Shape;7463;g3681a448973_2_204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7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5" name="Google Shape;7465;g3681a448973_2_204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6" name="Google Shape;7466;g3681a448973_2_204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7" name="Google Shape;7467;g3681a448973_2_204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68" name="Google Shape;7468;g3681a448973_2_204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9" name="Google Shape;7469;g3681a448973_2_204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70" name="Google Shape;7470;g3681a448973_2_20451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71" name="Google Shape;7471;g3681a448973_2_20451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72" name="Google Shape;7472;g3681a448973_2_204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73" name="Google Shape;7473;g3681a448973_2_204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7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" name="Google Shape;7475;g3681a448973_2_2046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76" name="Google Shape;7476;g3681a448973_2_2046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7" name="Google Shape;7477;g3681a448973_2_2046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78" name="Google Shape;7478;g3681a448973_2_204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9" name="Google Shape;7479;g3681a448973_2_204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80" name="Google Shape;7480;g3681a448973_2_20461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81" name="Google Shape;7481;g3681a448973_2_20461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82" name="Google Shape;7482;g3681a448973_2_2046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83" name="Google Shape;7483;g3681a448973_2_204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7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5" name="Google Shape;7485;g3681a448973_2_2047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6" name="Google Shape;7486;g3681a448973_2_2047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87" name="Google Shape;7487;g3681a448973_2_2047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88" name="Google Shape;7488;g3681a448973_2_2047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89" name="Google Shape;7489;g3681a448973_2_204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7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1" name="Google Shape;7491;g3681a448973_2_2047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492" name="Google Shape;7492;g3681a448973_2_204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493" name="Google Shape;7493;g3681a448973_2_2047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4" name="Google Shape;7494;g3681a448973_2_2047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5" name="Google Shape;7495;g3681a448973_2_2047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4" name="Google Shape;804;g3681a448973_2_1379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05" name="Google Shape;805;g3681a448973_2_13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" name="Google Shape;806;g3681a448973_2_137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07" name="Google Shape;807;g3681a448973_2_137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8" name="Google Shape;808;g3681a448973_2_137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9" name="Google Shape;809;g3681a448973_2_137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0" name="Google Shape;810;g3681a448973_2_137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" name="Google Shape;811;g3681a448973_2_1379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2" name="Google Shape;812;g3681a448973_2_137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3" name="Google Shape;813;g3681a448973_2_13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7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7" name="Google Shape;7497;g3681a448973_2_2048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8" name="Google Shape;7498;g3681a448973_2_2048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9" name="Google Shape;7499;g3681a448973_2_2048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0" name="Google Shape;7500;g3681a448973_2_2048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1" name="Google Shape;7501;g3681a448973_2_2048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02" name="Google Shape;7502;g3681a448973_2_20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7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4" name="Google Shape;7504;g3681a448973_2_2049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5" name="Google Shape;7505;g3681a448973_2_2049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6" name="Google Shape;7506;g3681a448973_2_2049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07" name="Google Shape;7507;g3681a448973_2_20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8" name="Google Shape;7508;g3681a448973_2_20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09" name="Google Shape;7509;g3681a448973_2_2049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0" name="Google Shape;7510;g3681a448973_2_2049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1" name="Google Shape;7511;g3681a448973_2_2049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2" name="Google Shape;7512;g3681a448973_2_204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7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4" name="Google Shape;7514;g3681a448973_2_205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5" name="Google Shape;7515;g3681a448973_2_2050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6" name="Google Shape;7516;g3681a448973_2_2050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7" name="Google Shape;7517;g3681a448973_2_205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8" name="Google Shape;7518;g3681a448973_2_205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7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0" name="Google Shape;7520;g3681a448973_2_2050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21" name="Google Shape;7521;g3681a448973_2_205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22" name="Google Shape;7522;g3681a448973_2_2050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3" name="Google Shape;7523;g3681a448973_2_2050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24" name="Google Shape;7524;g3681a448973_2_2050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7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6" name="Google Shape;7526;g3681a448973_2_2051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7" name="Google Shape;7527;g3681a448973_2_2051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8" name="Google Shape;7528;g3681a448973_2_2051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29" name="Google Shape;7529;g3681a448973_2_2051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0" name="Google Shape;7530;g3681a448973_2_2051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31" name="Google Shape;7531;g3681a448973_2_205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7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3" name="Google Shape;7533;g3681a448973_2_2051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4" name="Google Shape;7534;g3681a448973_2_2051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5" name="Google Shape;7535;g3681a448973_2_205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36" name="Google Shape;7536;g3681a448973_2_205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7" name="Google Shape;7537;g3681a448973_2_205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38" name="Google Shape;7538;g3681a448973_2_20519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9" name="Google Shape;7539;g3681a448973_2_20519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0" name="Google Shape;7540;g3681a448973_2_2051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41" name="Google Shape;7541;g3681a448973_2_205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7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3" name="Google Shape;7543;g3681a448973_2_2052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4" name="Google Shape;7544;g3681a448973_2_2052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5" name="Google Shape;7545;g3681a448973_2_2052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6" name="Google Shape;7546;g3681a448973_2_2052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47" name="Google Shape;7547;g3681a448973_2_205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7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9" name="Google Shape;7549;g3681a448973_2_2053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50" name="Google Shape;7550;g3681a448973_2_205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51" name="Google Shape;7551;g3681a448973_2_2053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2" name="Google Shape;7552;g3681a448973_2_205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53" name="Google Shape;7553;g3681a448973_2_205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7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5" name="Google Shape;7555;g3681a448973_2_2054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6" name="Google Shape;7556;g3681a448973_2_2054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7" name="Google Shape;7557;g3681a448973_2_2054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58" name="Google Shape;7558;g3681a448973_2_2054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59" name="Google Shape;7559;g3681a448973_2_2054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60" name="Google Shape;7560;g3681a448973_2_205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7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2" name="Google Shape;7562;g3681a448973_2_2054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3" name="Google Shape;7563;g3681a448973_2_2054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4" name="Google Shape;7564;g3681a448973_2_205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65" name="Google Shape;7565;g3681a448973_2_20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6" name="Google Shape;7566;g3681a448973_2_20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67" name="Google Shape;7567;g3681a448973_2_2054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8" name="Google Shape;7568;g3681a448973_2_2054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9" name="Google Shape;7569;g3681a448973_2_2054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70" name="Google Shape;7570;g3681a448973_2_205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Google Shape;815;g3681a448973_2_13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" name="Google Shape;816;g3681a448973_2_1380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7" name="Google Shape;817;g3681a448973_2_1380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18" name="Google Shape;818;g3681a448973_2_13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" name="Google Shape;819;g3681a448973_2_138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0" name="Google Shape;820;g3681a448973_2_13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1" name="Google Shape;821;g3681a448973_2_13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2" name="Google Shape;822;g3681a448973_2_1380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3" name="Google Shape;823;g3681a448973_2_1380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g3681a448973_2_13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g3681a448973_2_13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7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2" name="Google Shape;7572;g3681a448973_2_2055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3" name="Google Shape;7573;g3681a448973_2_2055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4" name="Google Shape;7574;g3681a448973_2_2055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5" name="Google Shape;7575;g3681a448973_2_2055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76" name="Google Shape;7576;g3681a448973_2_205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7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" name="Google Shape;7578;g3681a448973_2_2056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79" name="Google Shape;7579;g3681a448973_2_205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80" name="Google Shape;7580;g3681a448973_2_2056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1" name="Google Shape;7581;g3681a448973_2_2056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2" name="Google Shape;7582;g3681a448973_2_2056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7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4" name="Google Shape;7584;g3681a448973_2_2057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5" name="Google Shape;7585;g3681a448973_2_2057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6" name="Google Shape;7586;g3681a448973_2_2057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87" name="Google Shape;7587;g3681a448973_2_2057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88" name="Google Shape;7588;g3681a448973_2_2057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89" name="Google Shape;7589;g3681a448973_2_205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7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1" name="Google Shape;7591;g3681a448973_2_2057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92" name="Google Shape;7592;g3681a448973_2_2057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3" name="Google Shape;7593;g3681a448973_2_2057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4" name="Google Shape;7594;g3681a448973_2_2057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95" name="Google Shape;7595;g3681a448973_2_205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7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7" name="Google Shape;7597;g3681a448973_2_2058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98" name="Google Shape;7598;g3681a448973_2_20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99" name="Google Shape;7599;g3681a448973_2_2058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0" name="Google Shape;7600;g3681a448973_2_2058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1" name="Google Shape;7601;g3681a448973_2_2058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7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3" name="Google Shape;7603;g3681a448973_2_2058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4" name="Google Shape;7604;g3681a448973_2_2058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5" name="Google Shape;7605;g3681a448973_2_2058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6" name="Google Shape;7606;g3681a448973_2_2058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7" name="Google Shape;7607;g3681a448973_2_2058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08" name="Google Shape;7608;g3681a448973_2_20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7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0" name="Google Shape;7610;g3681a448973_2_2059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1" name="Google Shape;7611;g3681a448973_2_2059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12" name="Google Shape;7612;g3681a448973_2_2059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613" name="Google Shape;7613;g3681a448973_2_205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614" name="Google Shape;7614;g3681a448973_2_2059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615" name="Google Shape;7615;g3681a448973_2_205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6" name="Google Shape;7616;g3681a448973_2_2059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17" name="Google Shape;7617;g3681a448973_2_20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7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19" name="Google Shape;7619;g3681a448973_2_206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620" name="Google Shape;7620;g3681a448973_2_206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1" name="Google Shape;7621;g3681a448973_2_206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2" name="Google Shape;7622;g3681a448973_2_206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23" name="Google Shape;7623;g3681a448973_2_206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624" name="Google Shape;7624;g3681a448973_2_206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5" name="Google Shape;7625;g3681a448973_2_206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7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7" name="Google Shape;7627;g3681a448973_2_206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628" name="Google Shape;7628;g3681a448973_2_2061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629" name="Google Shape;7629;g3681a448973_2_206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630" name="Google Shape;7630;g3681a448973_2_206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1" name="Google Shape;7631;g3681a448973_2_206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632" name="Google Shape;7632;g3681a448973_2_206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633" name="Google Shape;7633;g3681a448973_2_206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7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5" name="Google Shape;7635;g3681a448973_2_2062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6" name="Google Shape;7636;g3681a448973_2_206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7" name="Google Shape;7637;g3681a448973_2_206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8" name="Google Shape;7638;g3681a448973_2_206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39" name="Google Shape;7639;g3681a448973_2_206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40" name="Google Shape;7640;g3681a448973_2_20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41" name="Google Shape;7641;g3681a448973_2_206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642" name="Google Shape;7642;g3681a448973_2_206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3" name="Google Shape;7643;g3681a448973_2_206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44" name="Google Shape;7644;g3681a448973_2_206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45" name="Google Shape;7645;g3681a448973_2_206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46" name="Google Shape;7646;g3681a448973_2_206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7" name="Google Shape;827;g3681a448973_2_138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8" name="Google Shape;828;g3681a448973_2_13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" name="Google Shape;829;g3681a448973_2_138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0" name="Google Shape;830;g3681a448973_2_13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1" name="Google Shape;831;g3681a448973_2_13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2" name="Google Shape;832;g3681a448973_2_1381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" name="Google Shape;833;g3681a448973_2_1381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4" name="Google Shape;834;g3681a448973_2_1381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5" name="Google Shape;835;g3681a448973_2_1381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6" name="Google Shape;836;g3681a448973_2_1381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" name="Google Shape;837;g3681a448973_2_138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8" name="Google Shape;838;g3681a448973_2_13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9" name="Google Shape;839;g3681a448973_2_13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7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48" name="Google Shape;7648;g3681a448973_2_2063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649" name="Google Shape;7649;g3681a448973_2_206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50" name="Google Shape;7650;g3681a448973_2_206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51" name="Google Shape;7651;g3681a448973_2_206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52" name="Google Shape;7652;g3681a448973_2_206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53" name="Google Shape;7653;g3681a448973_2_206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4" name="Google Shape;7654;g3681a448973_2_206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5" name="Google Shape;7655;g3681a448973_2_206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56" name="Google Shape;7656;g3681a448973_2_206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7" name="Google Shape;7657;g3681a448973_2_206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7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9" name="Google Shape;7659;g3681a448973_2_20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60" name="Google Shape;7660;g3681a448973_2_206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661" name="Google Shape;7661;g3681a448973_2_2064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662" name="Google Shape;7662;g3681a448973_2_20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63" name="Google Shape;7663;g3681a448973_2_206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64" name="Google Shape;7664;g3681a448973_2_20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5" name="Google Shape;7665;g3681a448973_2_20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66" name="Google Shape;7666;g3681a448973_2_206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7" name="Google Shape;7667;g3681a448973_2_206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68" name="Google Shape;7668;g3681a448973_2_20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69" name="Google Shape;7669;g3681a448973_2_20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7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1" name="Google Shape;7671;g3681a448973_2_2065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672" name="Google Shape;7672;g3681a448973_2_206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73" name="Google Shape;7673;g3681a448973_2_206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74" name="Google Shape;7674;g3681a448973_2_206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75" name="Google Shape;7675;g3681a448973_2_206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76" name="Google Shape;7676;g3681a448973_2_206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7" name="Google Shape;7677;g3681a448973_2_2065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678" name="Google Shape;7678;g3681a448973_2_2065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79" name="Google Shape;7679;g3681a448973_2_2065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680" name="Google Shape;7680;g3681a448973_2_2065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81" name="Google Shape;7681;g3681a448973_2_206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82" name="Google Shape;7682;g3681a448973_2_206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83" name="Google Shape;7683;g3681a448973_2_206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7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85" name="Google Shape;7685;g3681a448973_2_2067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686" name="Google Shape;7686;g3681a448973_2_206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87" name="Google Shape;7687;g3681a448973_2_2067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88" name="Google Shape;7688;g3681a448973_2_206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9" name="Google Shape;7689;g3681a448973_2_206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90" name="Google Shape;7690;g3681a448973_2_206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91" name="Google Shape;7691;g3681a448973_2_206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92" name="Google Shape;7692;g3681a448973_2_206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93" name="Google Shape;7693;g3681a448973_2_206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7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5" name="Google Shape;7695;g3681a448973_2_206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696" name="Google Shape;7696;g3681a448973_2_206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97" name="Google Shape;7697;g3681a448973_2_206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698" name="Google Shape;7698;g3681a448973_2_2068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9" name="Google Shape;7699;g3681a448973_2_206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00" name="Google Shape;7700;g3681a448973_2_206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01" name="Google Shape;7701;g3681a448973_2_20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702" name="Google Shape;7702;g3681a448973_2_206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7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4" name="Google Shape;7704;g3681a448973_2_20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05" name="Google Shape;7705;g3681a448973_2_20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06" name="Google Shape;7706;g3681a448973_2_20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707" name="Google Shape;7707;g3681a448973_2_206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708" name="Google Shape;7708;g3681a448973_2_20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09" name="Google Shape;7709;g3681a448973_2_206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710" name="Google Shape;7710;g3681a448973_2_20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1" name="Google Shape;7711;g3681a448973_2_20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7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3" name="Google Shape;7713;g3681a448973_2_20699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14" name="Google Shape;7714;g3681a448973_2_206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715" name="Google Shape;7715;g3681a448973_2_20699"/>
          <p:cNvGrpSpPr/>
          <p:nvPr/>
        </p:nvGrpSpPr>
        <p:grpSpPr>
          <a:xfrm>
            <a:off x="0" y="0"/>
            <a:ext cx="1862644" cy="6629629"/>
            <a:chOff x="-15876" y="0"/>
            <a:chExt cx="1927803" cy="6858001"/>
          </a:xfrm>
        </p:grpSpPr>
        <p:sp>
          <p:nvSpPr>
            <p:cNvPr id="7716" name="Google Shape;7716;g3681a448973_2_20699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717" name="Google Shape;7717;g3681a448973_2_20699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7718" name="Google Shape;7718;g3681a448973_2_2069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19" name="Google Shape;7719;g3681a448973_2_2069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0" name="Google Shape;7720;g3681a448973_2_2069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1" name="Google Shape;7721;g3681a448973_2_2069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7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3" name="Google Shape;7723;g3681a448973_2_20709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4" name="Google Shape;7724;g3681a448973_2_2070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5" name="Google Shape;7725;g3681a448973_2_2070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6" name="Google Shape;7726;g3681a448973_2_2070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7" name="Google Shape;7727;g3681a448973_2_207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728" name="Google Shape;7728;g3681a448973_2_2070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7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30" name="Google Shape;7730;g3681a448973_2_207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7731" name="Google Shape;7731;g3681a448973_2_207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32" name="Google Shape;7732;g3681a448973_2_207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733" name="Google Shape;7733;g3681a448973_2_207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4" name="Google Shape;7734;g3681a448973_2_207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35" name="Google Shape;7735;g3681a448973_2_207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6" name="Google Shape;7736;g3681a448973_2_207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37" name="Google Shape;7737;g3681a448973_2_207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38" name="Google Shape;7738;g3681a448973_2_207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39" name="Google Shape;7739;g3681a448973_2_207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7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1" name="Google Shape;7741;g3681a448973_2_2072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742" name="Google Shape;7742;g3681a448973_2_2072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743" name="Google Shape;7743;g3681a448973_2_2072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744" name="Google Shape;7744;g3681a448973_2_2072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45" name="Google Shape;7745;g3681a448973_2_2072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746" name="Google Shape;7746;g3681a448973_2_2072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747" name="Google Shape;7747;g3681a448973_2_207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3681a448973_2_13074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9" name="Google Shape;89;g3681a448973_2_1307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" name="Google Shape;90;g3681a448973_2_13074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1" name="Google Shape;91;g3681a448973_2_130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2;g3681a448973_2_130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" name="Google Shape;93;g3681a448973_2_130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4" name="Google Shape;94;g3681a448973_2_130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1" name="Google Shape;841;g3681a448973_2_1382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2" name="Google Shape;842;g3681a448973_2_138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3" name="Google Shape;843;g3681a448973_2_138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4" name="Google Shape;844;g3681a448973_2_138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5" name="Google Shape;845;g3681a448973_2_138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6" name="Google Shape;846;g3681a448973_2_138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7" name="Google Shape;847;g3681a448973_2_1382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8" name="Google Shape;848;g3681a448973_2_138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9" name="Google Shape;849;g3681a448973_2_138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7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49" name="Google Shape;7749;g3681a448973_2_207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7750" name="Google Shape;7750;g3681a448973_2_2073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7751" name="Google Shape;7751;g3681a448973_2_20735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2" name="Google Shape;7752;g3681a448973_2_20735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 2">
    <p:spTree>
      <p:nvGrpSpPr>
        <p:cNvPr id="1" name="Shape 7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54" name="Google Shape;7754;g3681a448973_2_207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1" cy="6856475"/>
          </a:xfrm>
          <a:prstGeom prst="rect">
            <a:avLst/>
          </a:prstGeom>
          <a:noFill/>
          <a:ln>
            <a:noFill/>
          </a:ln>
        </p:spPr>
      </p:pic>
      <p:sp>
        <p:nvSpPr>
          <p:cNvPr id="7755" name="Google Shape;7755;g3681a448973_2_207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6" name="Google Shape;7756;g3681a448973_2_207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57" name="Google Shape;7757;g3681a448973_2_20740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7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59" name="Google Shape;7759;g3681a448973_2_207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3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7760" name="Google Shape;7760;g3681a448973_2_207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1" name="Google Shape;7761;g3681a448973_2_207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2" name="Google Shape;7762;g3681a448973_2_20745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7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64" name="Google Shape;7764;g3681a448973_2_207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7765" name="Google Shape;7765;g3681a448973_2_20750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6" name="Google Shape;7766;g3681a448973_2_207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7" name="Google Shape;7767;g3681a448973_2_20750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7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69" name="Google Shape;7769;g3681a448973_2_207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7770" name="Google Shape;7770;g3681a448973_2_207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7771" name="Google Shape;7771;g3681a448973_2_20755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2" name="Google Shape;7772;g3681a448973_2_20755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7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74" name="Google Shape;7774;g3681a448973_2_207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775" name="Google Shape;7775;g3681a448973_2_207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7776" name="Google Shape;7776;g3681a448973_2_20760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7" name="Google Shape;7777;g3681a448973_2_20760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7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79" name="Google Shape;7779;g3681a448973_2_207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780" name="Google Shape;7780;g3681a448973_2_207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7781" name="Google Shape;7781;g3681a448973_2_20765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2" name="Google Shape;7782;g3681a448973_2_20765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7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4" name="Google Shape;7784;g3681a448973_2_20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7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785" name="Google Shape;7785;g3681a448973_2_207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6" name="Google Shape;7786;g3681a448973_2_20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87" name="Google Shape;7787;g3681a448973_2_2077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7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9" name="Google Shape;7789;g3681a448973_2_207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790" name="Google Shape;7790;g3681a448973_2_2077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1" name="Google Shape;7791;g3681a448973_2_2077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92" name="Google Shape;7792;g3681a448973_2_20775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7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94" name="Google Shape;7794;g3681a448973_2_207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795" name="Google Shape;7795;g3681a448973_2_207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g3681a448973_2_1383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52" name="Google Shape;852;g3681a448973_2_1383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g3681a448973_2_1383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54" name="Google Shape;854;g3681a448973_2_1383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" name="Google Shape;855;g3681a448973_2_1383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" name="Google Shape;856;g3681a448973_2_1383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57" name="Google Shape;857;g3681a448973_2_13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g3681a448973_2_138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2">
    <p:spTree>
      <p:nvGrpSpPr>
        <p:cNvPr id="1" name="Shape 7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7" name="Google Shape;7797;g3681a448973_2_2078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798" name="Google Shape;7798;g3681a448973_2_207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799" name="Google Shape;7799;g3681a448973_2_2078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800" name="Google Shape;7800;g3681a448973_2_20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01" name="Google Shape;7801;g3681a448973_2_20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802" name="Google Shape;7802;g3681a448973_2_20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803" name="Google Shape;7803;g3681a448973_2_20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78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5" name="Google Shape;7805;g3681a448973_2_20791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06" name="Google Shape;7806;g3681a448973_2_2079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7" name="Google Shape;7807;g3681a448973_2_2079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8" name="Google Shape;7808;g3681a448973_2_20791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09" name="Google Shape;7809;g3681a448973_2_207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7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1" name="Google Shape;7811;g3681a448973_2_2079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12" name="Google Shape;7812;g3681a448973_2_207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13" name="Google Shape;7813;g3681a448973_2_2079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14" name="Google Shape;7814;g3681a448973_2_20797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5" name="Google Shape;7815;g3681a448973_2_20797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7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7" name="Google Shape;7817;g3681a448973_2_2080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18" name="Google Shape;7818;g3681a448973_2_2080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19" name="Google Shape;7819;g3681a448973_2_20803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0" name="Google Shape;7820;g3681a448973_2_20803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1" name="Google Shape;7821;g3681a448973_2_20803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22" name="Google Shape;7822;g3681a448973_2_208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7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4" name="Google Shape;7824;g3681a448973_2_20810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5" name="Google Shape;7825;g3681a448973_2_20810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6" name="Google Shape;7826;g3681a448973_2_20810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7" name="Google Shape;7827;g3681a448973_2_20810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8" name="Google Shape;7828;g3681a448973_2_208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829" name="Google Shape;7829;g3681a448973_2_2081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7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1" name="Google Shape;7831;g3681a448973_2_20817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2" name="Google Shape;7832;g3681a448973_2_20817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7833" name="Google Shape;7833;g3681a448973_2_208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34" name="Google Shape;7834;g3681a448973_2_20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5" name="Google Shape;7835;g3681a448973_2_208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7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7" name="Google Shape;7837;g3681a448973_2_20823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8" name="Google Shape;7838;g3681a448973_2_20823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839" name="Google Shape;7839;g3681a448973_2_20823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840" name="Google Shape;7840;g3681a448973_2_2082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41" name="Google Shape;7841;g3681a448973_2_208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2" name="Google Shape;7842;g3681a448973_2_208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7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4" name="Google Shape;7844;g3681a448973_2_20830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5" name="Google Shape;7845;g3681a448973_2_20830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46" name="Google Shape;7846;g3681a448973_2_2083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7" name="Google Shape;7847;g3681a448973_2_20830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48" name="Google Shape;7848;g3681a448973_2_2083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9" name="Google Shape;7849;g3681a448973_2_2083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50" name="Google Shape;7850;g3681a448973_2_20830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51" name="Google Shape;7851;g3681a448973_2_20830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852" name="Google Shape;7852;g3681a448973_2_208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7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54" name="Google Shape;7854;g3681a448973_2_208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855" name="Google Shape;7855;g3681a448973_2_20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56" name="Google Shape;7856;g3681a448973_2_20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857" name="Google Shape;7857;g3681a448973_2_20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8" name="Google Shape;7858;g3681a448973_2_20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59" name="Google Shape;7859;g3681a448973_2_2084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60" name="Google Shape;7860;g3681a448973_2_2084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61" name="Google Shape;7861;g3681a448973_2_208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62" name="Google Shape;7862;g3681a448973_2_20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63" name="Google Shape;7863;g3681a448973_2_20840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3">
    <p:spTree>
      <p:nvGrpSpPr>
        <p:cNvPr id="1" name="Shape 7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5" name="Google Shape;7865;g3681a448973_2_2085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66" name="Google Shape;7866;g3681a448973_2_2085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867" name="Google Shape;7867;g3681a448973_2_2085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868" name="Google Shape;7868;g3681a448973_2_208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69" name="Google Shape;7869;g3681a448973_2_208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870" name="Google Shape;7870;g3681a448973_2_208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871" name="Google Shape;7871;g3681a448973_2_208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Google Shape;860;g3681a448973_2_1384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1" name="Google Shape;861;g3681a448973_2_13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" name="Google Shape;862;g3681a448973_2_13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3" name="Google Shape;863;g3681a448973_2_1384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4" name="Google Shape;864;g3681a448973_2_13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5" name="Google Shape;865;g3681a448973_2_138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6" name="Google Shape;866;g3681a448973_2_13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7" name="Google Shape;867;g3681a448973_2_13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4">
    <p:spTree>
      <p:nvGrpSpPr>
        <p:cNvPr id="1" name="Shape 7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3" name="Google Shape;7873;g3681a448973_2_2085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74" name="Google Shape;7874;g3681a448973_2_2085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875" name="Google Shape;7875;g3681a448973_2_2085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876" name="Google Shape;7876;g3681a448973_2_2085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77" name="Google Shape;7877;g3681a448973_2_2085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878" name="Google Shape;7878;g3681a448973_2_2085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879" name="Google Shape;7879;g3681a448973_2_208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7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1" name="Google Shape;7881;g3681a448973_2_2086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82" name="Google Shape;7882;g3681a448973_2_2086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83" name="Google Shape;7883;g3681a448973_2_2086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4" name="Google Shape;7884;g3681a448973_2_2086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85" name="Google Shape;7885;g3681a448973_2_2086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6" name="Google Shape;7886;g3681a448973_2_2086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87" name="Google Shape;7887;g3681a448973_2_20867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88" name="Google Shape;7888;g3681a448973_2_20867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889" name="Google Shape;7889;g3681a448973_2_208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7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91" name="Google Shape;7891;g3681a448973_2_2087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92" name="Google Shape;7892;g3681a448973_2_2087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93" name="Google Shape;7893;g3681a448973_2_208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94" name="Google Shape;7894;g3681a448973_2_2087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95" name="Google Shape;7895;g3681a448973_2_208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96" name="Google Shape;7896;g3681a448973_2_208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897" name="Google Shape;7897;g3681a448973_2_20877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8" name="Google Shape;7898;g3681a448973_2_20877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899" name="Google Shape;7899;g3681a448973_2_208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7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1" name="Google Shape;7901;g3681a448973_2_2088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02" name="Google Shape;7902;g3681a448973_2_2088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3" name="Google Shape;7903;g3681a448973_2_208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04" name="Google Shape;7904;g3681a448973_2_208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05" name="Google Shape;7905;g3681a448973_2_20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6" name="Google Shape;7906;g3681a448973_2_20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907" name="Google Shape;7907;g3681a448973_2_208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08" name="Google Shape;7908;g3681a448973_2_20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09" name="Google Shape;7909;g3681a448973_2_208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10" name="Google Shape;7910;g3681a448973_2_20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11" name="Google Shape;7911;g3681a448973_2_20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12" name="Google Shape;7912;g3681a448973_2_208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7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4" name="Google Shape;7914;g3681a448973_2_2090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15" name="Google Shape;7915;g3681a448973_2_2090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16" name="Google Shape;7916;g3681a448973_2_2090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17" name="Google Shape;7917;g3681a448973_2_20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18" name="Google Shape;7918;g3681a448973_2_2090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7919" name="Google Shape;7919;g3681a448973_2_20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20" name="Google Shape;7920;g3681a448973_2_20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21" name="Google Shape;7921;g3681a448973_2_20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7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3" name="Google Shape;7923;g3681a448973_2_2090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7924" name="Google Shape;7924;g3681a448973_2_209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25" name="Google Shape;7925;g3681a448973_2_209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26" name="Google Shape;7926;g3681a448973_2_209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27" name="Google Shape;7927;g3681a448973_2_209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928" name="Google Shape;7928;g3681a448973_2_2090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9" name="Google Shape;7929;g3681a448973_2_2090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 5">
    <p:spTree>
      <p:nvGrpSpPr>
        <p:cNvPr id="1" name="Shape 7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1" name="Google Shape;7931;g3681a448973_2_2091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32" name="Google Shape;7932;g3681a448973_2_2091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33" name="Google Shape;7933;g3681a448973_2_2091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934" name="Google Shape;7934;g3681a448973_2_209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5" name="Google Shape;7935;g3681a448973_2_209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36" name="Google Shape;7936;g3681a448973_2_209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7937" name="Google Shape;7937;g3681a448973_2_209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7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9" name="Google Shape;7939;g3681a448973_2_2092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40" name="Google Shape;7940;g3681a448973_2_2092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41" name="Google Shape;7941;g3681a448973_2_209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2" name="Google Shape;7942;g3681a448973_2_209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43" name="Google Shape;7943;g3681a448973_2_209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4" name="Google Shape;7944;g3681a448973_2_209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945" name="Google Shape;7945;g3681a448973_2_209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46" name="Google Shape;7946;g3681a448973_2_209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7" name="Google Shape;7947;g3681a448973_2_209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48" name="Google Shape;7948;g3681a448973_2_209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9" name="Google Shape;7949;g3681a448973_2_209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50" name="Google Shape;7950;g3681a448973_2_209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 2">
    <p:spTree>
      <p:nvGrpSpPr>
        <p:cNvPr id="1" name="Shape 7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52" name="Google Shape;7952;g3681a448973_2_209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53" name="Google Shape;7953;g3681a448973_2_209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54" name="Google Shape;7954;g3681a448973_2_209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55" name="Google Shape;7955;g3681a448973_2_209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56" name="Google Shape;7956;g3681a448973_2_209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7" name="Google Shape;7957;g3681a448973_2_209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8" name="Google Shape;7958;g3681a448973_2_209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9" name="Google Shape;7959;g3681a448973_2_209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60" name="Google Shape;7960;g3681a448973_2_209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1" name="Google Shape;7961;g3681a448973_2_20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7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3" name="Google Shape;7963;g3681a448973_2_20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4" name="Google Shape;7964;g3681a448973_2_20949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65" name="Google Shape;7965;g3681a448973_2_2094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66" name="Google Shape;7966;g3681a448973_2_20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7" name="Google Shape;7967;g3681a448973_2_209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68" name="Google Shape;7968;g3681a448973_2_20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9" name="Google Shape;7969;g3681a448973_2_20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0" name="Google Shape;7970;g3681a448973_2_20949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71" name="Google Shape;7971;g3681a448973_2_20949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2" name="Google Shape;7972;g3681a448973_2_20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73" name="Google Shape;7973;g3681a448973_2_20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g3681a448973_2_1385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" name="Google Shape;870;g3681a448973_2_1385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1" name="Google Shape;871;g3681a448973_2_1385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2" name="Google Shape;872;g3681a448973_2_1385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3" name="Google Shape;873;g3681a448973_2_1385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74" name="Google Shape;874;g3681a448973_2_138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5" name="Google Shape;875;g3681a448973_2_1385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6" name="Google Shape;876;g3681a448973_2_138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7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75" name="Google Shape;7975;g3681a448973_2_2096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76" name="Google Shape;7976;g3681a448973_2_209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77" name="Google Shape;7977;g3681a448973_2_209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78" name="Google Shape;7978;g3681a448973_2_209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79" name="Google Shape;7979;g3681a448973_2_209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80" name="Google Shape;7980;g3681a448973_2_20961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1" name="Google Shape;7981;g3681a448973_2_20961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82" name="Google Shape;7982;g3681a448973_2_20961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83" name="Google Shape;7983;g3681a448973_2_2096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84" name="Google Shape;7984;g3681a448973_2_2096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85" name="Google Shape;7985;g3681a448973_2_2096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86" name="Google Shape;7986;g3681a448973_2_209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7" name="Google Shape;7987;g3681a448973_2_209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7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89" name="Google Shape;7989;g3681a448973_2_209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990" name="Google Shape;7990;g3681a448973_2_209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91" name="Google Shape;7991;g3681a448973_2_209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992" name="Google Shape;7992;g3681a448973_2_209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93" name="Google Shape;7993;g3681a448973_2_209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94" name="Google Shape;7994;g3681a448973_2_209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5" name="Google Shape;7995;g3681a448973_2_2097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96" name="Google Shape;7996;g3681a448973_2_209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97" name="Google Shape;7997;g3681a448973_2_209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7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99" name="Google Shape;7999;g3681a448973_2_209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00" name="Google Shape;8000;g3681a448973_2_209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1" name="Google Shape;8001;g3681a448973_2_209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02" name="Google Shape;8002;g3681a448973_2_20985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03" name="Google Shape;8003;g3681a448973_2_20985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4" name="Google Shape;8004;g3681a448973_2_209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05" name="Google Shape;8005;g3681a448973_2_209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06" name="Google Shape;8006;g3681a448973_2_209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8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8" name="Google Shape;8008;g3681a448973_2_2099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09" name="Google Shape;8009;g3681a448973_2_20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10" name="Google Shape;8010;g3681a448973_2_20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11" name="Google Shape;8011;g3681a448973_2_2099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012" name="Google Shape;8012;g3681a448973_2_20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13" name="Google Shape;8013;g3681a448973_2_209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014" name="Google Shape;8014;g3681a448973_2_20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15" name="Google Shape;8015;g3681a448973_2_20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80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17" name="Google Shape;8017;g3681a448973_2_210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8018" name="Google Shape;8018;g3681a448973_2_2100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8019" name="Google Shape;8019;g3681a448973_2_2100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0" name="Google Shape;8020;g3681a448973_2_2100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8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22" name="Google Shape;8022;g3681a448973_2_210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8023" name="Google Shape;8023;g3681a448973_2_21008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24" name="Google Shape;8024;g3681a448973_2_21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025" name="Google Shape;8025;g3681a448973_2_21008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80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27" name="Google Shape;8027;g3681a448973_2_210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8028" name="Google Shape;8028;g3681a448973_2_210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8029" name="Google Shape;8029;g3681a448973_2_21013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30" name="Google Shape;8030;g3681a448973_2_2101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8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32" name="Google Shape;8032;g3681a448973_2_21018"/>
          <p:cNvPicPr preferRelativeResize="0"/>
          <p:nvPr/>
        </p:nvPicPr>
        <p:blipFill rotWithShape="1">
          <a:blip r:embed="rId2">
            <a:alphaModFix/>
          </a:blip>
          <a:srcRect t="12180" r="12171"/>
          <a:stretch/>
        </p:blipFill>
        <p:spPr>
          <a:xfrm>
            <a:off x="1524" y="0"/>
            <a:ext cx="1219047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033" name="Google Shape;8033;g3681a448973_2_210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34" name="Google Shape;8034;g3681a448973_2_210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035" name="Google Shape;8035;g3681a448973_2_210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8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37" name="Google Shape;8037;g3681a448973_2_210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038" name="Google Shape;8038;g3681a448973_2_210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39" name="Google Shape;8039;g3681a448973_2_210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0" name="Google Shape;8040;g3681a448973_2_21023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8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42" name="Google Shape;8042;g3681a448973_2_210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043" name="Google Shape;8043;g3681a448973_2_210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8" name="Google Shape;878;g3681a448973_2_1386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79" name="Google Shape;879;g3681a448973_2_138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g3681a448973_2_138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" name="Google Shape;881;g3681a448973_2_138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2" name="Google Shape;882;g3681a448973_2_13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3" name="Google Shape;883;g3681a448973_2_1386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g3681a448973_2_1386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8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45" name="Google Shape;8045;g3681a448973_2_2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8046" name="Google Shape;8046;g3681a448973_2_2103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8047" name="Google Shape;8047;g3681a448973_2_21031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8" name="Google Shape;8048;g3681a448973_2_21031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8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50" name="Google Shape;8050;g3681a448973_2_21036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51" name="Google Shape;8051;g3681a448973_2_21036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052" name="Google Shape;8052;g3681a448973_2_2103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3" name="Google Shape;8053;g3681a448973_2_21036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054" name="Google Shape;8054;g3681a448973_2_2103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55" name="Google Shape;8055;g3681a448973_2_2103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56" name="Google Shape;8056;g3681a448973_2_21036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7" name="Google Shape;8057;g3681a448973_2_2103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058" name="Google Shape;8058;g3681a448973_2_210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8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0" name="Google Shape;8060;g3681a448973_2_21046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61" name="Google Shape;8061;g3681a448973_2_21046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062" name="Google Shape;8062;g3681a448973_2_2104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63" name="Google Shape;8063;g3681a448973_2_21046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064" name="Google Shape;8064;g3681a448973_2_2104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65" name="Google Shape;8065;g3681a448973_2_2104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66" name="Google Shape;8066;g3681a448973_2_21046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67" name="Google Shape;8067;g3681a448973_2_2104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068" name="Google Shape;8068;g3681a448973_2_21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8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70" name="Google Shape;8070;g3681a448973_2_2105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71" name="Google Shape;8071;g3681a448973_2_210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72" name="Google Shape;8072;g3681a448973_2_210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73" name="Google Shape;8073;g3681a448973_2_210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74" name="Google Shape;8074;g3681a448973_2_210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5" name="Google Shape;8075;g3681a448973_2_210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76" name="Google Shape;8076;g3681a448973_2_210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077" name="Google Shape;8077;g3681a448973_2_210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78" name="Google Shape;8078;g3681a448973_2_210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079" name="Google Shape;8079;g3681a448973_2_210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80" name="Google Shape;8080;g3681a448973_2_210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81" name="Google Shape;8081;g3681a448973_2_210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8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3" name="Google Shape;8083;g3681a448973_2_21069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4" name="Google Shape;8084;g3681a448973_2_210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85" name="Google Shape;8085;g3681a448973_2_210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086" name="Google Shape;8086;g3681a448973_2_210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087" name="Google Shape;8087;g3681a448973_2_210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088" name="Google Shape;8088;g3681a448973_2_210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9" name="Google Shape;8089;g3681a448973_2_210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90" name="Google Shape;8090;g3681a448973_2_21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80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92" name="Google Shape;8092;g3681a448973_2_2107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093" name="Google Shape;8093;g3681a448973_2_2107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94" name="Google Shape;8094;g3681a448973_2_210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95" name="Google Shape;8095;g3681a448973_2_2107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96" name="Google Shape;8096;g3681a448973_2_21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097" name="Google Shape;8097;g3681a448973_2_2107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98" name="Google Shape;8098;g3681a448973_2_2107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8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0" name="Google Shape;8100;g3681a448973_2_2108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101" name="Google Shape;8101;g3681a448973_2_2108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102" name="Google Shape;8102;g3681a448973_2_2108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103" name="Google Shape;8103;g3681a448973_2_2108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4" name="Google Shape;8104;g3681a448973_2_2108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05" name="Google Shape;8105;g3681a448973_2_2108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106" name="Google Shape;8106;g3681a448973_2_210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8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8" name="Google Shape;8108;g3681a448973_2_2109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9" name="Google Shape;8109;g3681a448973_2_210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0" name="Google Shape;8110;g3681a448973_2_210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1" name="Google Shape;8111;g3681a448973_2_210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12" name="Google Shape;8112;g3681a448973_2_210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13" name="Google Shape;8113;g3681a448973_2_210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114" name="Google Shape;8114;g3681a448973_2_2109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15" name="Google Shape;8115;g3681a448973_2_21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16" name="Google Shape;8116;g3681a448973_2_210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17" name="Google Shape;8117;g3681a448973_2_210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18" name="Google Shape;8118;g3681a448973_2_210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19" name="Google Shape;8119;g3681a448973_2_210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8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21" name="Google Shape;8121;g3681a448973_2_211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22" name="Google Shape;8122;g3681a448973_2_2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23" name="Google Shape;8123;g3681a448973_2_211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24" name="Google Shape;8124;g3681a448973_2_2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25" name="Google Shape;8125;g3681a448973_2_2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26" name="Google Shape;8126;g3681a448973_2_21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27" name="Google Shape;8127;g3681a448973_2_211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28" name="Google Shape;8128;g3681a448973_2_2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29" name="Google Shape;8129;g3681a448973_2_2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30" name="Google Shape;8130;g3681a448973_2_2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8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2" name="Google Shape;8132;g3681a448973_2_211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33" name="Google Shape;8133;g3681a448973_2_211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34" name="Google Shape;8134;g3681a448973_2_2111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35" name="Google Shape;8135;g3681a448973_2_2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36" name="Google Shape;8136;g3681a448973_2_2111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37" name="Google Shape;8137;g3681a448973_2_2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38" name="Google Shape;8138;g3681a448973_2_2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39" name="Google Shape;8139;g3681a448973_2_211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0" name="Google Shape;8140;g3681a448973_2_211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1" name="Google Shape;8141;g3681a448973_2_2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42" name="Google Shape;8142;g3681a448973_2_2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g3681a448973_2_1387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7" name="Google Shape;887;g3681a448973_2_1387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8" name="Google Shape;888;g3681a448973_2_1387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89" name="Google Shape;889;g3681a448973_2_1387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0" name="Google Shape;890;g3681a448973_2_1387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1" name="Google Shape;891;g3681a448973_2_1387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92" name="Google Shape;892;g3681a448973_2_138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8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4" name="Google Shape;8144;g3681a448973_2_211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45" name="Google Shape;8145;g3681a448973_2_21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6" name="Google Shape;8146;g3681a448973_2_211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47" name="Google Shape;8147;g3681a448973_2_21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48" name="Google Shape;8148;g3681a448973_2_21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49" name="Google Shape;8149;g3681a448973_2_21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50" name="Google Shape;8150;g3681a448973_2_211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51" name="Google Shape;8151;g3681a448973_2_211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2" name="Google Shape;8152;g3681a448973_2_211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53" name="Google Shape;8153;g3681a448973_2_211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4" name="Google Shape;8154;g3681a448973_2_21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5" name="Google Shape;8155;g3681a448973_2_21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6" name="Google Shape;8156;g3681a448973_2_21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8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58" name="Google Shape;8158;g3681a448973_2_211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59" name="Google Shape;8159;g3681a448973_2_211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60" name="Google Shape;8160;g3681a448973_2_211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61" name="Google Shape;8161;g3681a448973_2_21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2" name="Google Shape;8162;g3681a448973_2_21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63" name="Google Shape;8163;g3681a448973_2_211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4" name="Google Shape;8164;g3681a448973_2_21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65" name="Google Shape;8165;g3681a448973_2_21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6" name="Google Shape;8166;g3681a448973_2_21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8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68" name="Google Shape;8168;g3681a448973_2_211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69" name="Google Shape;8169;g3681a448973_2_211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70" name="Google Shape;8170;g3681a448973_2_211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1" name="Google Shape;8171;g3681a448973_2_2115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72" name="Google Shape;8172;g3681a448973_2_211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73" name="Google Shape;8173;g3681a448973_2_211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174" name="Google Shape;8174;g3681a448973_2_211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175" name="Google Shape;8175;g3681a448973_2_211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8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7" name="Google Shape;8177;g3681a448973_2_21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78" name="Google Shape;8178;g3681a448973_2_21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79" name="Google Shape;8179;g3681a448973_2_21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180" name="Google Shape;8180;g3681a448973_2_211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81" name="Google Shape;8181;g3681a448973_2_21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2" name="Google Shape;8182;g3681a448973_2_211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83" name="Google Shape;8183;g3681a448973_2_21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84" name="Google Shape;8184;g3681a448973_2_21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8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6" name="Google Shape;8186;g3681a448973_2_211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87" name="Google Shape;8187;g3681a448973_2_211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88" name="Google Shape;8188;g3681a448973_2_211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8189" name="Google Shape;8189;g3681a448973_2_21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0" name="Google Shape;8190;g3681a448973_2_211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91" name="Google Shape;8191;g3681a448973_2_21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92" name="Google Shape;8192;g3681a448973_2_21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93" name="Google Shape;8193;g3681a448973_2_211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4" name="Google Shape;8194;g3681a448973_2_211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95" name="Google Shape;8195;g3681a448973_2_21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96" name="Google Shape;8196;g3681a448973_2_21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8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198" name="Google Shape;8198;g3681a448973_2_21184"/>
          <p:cNvCxnSpPr/>
          <p:nvPr/>
        </p:nvCxnSpPr>
        <p:spPr>
          <a:xfrm>
            <a:off x="2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8199" name="Google Shape;8199;g3681a448973_2_21184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0" name="Google Shape;8200;g3681a448973_2_21184"/>
          <p:cNvSpPr/>
          <p:nvPr/>
        </p:nvSpPr>
        <p:spPr>
          <a:xfrm>
            <a:off x="9815334" y="5955178"/>
            <a:ext cx="2376600" cy="90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01" name="Google Shape;8201;g3681a448973_2_21184"/>
          <p:cNvSpPr/>
          <p:nvPr/>
        </p:nvSpPr>
        <p:spPr>
          <a:xfrm>
            <a:off x="9815334" y="77979"/>
            <a:ext cx="2376600" cy="9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202" name="Google Shape;8202;g3681a448973_2_21184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8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04" name="Google Shape;8204;g3681a448973_2_21190"/>
          <p:cNvCxnSpPr/>
          <p:nvPr/>
        </p:nvCxnSpPr>
        <p:spPr>
          <a:xfrm>
            <a:off x="1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8205" name="Google Shape;8205;g3681a448973_2_21190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6" name="Google Shape;8206;g3681a448973_2_21190"/>
          <p:cNvSpPr/>
          <p:nvPr/>
        </p:nvSpPr>
        <p:spPr>
          <a:xfrm>
            <a:off x="9815333" y="5694745"/>
            <a:ext cx="2376600" cy="1163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07" name="Google Shape;8207;g3681a448973_2_21190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00" cy="49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8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4" name="Google Shape;8214;g3681a448973_2_5326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215" name="Google Shape;8215;g3681a448973_2_5326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6" name="Google Shape;8216;g3681a448973_2_532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7" name="Google Shape;8217;g3681a448973_2_5326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18" name="Google Shape;8218;g3681a448973_2_53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19" name="Google Shape;8219;g3681a448973_2_5326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20" name="Google Shape;8220;g3681a448973_2_5326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g3681a448973_2_532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g3681a448973_2_53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g3681a448973_2_53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g3681a448973_2_532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26" name="Google Shape;8226;g3681a448973_2_53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g3681a448973_2_532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28" name="Google Shape;8228;g3681a448973_2_53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g3681a448973_2_53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Photo Slide">
  <p:cSld name="30_Photo Slide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32" name="Google Shape;8232;p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233" name="Google Shape;8233;p1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234" name="Google Shape;8234;p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35" name="Google Shape;8235;p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236" name="Google Shape;8236;p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37" name="Google Shape;8237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4" name="Google Shape;894;g3681a448973_2_1388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5" name="Google Shape;895;g3681a448973_2_138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6" name="Google Shape;896;g3681a448973_2_138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7" name="Google Shape;897;g3681a448973_2_138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8" name="Google Shape;898;g3681a448973_2_138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" name="Google Shape;899;g3681a448973_2_138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" name="Google Shape;900;g3681a448973_2_138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" name="Google Shape;901;g3681a448973_2_1388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" name="Google Shape;902;g3681a448973_2_138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" name="Google Shape;903;g3681a448973_2_138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8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9" name="Google Shape;8239;g3681a448973_2_5327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40" name="Google Shape;8240;g3681a448973_2_5327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1" name="Google Shape;8241;g3681a448973_2_5327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42" name="Google Shape;8242;g3681a448973_2_532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43" name="Google Shape;8243;g3681a448973_2_5327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244" name="Google Shape;8244;g3681a448973_2_53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5" name="Google Shape;8245;g3681a448973_2_532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6" name="Google Shape;8246;g3681a448973_2_53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 type="obj">
  <p:cSld name="OBJECT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g3681a448973_2_5328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49" name="Google Shape;8249;g3681a448973_2_5328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0" name="Google Shape;8250;g3681a448973_2_532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1" name="Google Shape;8251;g3681a448973_2_5328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52" name="Google Shape;8252;g3681a448973_2_532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3" name="Google Shape;8253;g3681a448973_2_532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54" name="Google Shape;8254;g3681a448973_2_5328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55" name="Google Shape;8255;g3681a448973_2_532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6" name="Google Shape;8256;g3681a448973_2_532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57" name="Google Shape;8257;g3681a448973_2_532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58" name="Google Shape;8258;g3681a448973_2_532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59" name="Google Shape;8259;g3681a448973_2_5328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8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1" name="Google Shape;8261;g3681a448973_2_5330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62" name="Google Shape;8262;g3681a448973_2_5330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63" name="Google Shape;8263;g3681a448973_2_533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64" name="Google Shape;8264;g3681a448973_2_5330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5" name="Google Shape;8265;g3681a448973_2_533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6" name="Google Shape;8266;g3681a448973_2_533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7" name="Google Shape;8267;g3681a448973_2_5330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68" name="Google Shape;8268;g3681a448973_2_533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9" name="Google Shape;8269;g3681a448973_2_533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70" name="Google Shape;8270;g3681a448973_2_533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1" name="Google Shape;8271;g3681a448973_2_533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72" name="Google Shape;8272;g3681a448973_2_533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8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74" name="Google Shape;8274;g3681a448973_2_5331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75" name="Google Shape;8275;g3681a448973_2_53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6" name="Google Shape;8276;g3681a448973_2_533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77" name="Google Shape;8277;g3681a448973_2_53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8" name="Google Shape;8278;g3681a448973_2_53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79" name="Google Shape;8279;g3681a448973_2_533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0" name="Google Shape;8280;g3681a448973_2_533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1" name="Google Shape;8281;g3681a448973_2_5331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2" name="Google Shape;8282;g3681a448973_2_53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3" name="Google Shape;8283;g3681a448973_2_53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8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5" name="Google Shape;8285;g3681a448973_2_53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6" name="Google Shape;8286;g3681a448973_2_5332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287" name="Google Shape;8287;g3681a448973_2_533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88" name="Google Shape;8288;g3681a448973_2_53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9" name="Google Shape;8289;g3681a448973_2_533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90" name="Google Shape;8290;g3681a448973_2_53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1" name="Google Shape;8291;g3681a448973_2_53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92" name="Google Shape;8292;g3681a448973_2_5332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3" name="Google Shape;8293;g3681a448973_2_5332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94" name="Google Shape;8294;g3681a448973_2_53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95" name="Google Shape;8295;g3681a448973_2_53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8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7" name="Google Shape;8297;g3681a448973_2_5333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98" name="Google Shape;8298;g3681a448973_2_533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99" name="Google Shape;8299;g3681a448973_2_5333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300" name="Google Shape;8300;g3681a448973_2_533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01" name="Google Shape;8301;g3681a448973_2_533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02" name="Google Shape;8302;g3681a448973_2_533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03" name="Google Shape;8303;g3681a448973_2_533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8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5" name="Google Shape;8305;g3681a448973_2_533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06" name="Google Shape;8306;g3681a448973_2_53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07" name="Google Shape;8307;g3681a448973_2_533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08" name="Google Shape;8308;g3681a448973_2_53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9" name="Google Shape;8309;g3681a448973_2_53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0" name="Google Shape;8310;g3681a448973_2_5334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11" name="Google Shape;8311;g3681a448973_2_5334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12" name="Google Shape;8312;g3681a448973_2_5334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3" name="Google Shape;8313;g3681a448973_2_53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14" name="Google Shape;8314;g3681a448973_2_53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5" name="Google Shape;8315;g3681a448973_2_533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6" name="Google Shape;8316;g3681a448973_2_53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7" name="Google Shape;8317;g3681a448973_2_53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8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19" name="Google Shape;8319;g3681a448973_2_5335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20" name="Google Shape;8320;g3681a448973_2_5335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1" name="Google Shape;8321;g3681a448973_2_5335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22" name="Google Shape;8322;g3681a448973_2_53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323" name="Google Shape;8323;g3681a448973_2_5335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324" name="Google Shape;8324;g3681a448973_2_53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5" name="Google Shape;8325;g3681a448973_2_53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26" name="Google Shape;8326;g3681a448973_2_53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8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8" name="Google Shape;8328;g3681a448973_2_5336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329" name="Google Shape;8329;g3681a448973_2_533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30" name="Google Shape;8330;g3681a448973_2_533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31" name="Google Shape;8331;g3681a448973_2_533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32" name="Google Shape;8332;g3681a448973_2_53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333" name="Google Shape;8333;g3681a448973_2_5336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4" name="Google Shape;8334;g3681a448973_2_5336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8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6" name="Google Shape;8336;g3681a448973_2_5337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337" name="Google Shape;8337;g3681a448973_2_5337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338" name="Google Shape;8338;g3681a448973_2_5337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339" name="Google Shape;8339;g3681a448973_2_533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0" name="Google Shape;8340;g3681a448973_2_533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1" name="Google Shape;8341;g3681a448973_2_533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42" name="Google Shape;8342;g3681a448973_2_533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g3681a448973_2_138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6" name="Google Shape;906;g3681a448973_2_1389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07" name="Google Shape;907;g3681a448973_2_138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8" name="Google Shape;908;g3681a448973_2_138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" name="Google Shape;909;g3681a448973_2_138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0" name="Google Shape;910;g3681a448973_2_138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" name="Google Shape;911;g3681a448973_2_138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" name="Google Shape;912;g3681a448973_2_1389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3" name="Google Shape;913;g3681a448973_2_1389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4" name="Google Shape;914;g3681a448973_2_138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" name="Google Shape;915;g3681a448973_2_138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8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44" name="Google Shape;8344;g3681a448973_2_5338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5" name="Google Shape;8345;g3681a448973_2_5338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46" name="Google Shape;8346;g3681a448973_2_533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g3681a448973_2_533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48" name="Google Shape;8348;g3681a448973_2_53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9" name="Google Shape;8349;g3681a448973_2_53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50" name="Google Shape;8350;g3681a448973_2_533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51" name="Google Shape;8351;g3681a448973_2_53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2" name="Google Shape;8352;g3681a448973_2_533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53" name="Google Shape;8353;g3681a448973_2_53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4" name="Google Shape;8354;g3681a448973_2_53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55" name="Google Shape;8355;g3681a448973_2_533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8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57" name="Google Shape;8357;g3681a448973_2_533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58" name="Google Shape;8358;g3681a448973_2_53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9" name="Google Shape;8359;g3681a448973_2_533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60" name="Google Shape;8360;g3681a448973_2_53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1" name="Google Shape;8361;g3681a448973_2_53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62" name="Google Shape;8362;g3681a448973_2_533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3" name="Google Shape;8363;g3681a448973_2_533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4" name="Google Shape;8364;g3681a448973_2_533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65" name="Google Shape;8365;g3681a448973_2_53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66" name="Google Shape;8366;g3681a448973_2_53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8" name="Google Shape;8368;g3681a448973_2_534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69" name="Google Shape;8369;g3681a448973_2_534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0" name="Google Shape;8370;g3681a448973_2_53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1" name="Google Shape;8371;g3681a448973_2_534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72" name="Google Shape;8372;g3681a448973_2_53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73" name="Google Shape;8373;g3681a448973_2_53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74" name="Google Shape;8374;g3681a448973_2_534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75" name="Google Shape;8375;g3681a448973_2_53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76" name="Google Shape;8376;g3681a448973_2_534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77" name="Google Shape;8377;g3681a448973_2_53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78" name="Google Shape;8378;g3681a448973_2_53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9" name="Google Shape;8379;g3681a448973_2_534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8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1" name="Google Shape;8381;g3681a448973_2_53421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2" name="Google Shape;8382;g3681a448973_2_53421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383" name="Google Shape;8383;g3681a448973_2_53421"/>
          <p:cNvGrpSpPr/>
          <p:nvPr/>
        </p:nvGrpSpPr>
        <p:grpSpPr>
          <a:xfrm flipH="1">
            <a:off x="225" y="2"/>
            <a:ext cx="6418638" cy="1509802"/>
            <a:chOff x="7522541" y="1"/>
            <a:chExt cx="4669459" cy="1098357"/>
          </a:xfrm>
        </p:grpSpPr>
        <p:sp>
          <p:nvSpPr>
            <p:cNvPr id="8384" name="Google Shape;8384;g3681a448973_2_5342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85" name="Google Shape;8385;g3681a448973_2_5342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386" name="Google Shape;8386;g3681a448973_2_534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8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8" name="Google Shape;8388;g3681a448973_2_5342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89" name="Google Shape;8389;g3681a448973_2_5342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0" name="Google Shape;8390;g3681a448973_2_5342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91" name="Google Shape;8391;g3681a448973_2_534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392" name="Google Shape;8392;g3681a448973_2_5342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393" name="Google Shape;8393;g3681a448973_2_534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94" name="Google Shape;8394;g3681a448973_2_534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95" name="Google Shape;8395;g3681a448973_2_53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7" name="Google Shape;8397;g3681a448973_2_5343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398" name="Google Shape;8398;g3681a448973_2_534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99" name="Google Shape;8399;g3681a448973_2_534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00" name="Google Shape;8400;g3681a448973_2_534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01" name="Google Shape;8401;g3681a448973_2_534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402" name="Google Shape;8402;g3681a448973_2_5343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03" name="Google Shape;8403;g3681a448973_2_5343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8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5" name="Google Shape;8405;g3681a448973_2_5344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406" name="Google Shape;8406;g3681a448973_2_5344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407" name="Google Shape;8407;g3681a448973_2_5344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408" name="Google Shape;8408;g3681a448973_2_5344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09" name="Google Shape;8409;g3681a448973_2_5344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410" name="Google Shape;8410;g3681a448973_2_5344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411" name="Google Shape;8411;g3681a448973_2_53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3" name="Google Shape;8413;g3681a448973_2_5345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4" name="Google Shape;8414;g3681a448973_2_5345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5" name="Google Shape;8415;g3681a448973_2_534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6" name="Google Shape;8416;g3681a448973_2_534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17" name="Google Shape;8417;g3681a448973_2_534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18" name="Google Shape;8418;g3681a448973_2_534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19" name="Google Shape;8419;g3681a448973_2_534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20" name="Google Shape;8420;g3681a448973_2_534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21" name="Google Shape;8421;g3681a448973_2_534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22" name="Google Shape;8422;g3681a448973_2_534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23" name="Google Shape;8423;g3681a448973_2_534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24" name="Google Shape;8424;g3681a448973_2_534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8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6" name="Google Shape;8426;g3681a448973_2_534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27" name="Google Shape;8427;g3681a448973_2_534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g3681a448973_2_534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9" name="Google Shape;8429;g3681a448973_2_534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30" name="Google Shape;8430;g3681a448973_2_53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31" name="Google Shape;8431;g3681a448973_2_53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32" name="Google Shape;8432;g3681a448973_2_534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33" name="Google Shape;8433;g3681a448973_2_53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34" name="Google Shape;8434;g3681a448973_2_534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35" name="Google Shape;8435;g3681a448973_2_53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6" name="Google Shape;8436;g3681a448973_2_53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37" name="Google Shape;8437;g3681a448973_2_534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8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39" name="Google Shape;8439;g3681a448973_2_534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40" name="Google Shape;8440;g3681a448973_2_53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41" name="Google Shape;8441;g3681a448973_2_534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42" name="Google Shape;8442;g3681a448973_2_53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43" name="Google Shape;8443;g3681a448973_2_53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4" name="Google Shape;8444;g3681a448973_2_534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5" name="Google Shape;8445;g3681a448973_2_534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6" name="Google Shape;8446;g3681a448973_2_534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47" name="Google Shape;8447;g3681a448973_2_53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48" name="Google Shape;8448;g3681a448973_2_53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7" name="Google Shape;917;g3681a448973_2_139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8" name="Google Shape;918;g3681a448973_2_139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9" name="Google Shape;919;g3681a448973_2_139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0" name="Google Shape;920;g3681a448973_2_139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1" name="Google Shape;921;g3681a448973_2_139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2" name="Google Shape;922;g3681a448973_2_1390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3" name="Google Shape;923;g3681a448973_2_1390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4" name="Google Shape;924;g3681a448973_2_1390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5" name="Google Shape;925;g3681a448973_2_139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6" name="Google Shape;926;g3681a448973_2_139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7" name="Google Shape;927;g3681a448973_2_1390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8" name="Google Shape;928;g3681a448973_2_139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9" name="Google Shape;929;g3681a448973_2_139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3681a448973_2_534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1" name="Google Shape;8451;g3681a448973_2_5349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452" name="Google Shape;8452;g3681a448973_2_5349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53" name="Google Shape;8453;g3681a448973_2_53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54" name="Google Shape;8454;g3681a448973_2_534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55" name="Google Shape;8455;g3681a448973_2_53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56" name="Google Shape;8456;g3681a448973_2_53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57" name="Google Shape;8457;g3681a448973_2_5349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8" name="Google Shape;8458;g3681a448973_2_5349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59" name="Google Shape;8459;g3681a448973_2_53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60" name="Google Shape;8460;g3681a448973_2_53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8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62" name="Google Shape;8462;g3681a448973_2_535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63" name="Google Shape;8463;g3681a448973_2_53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64" name="Google Shape;8464;g3681a448973_2_535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65" name="Google Shape;8465;g3681a448973_2_53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66" name="Google Shape;8466;g3681a448973_2_53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67" name="Google Shape;8467;g3681a448973_2_5350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8" name="Google Shape;8468;g3681a448973_2_5350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469" name="Google Shape;8469;g3681a448973_2_5350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0" name="Google Shape;8470;g3681a448973_2_53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471" name="Google Shape;8471;g3681a448973_2_53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2" name="Google Shape;8472;g3681a448973_2_535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3" name="Google Shape;8473;g3681a448973_2_53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74" name="Google Shape;8474;g3681a448973_2_53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8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76" name="Google Shape;8476;g3681a448973_2_535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77" name="Google Shape;8477;g3681a448973_2_535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78" name="Google Shape;8478;g3681a448973_2_535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79" name="Google Shape;8479;g3681a448973_2_535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80" name="Google Shape;8480;g3681a448973_2_535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81" name="Google Shape;8481;g3681a448973_2_535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2" name="Google Shape;8482;g3681a448973_2_535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83" name="Google Shape;8483;g3681a448973_2_535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4" name="Google Shape;8484;g3681a448973_2_535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8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86" name="Google Shape;8486;g3681a448973_2_53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487" name="Google Shape;8487;g3681a448973_2_53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8" name="Google Shape;8488;g3681a448973_2_53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489" name="Google Shape;8489;g3681a448973_2_5352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0" name="Google Shape;8490;g3681a448973_2_5352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1" name="Google Shape;8491;g3681a448973_2_53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92" name="Google Shape;8492;g3681a448973_2_53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493" name="Google Shape;8493;g3681a448973_2_53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8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5" name="Google Shape;8495;g3681a448973_2_5353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6" name="Google Shape;8496;g3681a448973_2_5353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7" name="Google Shape;8497;g3681a448973_2_5353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98" name="Google Shape;8498;g3681a448973_2_535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99" name="Google Shape;8499;g3681a448973_2_5353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500" name="Google Shape;8500;g3681a448973_2_535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1" name="Google Shape;8501;g3681a448973_2_535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02" name="Google Shape;8502;g3681a448973_2_53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8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04" name="Google Shape;8504;g3681a448973_2_5354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505" name="Google Shape;8505;g3681a448973_2_5354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6" name="Google Shape;8506;g3681a448973_2_535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7" name="Google Shape;8507;g3681a448973_2_5354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08" name="Google Shape;8508;g3681a448973_2_53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09" name="Google Shape;8509;g3681a448973_2_5354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0" name="Google Shape;8510;g3681a448973_2_5354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8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2" name="Google Shape;8512;g3681a448973_2_5355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13" name="Google Shape;8513;g3681a448973_2_535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514" name="Google Shape;8514;g3681a448973_2_5355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515" name="Google Shape;8515;g3681a448973_2_535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g3681a448973_2_535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517" name="Google Shape;8517;g3681a448973_2_535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518" name="Google Shape;8518;g3681a448973_2_535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8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0" name="Google Shape;8520;g3681a448973_2_5356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1" name="Google Shape;8521;g3681a448973_2_5356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2" name="Google Shape;8522;g3681a448973_2_535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23" name="Google Shape;8523;g3681a448973_2_535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4" name="Google Shape;8524;g3681a448973_2_535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25" name="Google Shape;8525;g3681a448973_2_535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26" name="Google Shape;8526;g3681a448973_2_535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27" name="Google Shape;8527;g3681a448973_2_535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28" name="Google Shape;8528;g3681a448973_2_535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29" name="Google Shape;8529;g3681a448973_2_535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30" name="Google Shape;8530;g3681a448973_2_535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31" name="Google Shape;8531;g3681a448973_2_5356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33" name="Google Shape;8533;g3681a448973_2_535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34" name="Google Shape;8534;g3681a448973_2_53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35" name="Google Shape;8535;g3681a448973_2_535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36" name="Google Shape;8536;g3681a448973_2_53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37" name="Google Shape;8537;g3681a448973_2_53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38" name="Google Shape;8538;g3681a448973_2_535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9" name="Google Shape;8539;g3681a448973_2_535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0" name="Google Shape;8540;g3681a448973_2_535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41" name="Google Shape;8541;g3681a448973_2_53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2" name="Google Shape;8542;g3681a448973_2_53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8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4" name="Google Shape;8544;g3681a448973_2_535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g3681a448973_2_5358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46" name="Google Shape;8546;g3681a448973_2_535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47" name="Google Shape;8547;g3681a448973_2_535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8" name="Google Shape;8548;g3681a448973_2_535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49" name="Google Shape;8549;g3681a448973_2_535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50" name="Google Shape;8550;g3681a448973_2_535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51" name="Google Shape;8551;g3681a448973_2_5358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2" name="Google Shape;8552;g3681a448973_2_5358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3" name="Google Shape;8553;g3681a448973_2_535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4" name="Google Shape;8554;g3681a448973_2_535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1" name="Google Shape;931;g3681a448973_2_139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2" name="Google Shape;932;g3681a448973_2_139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3" name="Google Shape;933;g3681a448973_2_139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4" name="Google Shape;934;g3681a448973_2_139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" name="Google Shape;935;g3681a448973_2_139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6" name="Google Shape;936;g3681a448973_2_139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" name="Google Shape;937;g3681a448973_2_139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" name="Google Shape;938;g3681a448973_2_139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9" name="Google Shape;939;g3681a448973_2_139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8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56" name="Google Shape;8556;g3681a448973_2_535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57" name="Google Shape;8557;g3681a448973_2_53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g3681a448973_2_53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59" name="Google Shape;8559;g3681a448973_2_53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g3681a448973_2_53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61" name="Google Shape;8561;g3681a448973_2_5359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2" name="Google Shape;8562;g3681a448973_2_5359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563" name="Google Shape;8563;g3681a448973_2_5359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4" name="Google Shape;8564;g3681a448973_2_5359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565" name="Google Shape;8565;g3681a448973_2_5359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g3681a448973_2_535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67" name="Google Shape;8567;g3681a448973_2_53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68" name="Google Shape;8568;g3681a448973_2_53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8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70" name="Google Shape;8570;g3681a448973_2_5361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71" name="Google Shape;8571;g3681a448973_2_53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72" name="Google Shape;8572;g3681a448973_2_536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73" name="Google Shape;8573;g3681a448973_2_536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74" name="Google Shape;8574;g3681a448973_2_536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5" name="Google Shape;8575;g3681a448973_2_536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6" name="Google Shape;8576;g3681a448973_2_5361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g3681a448973_2_536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g3681a448973_2_536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8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80" name="Google Shape;8580;g3681a448973_2_5362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581" name="Google Shape;8581;g3681a448973_2_5362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82" name="Google Shape;8582;g3681a448973_2_5362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583" name="Google Shape;8583;g3681a448973_2_5362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4" name="Google Shape;8584;g3681a448973_2_5362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5" name="Google Shape;8585;g3681a448973_2_5362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586" name="Google Shape;8586;g3681a448973_2_536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587" name="Google Shape;8587;g3681a448973_2_536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8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9" name="Google Shape;8589;g3681a448973_2_536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0" name="Google Shape;8590;g3681a448973_2_53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1" name="Google Shape;8591;g3681a448973_2_53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92" name="Google Shape;8592;g3681a448973_2_536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93" name="Google Shape;8593;g3681a448973_2_53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94" name="Google Shape;8594;g3681a448973_2_536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95" name="Google Shape;8595;g3681a448973_2_53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96" name="Google Shape;8596;g3681a448973_2_53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8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8" name="Google Shape;8598;g3681a448973_2_5363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9" name="Google Shape;8599;g3681a448973_2_5363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00" name="Google Shape;8600;g3681a448973_2_536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01" name="Google Shape;8601;g3681a448973_2_536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02" name="Google Shape;8602;g3681a448973_2_53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3" name="Google Shape;8603;g3681a448973_2_53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04" name="Google Shape;8604;g3681a448973_2_536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05" name="Google Shape;8605;g3681a448973_2_53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06" name="Google Shape;8606;g3681a448973_2_536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07" name="Google Shape;8607;g3681a448973_2_53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08" name="Google Shape;8608;g3681a448973_2_53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09" name="Google Shape;8609;g3681a448973_2_536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8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1" name="Google Shape;8611;g3681a448973_2_5365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12" name="Google Shape;8612;g3681a448973_2_53651"/>
          <p:cNvSpPr/>
          <p:nvPr/>
        </p:nvSpPr>
        <p:spPr>
          <a:xfrm>
            <a:off x="3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613" name="Google Shape;8613;g3681a448973_2_536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8614" name="Google Shape;8614;g3681a448973_2_53651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615" name="Google Shape;8615;g3681a448973_2_5365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8616" name="Google Shape;8616;g3681a448973_2_5365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17" name="Google Shape;8617;g3681a448973_2_5365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8" name="Google Shape;8618;g3681a448973_2_5365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19" name="Google Shape;8619;g3681a448973_2_53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0" name="Google Shape;8620;g3681a448973_2_536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21" name="Google Shape;8621;g3681a448973_2_53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8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3" name="Google Shape;8623;g3681a448973_2_5366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4" name="Google Shape;8624;g3681a448973_2_5366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5" name="Google Shape;8625;g3681a448973_2_53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6" name="Google Shape;8626;g3681a448973_2_536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7" name="Google Shape;8627;g3681a448973_2_53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8" name="Google Shape;8628;g3681a448973_2_53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29" name="Google Shape;8629;g3681a448973_2_5366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30" name="Google Shape;8630;g3681a448973_2_53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31" name="Google Shape;8631;g3681a448973_2_536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32" name="Google Shape;8632;g3681a448973_2_53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3" name="Google Shape;8633;g3681a448973_2_53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4" name="Google Shape;8634;g3681a448973_2_536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8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6" name="Google Shape;8636;g3681a448973_2_536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7" name="Google Shape;8637;g3681a448973_2_5367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638" name="Google Shape;8638;g3681a448973_2_536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39" name="Google Shape;8639;g3681a448973_2_53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0" name="Google Shape;8640;g3681a448973_2_536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41" name="Google Shape;8641;g3681a448973_2_536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42" name="Google Shape;8642;g3681a448973_2_536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43" name="Google Shape;8643;g3681a448973_2_5367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44" name="Google Shape;8644;g3681a448973_2_5367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45" name="Google Shape;8645;g3681a448973_2_536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6" name="Google Shape;8646;g3681a448973_2_536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8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48" name="Google Shape;8648;g3681a448973_2_5368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49" name="Google Shape;8649;g3681a448973_2_53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50" name="Google Shape;8650;g3681a448973_2_536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51" name="Google Shape;8651;g3681a448973_2_536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52" name="Google Shape;8652;g3681a448973_2_536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53" name="Google Shape;8653;g3681a448973_2_5368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4" name="Google Shape;8654;g3681a448973_2_5368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55" name="Google Shape;8655;g3681a448973_2_5368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56" name="Google Shape;8656;g3681a448973_2_5368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57" name="Google Shape;8657;g3681a448973_2_5368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58" name="Google Shape;8658;g3681a448973_2_5368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59" name="Google Shape;8659;g3681a448973_2_536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60" name="Google Shape;8660;g3681a448973_2_536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8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62" name="Google Shape;8662;g3681a448973_2_537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63" name="Google Shape;8663;g3681a448973_2_53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64" name="Google Shape;8664;g3681a448973_2_537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65" name="Google Shape;8665;g3681a448973_2_53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6" name="Google Shape;8666;g3681a448973_2_53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67" name="Google Shape;8667;g3681a448973_2_537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68" name="Google Shape;8668;g3681a448973_2_537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69" name="Google Shape;8669;g3681a448973_2_53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0" name="Google Shape;8670;g3681a448973_2_53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81a448973_2_1308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" name="Google Shape;97;g3681a448973_2_1308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g3681a448973_2_130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g3681a448973_2_130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" name="Google Shape;100;g3681a448973_2_13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" name="Google Shape;101;g3681a448973_2_13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" name="Google Shape;102;g3681a448973_2_130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3" name="Google Shape;103;g3681a448973_2_13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" name="Google Shape;104;g3681a448973_2_130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" name="Google Shape;105;g3681a448973_2_13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g3681a448973_2_13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" name="Google Shape;107;g3681a448973_2_1308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9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1" name="Google Shape;941;g3681a448973_2_139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42" name="Google Shape;942;g3681a448973_2_139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" name="Google Shape;943;g3681a448973_2_139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4" name="Google Shape;944;g3681a448973_2_1392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5" name="Google Shape;945;g3681a448973_2_1392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6" name="Google Shape;946;g3681a448973_2_139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47" name="Google Shape;947;g3681a448973_2_139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48" name="Google Shape;948;g3681a448973_2_139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8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72" name="Google Shape;8672;g3681a448973_2_537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673" name="Google Shape;8673;g3681a448973_2_537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74" name="Google Shape;8674;g3681a448973_2_537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75" name="Google Shape;8675;g3681a448973_2_53712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6" name="Google Shape;8676;g3681a448973_2_53712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7" name="Google Shape;8677;g3681a448973_2_537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678" name="Google Shape;8678;g3681a448973_2_537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679" name="Google Shape;8679;g3681a448973_2_537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8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1" name="Google Shape;8681;g3681a448973_2_537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2" name="Google Shape;8682;g3681a448973_2_537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3" name="Google Shape;8683;g3681a448973_2_537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84" name="Google Shape;8684;g3681a448973_2_537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85" name="Google Shape;8685;g3681a448973_2_53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86" name="Google Shape;8686;g3681a448973_2_537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87" name="Google Shape;8687;g3681a448973_2_537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88" name="Google Shape;8688;g3681a448973_2_537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8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0" name="Google Shape;8690;g3681a448973_2_5373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1" name="Google Shape;8691;g3681a448973_2_5373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92" name="Google Shape;8692;g3681a448973_2_5373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93" name="Google Shape;8693;g3681a448973_2_537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94" name="Google Shape;8694;g3681a448973_2_5373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695" name="Google Shape;8695;g3681a448973_2_53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96" name="Google Shape;8696;g3681a448973_2_5373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97" name="Google Shape;8697;g3681a448973_2_53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8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99" name="Google Shape;8699;g3681a448973_2_5373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700" name="Google Shape;8700;g3681a448973_2_537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01" name="Google Shape;8701;g3681a448973_2_537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02" name="Google Shape;8702;g3681a448973_2_537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03" name="Google Shape;8703;g3681a448973_2_537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04" name="Google Shape;8704;g3681a448973_2_5373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5" name="Google Shape;8705;g3681a448973_2_5373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8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7" name="Google Shape;8707;g3681a448973_2_53747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8" name="Google Shape;8708;g3681a448973_2_5374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9" name="Google Shape;8709;g3681a448973_2_5374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10" name="Google Shape;8710;g3681a448973_2_537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11" name="Google Shape;8711;g3681a448973_2_5374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712" name="Google Shape;8712;g3681a448973_2_537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3" name="Google Shape;8713;g3681a448973_2_537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4" name="Google Shape;8714;g3681a448973_2_53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8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6" name="Google Shape;8716;g3681a448973_2_5375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17" name="Google Shape;8717;g3681a448973_2_53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18" name="Google Shape;8718;g3681a448973_2_537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19" name="Google Shape;8719;g3681a448973_2_53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20" name="Google Shape;8720;g3681a448973_2_53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21" name="Google Shape;8721;g3681a448973_2_53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2" name="Google Shape;8722;g3681a448973_2_537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23" name="Google Shape;8723;g3681a448973_2_53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24" name="Google Shape;8724;g3681a448973_2_53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8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6" name="Google Shape;8726;g3681a448973_2_5376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727" name="Google Shape;8727;g3681a448973_2_5376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8" name="Google Shape;8728;g3681a448973_2_5376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9" name="Google Shape;8729;g3681a448973_2_5376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30" name="Google Shape;8730;g3681a448973_2_5376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31" name="Google Shape;8731;g3681a448973_2_5376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732" name="Google Shape;8732;g3681a448973_2_537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733" name="Google Shape;8733;g3681a448973_2_537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8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35" name="Google Shape;8735;g3681a448973_2_5377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736" name="Google Shape;8736;g3681a448973_2_53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7" name="Google Shape;8737;g3681a448973_2_53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8" name="Google Shape;8738;g3681a448973_2_53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39" name="Google Shape;8739;g3681a448973_2_53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40" name="Google Shape;8740;g3681a448973_2_5377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g3681a448973_2_5377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8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43" name="Google Shape;8743;g3681a448973_2_5378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44" name="Google Shape;8744;g3681a448973_2_537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45" name="Google Shape;8745;g3681a448973_2_5378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746" name="Google Shape;8746;g3681a448973_2_53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47" name="Google Shape;8747;g3681a448973_2_53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8" name="Google Shape;8748;g3681a448973_2_53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749" name="Google Shape;8749;g3681a448973_2_53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8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1" name="Google Shape;8751;g3681a448973_2_5379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52" name="Google Shape;8752;g3681a448973_2_5379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53" name="Google Shape;8753;g3681a448973_2_537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54" name="Google Shape;8754;g3681a448973_2_537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5" name="Google Shape;8755;g3681a448973_2_53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6" name="Google Shape;8756;g3681a448973_2_53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57" name="Google Shape;8757;g3681a448973_2_537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58" name="Google Shape;8758;g3681a448973_2_53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9" name="Google Shape;8759;g3681a448973_2_537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60" name="Google Shape;8760;g3681a448973_2_53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1" name="Google Shape;8761;g3681a448973_2_53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62" name="Google Shape;8762;g3681a448973_2_537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" name="Google Shape;950;g3681a448973_2_1393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g3681a448973_2_13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g3681a448973_2_13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3" name="Google Shape;953;g3681a448973_2_1393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4" name="Google Shape;954;g3681a448973_2_13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" name="Google Shape;955;g3681a448973_2_139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6" name="Google Shape;956;g3681a448973_2_13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7" name="Google Shape;957;g3681a448973_2_13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8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4" name="Google Shape;8764;g3681a448973_2_5380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5" name="Google Shape;8765;g3681a448973_2_5380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6" name="Google Shape;8766;g3681a448973_2_53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7" name="Google Shape;8767;g3681a448973_2_538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8" name="Google Shape;8768;g3681a448973_2_53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9" name="Google Shape;8769;g3681a448973_2_53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70" name="Google Shape;8770;g3681a448973_2_5380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71" name="Google Shape;8771;g3681a448973_2_53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2" name="Google Shape;8772;g3681a448973_2_538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73" name="Google Shape;8773;g3681a448973_2_53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4" name="Google Shape;8774;g3681a448973_2_53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5" name="Google Shape;8775;g3681a448973_2_538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87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77" name="Google Shape;8777;g3681a448973_2_538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78" name="Google Shape;8778;g3681a448973_2_53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9" name="Google Shape;8779;g3681a448973_2_538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80" name="Google Shape;8780;g3681a448973_2_53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1" name="Google Shape;8781;g3681a448973_2_53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2" name="Google Shape;8782;g3681a448973_2_538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3" name="Google Shape;8783;g3681a448973_2_5381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4" name="Google Shape;8784;g3681a448973_2_538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5" name="Google Shape;8785;g3681a448973_2_53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6" name="Google Shape;8786;g3681a448973_2_53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8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88" name="Google Shape;8788;g3681a448973_2_538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9" name="Google Shape;8789;g3681a448973_2_5382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90" name="Google Shape;8790;g3681a448973_2_538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91" name="Google Shape;8791;g3681a448973_2_53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92" name="Google Shape;8792;g3681a448973_2_538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93" name="Google Shape;8793;g3681a448973_2_53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4" name="Google Shape;8794;g3681a448973_2_53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5" name="Google Shape;8795;g3681a448973_2_5382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g3681a448973_2_5382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g3681a448973_2_53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g3681a448973_2_53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g3681a448973_2_538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01" name="Google Shape;8801;g3681a448973_2_53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g3681a448973_2_53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03" name="Google Shape;8803;g3681a448973_2_53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g3681a448973_2_53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g3681a448973_2_5384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g3681a448973_2_5384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07" name="Google Shape;8807;g3681a448973_2_5384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8" name="Google Shape;8808;g3681a448973_2_538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09" name="Google Shape;8809;g3681a448973_2_538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0" name="Google Shape;8810;g3681a448973_2_538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1" name="Google Shape;8811;g3681a448973_2_53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2" name="Google Shape;8812;g3681a448973_2_53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8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4" name="Google Shape;8814;g3681a448973_2_5385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15" name="Google Shape;8815;g3681a448973_2_53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16" name="Google Shape;8816;g3681a448973_2_538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17" name="Google Shape;8817;g3681a448973_2_53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18" name="Google Shape;8818;g3681a448973_2_53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19" name="Google Shape;8819;g3681a448973_2_538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20" name="Google Shape;8820;g3681a448973_2_5385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1" name="Google Shape;8821;g3681a448973_2_53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2" name="Google Shape;8822;g3681a448973_2_53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8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24" name="Google Shape;8824;g3681a448973_2_538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25" name="Google Shape;8825;g3681a448973_2_538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26" name="Google Shape;8826;g3681a448973_2_538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27" name="Google Shape;8827;g3681a448973_2_5386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8" name="Google Shape;8828;g3681a448973_2_5386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29" name="Google Shape;8829;g3681a448973_2_538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30" name="Google Shape;8830;g3681a448973_2_538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31" name="Google Shape;8831;g3681a448973_2_538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8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3" name="Google Shape;8833;g3681a448973_2_538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4" name="Google Shape;8834;g3681a448973_2_53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5" name="Google Shape;8835;g3681a448973_2_53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6" name="Google Shape;8836;g3681a448973_2_538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37" name="Google Shape;8837;g3681a448973_2_53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8" name="Google Shape;8838;g3681a448973_2_538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39" name="Google Shape;8839;g3681a448973_2_53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40" name="Google Shape;8840;g3681a448973_2_53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8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2" name="Google Shape;8842;g3681a448973_2_5388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3" name="Google Shape;8843;g3681a448973_2_5388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4" name="Google Shape;8844;g3681a448973_2_5388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45" name="Google Shape;8845;g3681a448973_2_538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46" name="Google Shape;8846;g3681a448973_2_5388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847" name="Google Shape;8847;g3681a448973_2_538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8" name="Google Shape;8848;g3681a448973_2_5388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49" name="Google Shape;8849;g3681a448973_2_53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8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1" name="Google Shape;8851;g3681a448973_2_5389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852" name="Google Shape;8852;g3681a448973_2_538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3" name="Google Shape;8853;g3681a448973_2_538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g3681a448973_2_538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g3681a448973_2_538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56" name="Google Shape;8856;g3681a448973_2_5389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7" name="Google Shape;8857;g3681a448973_2_5389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8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9" name="Google Shape;8859;g3681a448973_2_5389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60" name="Google Shape;8860;g3681a448973_2_5389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1" name="Google Shape;8861;g3681a448973_2_538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62" name="Google Shape;8862;g3681a448973_2_538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63" name="Google Shape;8863;g3681a448973_2_53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64" name="Google Shape;8864;g3681a448973_2_53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65" name="Google Shape;8865;g3681a448973_2_538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66" name="Google Shape;8866;g3681a448973_2_53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67" name="Google Shape;8867;g3681a448973_2_538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68" name="Google Shape;8868;g3681a448973_2_53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69" name="Google Shape;8869;g3681a448973_2_53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70" name="Google Shape;8870;g3681a448973_2_538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" name="Google Shape;959;g3681a448973_2_1394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0" name="Google Shape;960;g3681a448973_2_1394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" name="Google Shape;961;g3681a448973_2_1394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2" name="Google Shape;962;g3681a448973_2_139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3" name="Google Shape;963;g3681a448973_2_1394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64" name="Google Shape;964;g3681a448973_2_139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5" name="Google Shape;965;g3681a448973_2_139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6" name="Google Shape;966;g3681a448973_2_139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8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72" name="Google Shape;8872;g3681a448973_2_539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73" name="Google Shape;8873;g3681a448973_2_539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4" name="Google Shape;8874;g3681a448973_2_539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75" name="Google Shape;8875;g3681a448973_2_539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6" name="Google Shape;8876;g3681a448973_2_539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77" name="Google Shape;8877;g3681a448973_2_539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8" name="Google Shape;8878;g3681a448973_2_539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9" name="Google Shape;8879;g3681a448973_2_539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80" name="Google Shape;8880;g3681a448973_2_539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81" name="Google Shape;8881;g3681a448973_2_539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8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3" name="Google Shape;8883;g3681a448973_2_539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4" name="Google Shape;8884;g3681a448973_2_5392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85" name="Google Shape;8885;g3681a448973_2_5392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86" name="Google Shape;8886;g3681a448973_2_539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7" name="Google Shape;8887;g3681a448973_2_539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88" name="Google Shape;8888;g3681a448973_2_539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9" name="Google Shape;8889;g3681a448973_2_539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90" name="Google Shape;8890;g3681a448973_2_5392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1" name="Google Shape;8891;g3681a448973_2_5392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2" name="Google Shape;8892;g3681a448973_2_539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3" name="Google Shape;8893;g3681a448973_2_53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8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5" name="Google Shape;8895;g3681a448973_2_5393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96" name="Google Shape;8896;g3681a448973_2_53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7" name="Google Shape;8897;g3681a448973_2_539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98" name="Google Shape;8898;g3681a448973_2_53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9" name="Google Shape;8899;g3681a448973_2_53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0" name="Google Shape;8900;g3681a448973_2_5393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1" name="Google Shape;8901;g3681a448973_2_5393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02" name="Google Shape;8902;g3681a448973_2_5393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3" name="Google Shape;8903;g3681a448973_2_539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04" name="Google Shape;8904;g3681a448973_2_539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5" name="Google Shape;8905;g3681a448973_2_5393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6" name="Google Shape;8906;g3681a448973_2_53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7" name="Google Shape;8907;g3681a448973_2_53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8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" name="Google Shape;8909;g3681a448973_2_5394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910" name="Google Shape;8910;g3681a448973_2_5394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11" name="Google Shape;8911;g3681a448973_2_5394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912" name="Google Shape;8912;g3681a448973_2_539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13" name="Google Shape;8913;g3681a448973_2_539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14" name="Google Shape;8914;g3681a448973_2_539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915" name="Google Shape;8915;g3681a448973_2_539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8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17" name="Google Shape;8917;g3681a448973_2_5395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18" name="Google Shape;8918;g3681a448973_2_5395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19" name="Google Shape;8919;g3681a448973_2_5395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20" name="Google Shape;8920;g3681a448973_2_5395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21" name="Google Shape;8921;g3681a448973_2_5395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22" name="Google Shape;8922;g3681a448973_2_5395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23" name="Google Shape;8923;g3681a448973_2_53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24" name="Google Shape;8924;g3681a448973_2_539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8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6" name="Google Shape;8926;g3681a448973_2_539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7" name="Google Shape;8927;g3681a448973_2_539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8" name="Google Shape;8928;g3681a448973_2_539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29" name="Google Shape;8929;g3681a448973_2_539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30" name="Google Shape;8930;g3681a448973_2_539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1" name="Google Shape;8931;g3681a448973_2_539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32" name="Google Shape;8932;g3681a448973_2_539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33" name="Google Shape;8933;g3681a448973_2_539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8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5" name="Google Shape;8935;g3681a448973_2_539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36" name="Google Shape;8936;g3681a448973_2_539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7" name="Google Shape;8937;g3681a448973_2_539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38" name="Google Shape;8938;g3681a448973_2_539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39" name="Google Shape;8939;g3681a448973_2_539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0" name="Google Shape;8940;g3681a448973_2_539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1" name="Google Shape;8941;g3681a448973_2_5397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2" name="Google Shape;8942;g3681a448973_2_539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3" name="Google Shape;8943;g3681a448973_2_539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8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45" name="Google Shape;8945;g3681a448973_2_5398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46" name="Google Shape;8946;g3681a448973_2_5398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7" name="Google Shape;8947;g3681a448973_2_5398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948" name="Google Shape;8948;g3681a448973_2_539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949" name="Google Shape;8949;g3681a448973_2_5398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950" name="Google Shape;8950;g3681a448973_2_539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1" name="Google Shape;8951;g3681a448973_2_539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952" name="Google Shape;8952;g3681a448973_2_53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8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4" name="Google Shape;8954;g3681a448973_2_5399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955" name="Google Shape;8955;g3681a448973_2_539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6" name="Google Shape;8956;g3681a448973_2_539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7" name="Google Shape;8957;g3681a448973_2_539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958" name="Google Shape;8958;g3681a448973_2_53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959" name="Google Shape;8959;g3681a448973_2_5399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0" name="Google Shape;8960;g3681a448973_2_5399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8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2" name="Google Shape;8962;g3681a448973_2_5400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3" name="Google Shape;8963;g3681a448973_2_5400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4" name="Google Shape;8964;g3681a448973_2_54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5" name="Google Shape;8965;g3681a448973_2_540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6" name="Google Shape;8966;g3681a448973_2_54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7" name="Google Shape;8967;g3681a448973_2_54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8" name="Google Shape;8968;g3681a448973_2_540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69" name="Google Shape;8969;g3681a448973_2_54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0" name="Google Shape;8970;g3681a448973_2_540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71" name="Google Shape;8971;g3681a448973_2_54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2" name="Google Shape;8972;g3681a448973_2_54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3" name="Google Shape;8973;g3681a448973_2_540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8" name="Google Shape;968;g3681a448973_2_1395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69" name="Google Shape;969;g3681a448973_2_1395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g3681a448973_2_139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1" name="Google Shape;971;g3681a448973_2_1395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2" name="Google Shape;972;g3681a448973_2_139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3" name="Google Shape;973;g3681a448973_2_1395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" name="Google Shape;974;g3681a448973_2_1395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8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75" name="Google Shape;8975;g3681a448973_2_540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76" name="Google Shape;8976;g3681a448973_2_54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7" name="Google Shape;8977;g3681a448973_2_540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78" name="Google Shape;8978;g3681a448973_2_54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9" name="Google Shape;8979;g3681a448973_2_54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0" name="Google Shape;8980;g3681a448973_2_54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81" name="Google Shape;8981;g3681a448973_2_54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2" name="Google Shape;8982;g3681a448973_2_540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3" name="Google Shape;8983;g3681a448973_2_54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4" name="Google Shape;8984;g3681a448973_2_54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8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6" name="Google Shape;8986;g3681a448973_2_540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87" name="Google Shape;8987;g3681a448973_2_5402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88" name="Google Shape;8988;g3681a448973_2_540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89" name="Google Shape;8989;g3681a448973_2_54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0" name="Google Shape;8990;g3681a448973_2_540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91" name="Google Shape;8991;g3681a448973_2_540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2" name="Google Shape;8992;g3681a448973_2_540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3" name="Google Shape;8993;g3681a448973_2_5402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4" name="Google Shape;8994;g3681a448973_2_5402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95" name="Google Shape;8995;g3681a448973_2_540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96" name="Google Shape;8996;g3681a448973_2_540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8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98" name="Google Shape;8998;g3681a448973_2_540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99" name="Google Shape;8999;g3681a448973_2_540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0" name="Google Shape;9000;g3681a448973_2_540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01" name="Google Shape;9001;g3681a448973_2_540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2" name="Google Shape;9002;g3681a448973_2_540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3" name="Google Shape;9003;g3681a448973_2_5403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4" name="Google Shape;9004;g3681a448973_2_5403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05" name="Google Shape;9005;g3681a448973_2_5403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06" name="Google Shape;9006;g3681a448973_2_540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07" name="Google Shape;9007;g3681a448973_2_540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08" name="Google Shape;9008;g3681a448973_2_540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9" name="Google Shape;9009;g3681a448973_2_540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0" name="Google Shape;9010;g3681a448973_2_540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9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2" name="Google Shape;9012;g3681a448973_2_5405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13" name="Google Shape;9013;g3681a448973_2_540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14" name="Google Shape;9014;g3681a448973_2_5405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15" name="Google Shape;9015;g3681a448973_2_540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6" name="Google Shape;9016;g3681a448973_2_540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7" name="Google Shape;9017;g3681a448973_2_540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018" name="Google Shape;9018;g3681a448973_2_540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9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0" name="Google Shape;9020;g3681a448973_2_5406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21" name="Google Shape;9021;g3681a448973_2_5406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22" name="Google Shape;9022;g3681a448973_2_540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23" name="Google Shape;9023;g3681a448973_2_540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4" name="Google Shape;9024;g3681a448973_2_540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5" name="Google Shape;9025;g3681a448973_2_540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26" name="Google Shape;9026;g3681a448973_2_540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27" name="Google Shape;9027;g3681a448973_2_540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8" name="Google Shape;9028;g3681a448973_2_540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29" name="Google Shape;9029;g3681a448973_2_540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30" name="Google Shape;9030;g3681a448973_2_540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31" name="Google Shape;9031;g3681a448973_2_5406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90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33" name="Google Shape;9033;g3681a448973_2_540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34" name="Google Shape;9034;g3681a448973_2_540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35" name="Google Shape;9035;g3681a448973_2_540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36" name="Google Shape;9036;g3681a448973_2_5407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7" name="Google Shape;9037;g3681a448973_2_5407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8" name="Google Shape;9038;g3681a448973_2_540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39" name="Google Shape;9039;g3681a448973_2_540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40" name="Google Shape;9040;g3681a448973_2_540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9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2" name="Google Shape;9042;g3681a448973_2_540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43" name="Google Shape;9043;g3681a448973_2_54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44" name="Google Shape;9044;g3681a448973_2_54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45" name="Google Shape;9045;g3681a448973_2_540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46" name="Google Shape;9046;g3681a448973_2_54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7" name="Google Shape;9047;g3681a448973_2_540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48" name="Google Shape;9048;g3681a448973_2_54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9" name="Google Shape;9049;g3681a448973_2_54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9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1" name="Google Shape;9051;g3681a448973_2_540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52" name="Google Shape;9052;g3681a448973_2_54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53" name="Google Shape;9053;g3681a448973_2_540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54" name="Google Shape;9054;g3681a448973_2_540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55" name="Google Shape;9055;g3681a448973_2_540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56" name="Google Shape;9056;g3681a448973_2_540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7" name="Google Shape;9057;g3681a448973_2_540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58" name="Google Shape;9058;g3681a448973_2_540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59" name="Google Shape;9059;g3681a448973_2_540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g3681a448973_2_5410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g3681a448973_2_5410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g3681a448973_2_5410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64" name="Google Shape;9064;g3681a448973_2_541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g3681a448973_2_541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g3681a448973_2_541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g3681a448973_2_541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g3681a448973_2_5410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g3681a448973_2_5410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g3681a448973_2_541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g3681a448973_2_5410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g3681a448973_2_54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g3681a448973_2_54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g3681a448973_2_5410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76" name="Google Shape;9076;g3681a448973_2_54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g3681a448973_2_541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78" name="Google Shape;9078;g3681a448973_2_54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g3681a448973_2_54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g3681a448973_2_5410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" name="Google Shape;976;g3681a448973_2_1396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7" name="Google Shape;977;g3681a448973_2_1396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" name="Google Shape;978;g3681a448973_2_139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9" name="Google Shape;979;g3681a448973_2_1396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0" name="Google Shape;980;g3681a448973_2_139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" name="Google Shape;981;g3681a448973_2_139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2" name="Google Shape;982;g3681a448973_2_1396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83" name="Google Shape;983;g3681a448973_2_139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" name="Google Shape;984;g3681a448973_2_139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85" name="Google Shape;985;g3681a448973_2_139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6" name="Google Shape;986;g3681a448973_2_139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7" name="Google Shape;987;g3681a448973_2_139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82" name="Google Shape;9082;g3681a448973_2_5412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83" name="Google Shape;9083;g3681a448973_2_54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84" name="Google Shape;9084;g3681a448973_2_541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85" name="Google Shape;9085;g3681a448973_2_54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86" name="Google Shape;9086;g3681a448973_2_54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87" name="Google Shape;9087;g3681a448973_2_54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8" name="Google Shape;9088;g3681a448973_2_541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9" name="Google Shape;9089;g3681a448973_2_541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0" name="Google Shape;9090;g3681a448973_2_54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91" name="Google Shape;9091;g3681a448973_2_54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9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3" name="Google Shape;9093;g3681a448973_2_541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94" name="Google Shape;9094;g3681a448973_2_5413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095" name="Google Shape;9095;g3681a448973_2_5413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96" name="Google Shape;9096;g3681a448973_2_54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g3681a448973_2_541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98" name="Google Shape;9098;g3681a448973_2_541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g3681a448973_2_541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g3681a448973_2_5413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1" name="Google Shape;9101;g3681a448973_2_5413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2" name="Google Shape;9102;g3681a448973_2_541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3" name="Google Shape;9103;g3681a448973_2_541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9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05" name="Google Shape;9105;g3681a448973_2_541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06" name="Google Shape;9106;g3681a448973_2_54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07" name="Google Shape;9107;g3681a448973_2_541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08" name="Google Shape;9108;g3681a448973_2_54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09" name="Google Shape;9109;g3681a448973_2_54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0" name="Google Shape;9110;g3681a448973_2_5414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11" name="Google Shape;9111;g3681a448973_2_5414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12" name="Google Shape;9112;g3681a448973_2_5414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3" name="Google Shape;9113;g3681a448973_2_541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14" name="Google Shape;9114;g3681a448973_2_541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5" name="Google Shape;9115;g3681a448973_2_541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6" name="Google Shape;9116;g3681a448973_2_54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7" name="Google Shape;9117;g3681a448973_2_54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9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9" name="Google Shape;9119;g3681a448973_2_541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20" name="Google Shape;9120;g3681a448973_2_541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1" name="Google Shape;9121;g3681a448973_2_541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22" name="Google Shape;9122;g3681a448973_2_54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3" name="Google Shape;9123;g3681a448973_2_54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4" name="Google Shape;9124;g3681a448973_2_541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5" name="Google Shape;9125;g3681a448973_2_541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6" name="Google Shape;9126;g3681a448973_2_54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27" name="Google Shape;9127;g3681a448973_2_54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9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29" name="Google Shape;9129;g3681a448973_2_541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30" name="Google Shape;9130;g3681a448973_2_541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1" name="Google Shape;9131;g3681a448973_2_541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32" name="Google Shape;9132;g3681a448973_2_5416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33" name="Google Shape;9133;g3681a448973_2_5416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34" name="Google Shape;9134;g3681a448973_2_541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35" name="Google Shape;9135;g3681a448973_2_541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36" name="Google Shape;9136;g3681a448973_2_541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9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38" name="Google Shape;9138;g3681a448973_2_541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g3681a448973_2_54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g3681a448973_2_54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141" name="Google Shape;9141;g3681a448973_2_541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42" name="Google Shape;9142;g3681a448973_2_54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43" name="Google Shape;9143;g3681a448973_2_541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44" name="Google Shape;9144;g3681a448973_2_54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45" name="Google Shape;9145;g3681a448973_2_54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9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7" name="Google Shape;9147;g3681a448973_2_5418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8" name="Google Shape;9148;g3681a448973_2_5418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49" name="Google Shape;9149;g3681a448973_2_541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50" name="Google Shape;9150;g3681a448973_2_541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1" name="Google Shape;9151;g3681a448973_2_54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2" name="Google Shape;9152;g3681a448973_2_54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153" name="Google Shape;9153;g3681a448973_2_541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54" name="Google Shape;9154;g3681a448973_2_54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5" name="Google Shape;9155;g3681a448973_2_541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56" name="Google Shape;9156;g3681a448973_2_54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7" name="Google Shape;9157;g3681a448973_2_54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58" name="Google Shape;9158;g3681a448973_2_541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g3681a448973_2_5420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g3681a448973_2_5420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g3681a448973_2_5420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163" name="Google Shape;9163;g3681a448973_2_54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164" name="Google Shape;9164;g3681a448973_2_5420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165" name="Google Shape;9165;g3681a448973_2_54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6" name="Google Shape;9166;g3681a448973_2_542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67" name="Google Shape;9167;g3681a448973_2_54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9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69" name="Google Shape;9169;g3681a448973_2_5420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170" name="Google Shape;9170;g3681a448973_2_542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71" name="Google Shape;9171;g3681a448973_2_54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72" name="Google Shape;9172;g3681a448973_2_542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73" name="Google Shape;9173;g3681a448973_2_54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174" name="Google Shape;9174;g3681a448973_2_5420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5" name="Google Shape;9175;g3681a448973_2_5420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9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7" name="Google Shape;9177;g3681a448973_2_5421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78" name="Google Shape;9178;g3681a448973_2_5421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79" name="Google Shape;9179;g3681a448973_2_5421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180" name="Google Shape;9180;g3681a448973_2_542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81" name="Google Shape;9181;g3681a448973_2_542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82" name="Google Shape;9182;g3681a448973_2_542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183" name="Google Shape;9183;g3681a448973_2_542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" name="Google Shape;989;g3681a448973_2_1397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0" name="Google Shape;990;g3681a448973_2_1397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" name="Google Shape;991;g3681a448973_2_1397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92" name="Google Shape;992;g3681a448973_2_1397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3" name="Google Shape;993;g3681a448973_2_1397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4" name="Google Shape;994;g3681a448973_2_1397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95" name="Google Shape;995;g3681a448973_2_139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g3681a448973_2_542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86" name="Google Shape;9186;g3681a448973_2_54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g3681a448973_2_542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88" name="Google Shape;9188;g3681a448973_2_54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g3681a448973_2_54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g3681a448973_2_54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g3681a448973_2_54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2" name="Google Shape;9192;g3681a448973_2_542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3" name="Google Shape;9193;g3681a448973_2_54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4" name="Google Shape;9194;g3681a448973_2_54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9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6" name="Google Shape;9196;g3681a448973_2_542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7" name="Google Shape;9197;g3681a448973_2_5423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98" name="Google Shape;9198;g3681a448973_2_5423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99" name="Google Shape;9199;g3681a448973_2_542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0" name="Google Shape;9200;g3681a448973_2_542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01" name="Google Shape;9201;g3681a448973_2_542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2" name="Google Shape;9202;g3681a448973_2_542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3" name="Google Shape;9203;g3681a448973_2_5423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4" name="Google Shape;9204;g3681a448973_2_5423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5" name="Google Shape;9205;g3681a448973_2_542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6" name="Google Shape;9206;g3681a448973_2_54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9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8" name="Google Shape;9208;g3681a448973_2_542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09" name="Google Shape;9209;g3681a448973_2_542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10" name="Google Shape;9210;g3681a448973_2_542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11" name="Google Shape;9211;g3681a448973_2_542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12" name="Google Shape;9212;g3681a448973_2_542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13" name="Google Shape;9213;g3681a448973_2_5424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4" name="Google Shape;9214;g3681a448973_2_5424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15" name="Google Shape;9215;g3681a448973_2_5424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6" name="Google Shape;9216;g3681a448973_2_542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17" name="Google Shape;9217;g3681a448973_2_542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8" name="Google Shape;9218;g3681a448973_2_542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g3681a448973_2_542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g3681a448973_2_542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9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2" name="Google Shape;9222;g3681a448973_2_5426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23" name="Google Shape;9223;g3681a448973_2_54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4" name="Google Shape;9224;g3681a448973_2_542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25" name="Google Shape;9225;g3681a448973_2_542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6" name="Google Shape;9226;g3681a448973_2_542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27" name="Google Shape;9227;g3681a448973_2_542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8" name="Google Shape;9228;g3681a448973_2_5426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29" name="Google Shape;9229;g3681a448973_2_542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0" name="Google Shape;9230;g3681a448973_2_542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9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32" name="Google Shape;9232;g3681a448973_2_542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33" name="Google Shape;9233;g3681a448973_2_542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34" name="Google Shape;9234;g3681a448973_2_542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35" name="Google Shape;9235;g3681a448973_2_54272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36" name="Google Shape;9236;g3681a448973_2_54272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7" name="Google Shape;9237;g3681a448973_2_542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38" name="Google Shape;9238;g3681a448973_2_542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39" name="Google Shape;9239;g3681a448973_2_542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9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1" name="Google Shape;9241;g3681a448973_2_5428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42" name="Google Shape;9242;g3681a448973_2_54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3" name="Google Shape;9243;g3681a448973_2_54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44" name="Google Shape;9244;g3681a448973_2_5428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45" name="Google Shape;9245;g3681a448973_2_54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46" name="Google Shape;9246;g3681a448973_2_542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47" name="Google Shape;9247;g3681a448973_2_54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48" name="Google Shape;9248;g3681a448973_2_54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9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0" name="Google Shape;9250;g3681a448973_2_5429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51" name="Google Shape;9251;g3681a448973_2_5429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2" name="Google Shape;9252;g3681a448973_2_5429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53" name="Google Shape;9253;g3681a448973_2_542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54" name="Google Shape;9254;g3681a448973_2_5429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255" name="Google Shape;9255;g3681a448973_2_542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6" name="Google Shape;9256;g3681a448973_2_542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7" name="Google Shape;9257;g3681a448973_2_54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9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59" name="Google Shape;9259;g3681a448973_2_5429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260" name="Google Shape;9260;g3681a448973_2_542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g3681a448973_2_542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2" name="Google Shape;9262;g3681a448973_2_542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63" name="Google Shape;9263;g3681a448973_2_542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4" name="Google Shape;9264;g3681a448973_2_5429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5" name="Google Shape;9265;g3681a448973_2_5429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9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7" name="Google Shape;9267;g3681a448973_2_5430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8" name="Google Shape;9268;g3681a448973_2_5430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9" name="Google Shape;9269;g3681a448973_2_543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70" name="Google Shape;9270;g3681a448973_2_543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71" name="Google Shape;9271;g3681a448973_2_543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2" name="Google Shape;9272;g3681a448973_2_543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73" name="Google Shape;9273;g3681a448973_2_5430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74" name="Google Shape;9274;g3681a448973_2_543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5" name="Google Shape;9275;g3681a448973_2_543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76" name="Google Shape;9276;g3681a448973_2_543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7" name="Google Shape;9277;g3681a448973_2_543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8" name="Google Shape;9278;g3681a448973_2_543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9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0" name="Google Shape;9280;g3681a448973_2_5432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81" name="Google Shape;9281;g3681a448973_2_5432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82" name="Google Shape;9282;g3681a448973_2_5432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283" name="Google Shape;9283;g3681a448973_2_543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84" name="Google Shape;9284;g3681a448973_2_543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85" name="Google Shape;9285;g3681a448973_2_543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286" name="Google Shape;9286;g3681a448973_2_543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" name="Google Shape;997;g3681a448973_2_139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98" name="Google Shape;998;g3681a448973_2_139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" name="Google Shape;999;g3681a448973_2_139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0" name="Google Shape;1000;g3681a448973_2_139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1" name="Google Shape;1001;g3681a448973_2_139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2" name="Google Shape;1002;g3681a448973_2_139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" name="Google Shape;1003;g3681a448973_2_1398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" name="Google Shape;1004;g3681a448973_2_139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5" name="Google Shape;1005;g3681a448973_2_139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" name="Google Shape;1006;g3681a448973_2_139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9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8" name="Google Shape;9288;g3681a448973_2_5432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89" name="Google Shape;9289;g3681a448973_2_5432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0" name="Google Shape;9290;g3681a448973_2_543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1" name="Google Shape;9291;g3681a448973_2_543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2" name="Google Shape;9292;g3681a448973_2_54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93" name="Google Shape;9293;g3681a448973_2_54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94" name="Google Shape;9294;g3681a448973_2_543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95" name="Google Shape;9295;g3681a448973_2_54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6" name="Google Shape;9296;g3681a448973_2_543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97" name="Google Shape;9297;g3681a448973_2_54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8" name="Google Shape;9298;g3681a448973_2_54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99" name="Google Shape;9299;g3681a448973_2_543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9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1" name="Google Shape;9301;g3681a448973_2_543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02" name="Google Shape;9302;g3681a448973_2_54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3" name="Google Shape;9303;g3681a448973_2_543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04" name="Google Shape;9304;g3681a448973_2_54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5" name="Google Shape;9305;g3681a448973_2_54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6" name="Google Shape;9306;g3681a448973_2_543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7" name="Google Shape;9307;g3681a448973_2_5434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08" name="Google Shape;9308;g3681a448973_2_5434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09" name="Google Shape;9309;g3681a448973_2_54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0" name="Google Shape;9310;g3681a448973_2_54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9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2" name="Google Shape;9312;g3681a448973_2_54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13" name="Google Shape;9313;g3681a448973_2_5435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14" name="Google Shape;9314;g3681a448973_2_5435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15" name="Google Shape;9315;g3681a448973_2_54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g3681a448973_2_543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17" name="Google Shape;9317;g3681a448973_2_54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g3681a448973_2_54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g3681a448973_2_5435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0" name="Google Shape;9320;g3681a448973_2_5435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1" name="Google Shape;9321;g3681a448973_2_54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2" name="Google Shape;9322;g3681a448973_2_54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9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4" name="Google Shape;9324;g3681a448973_2_5436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25" name="Google Shape;9325;g3681a448973_2_54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6" name="Google Shape;9326;g3681a448973_2_543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27" name="Google Shape;9327;g3681a448973_2_54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28" name="Google Shape;9328;g3681a448973_2_54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29" name="Google Shape;9329;g3681a448973_2_5436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0" name="Google Shape;9330;g3681a448973_2_5436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31" name="Google Shape;9331;g3681a448973_2_5436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32" name="Google Shape;9332;g3681a448973_2_54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33" name="Google Shape;9333;g3681a448973_2_54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34" name="Google Shape;9334;g3681a448973_2_543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g3681a448973_2_54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g3681a448973_2_54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g3681a448973_2_543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39" name="Google Shape;9339;g3681a448973_2_54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40" name="Google Shape;9340;g3681a448973_2_543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41" name="Google Shape;9341;g3681a448973_2_54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2" name="Google Shape;9342;g3681a448973_2_54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43" name="Google Shape;9343;g3681a448973_2_543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4" name="Google Shape;9344;g3681a448973_2_543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5" name="Google Shape;9345;g3681a448973_2_54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6" name="Google Shape;9346;g3681a448973_2_54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9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48" name="Google Shape;9348;g3681a448973_2_5438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49" name="Google Shape;9349;g3681a448973_2_5438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50" name="Google Shape;9350;g3681a448973_2_5438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51" name="Google Shape;9351;g3681a448973_2_5438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2" name="Google Shape;9352;g3681a448973_2_5438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3" name="Google Shape;9353;g3681a448973_2_5438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54" name="Google Shape;9354;g3681a448973_2_543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55" name="Google Shape;9355;g3681a448973_2_543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9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7" name="Google Shape;9357;g3681a448973_2_543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58" name="Google Shape;9358;g3681a448973_2_54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59" name="Google Shape;9359;g3681a448973_2_54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60" name="Google Shape;9360;g3681a448973_2_543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61" name="Google Shape;9361;g3681a448973_2_54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62" name="Google Shape;9362;g3681a448973_2_543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63" name="Google Shape;9363;g3681a448973_2_54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64" name="Google Shape;9364;g3681a448973_2_54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9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6" name="Google Shape;9366;g3681a448973_2_544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7" name="Google Shape;9367;g3681a448973_2_544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68" name="Google Shape;9368;g3681a448973_2_544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69" name="Google Shape;9369;g3681a448973_2_544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70" name="Google Shape;9370;g3681a448973_2_544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1" name="Google Shape;9371;g3681a448973_2_544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72" name="Google Shape;9372;g3681a448973_2_544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3" name="Google Shape;9373;g3681a448973_2_544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9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75" name="Google Shape;9375;g3681a448973_2_5441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6" name="Google Shape;9376;g3681a448973_2_5441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7" name="Google Shape;9377;g3681a448973_2_544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8" name="Google Shape;9378;g3681a448973_2_544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9" name="Google Shape;9379;g3681a448973_2_54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0" name="Google Shape;9380;g3681a448973_2_54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1" name="Google Shape;9381;g3681a448973_2_544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82" name="Google Shape;9382;g3681a448973_2_54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3" name="Google Shape;9383;g3681a448973_2_544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84" name="Google Shape;9384;g3681a448973_2_54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85" name="Google Shape;9385;g3681a448973_2_54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86" name="Google Shape;9386;g3681a448973_2_544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9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8" name="Google Shape;9388;g3681a448973_2_5442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9" name="Google Shape;9389;g3681a448973_2_5442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90" name="Google Shape;9390;g3681a448973_2_544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91" name="Google Shape;9391;g3681a448973_2_544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92" name="Google Shape;9392;g3681a448973_2_544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93" name="Google Shape;9393;g3681a448973_2_54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94" name="Google Shape;9394;g3681a448973_2_544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95" name="Google Shape;9395;g3681a448973_2_54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96" name="Google Shape;9396;g3681a448973_2_544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97" name="Google Shape;9397;g3681a448973_2_544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8" name="Google Shape;9398;g3681a448973_2_544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9" name="Google Shape;9399;g3681a448973_2_544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g3681a448973_2_139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g3681a448973_2_1399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0" name="Google Shape;1010;g3681a448973_2_1399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11" name="Google Shape;1011;g3681a448973_2_13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2" name="Google Shape;1012;g3681a448973_2_139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3" name="Google Shape;1013;g3681a448973_2_13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4" name="Google Shape;1014;g3681a448973_2_13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5" name="Google Shape;1015;g3681a448973_2_1399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g3681a448973_2_1399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g3681a448973_2_13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g3681a448973_2_13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9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1" name="Google Shape;9401;g3681a448973_2_5444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2" name="Google Shape;9402;g3681a448973_2_5444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g3681a448973_2_5444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404" name="Google Shape;9404;g3681a448973_2_544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405" name="Google Shape;9405;g3681a448973_2_5444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406" name="Google Shape;9406;g3681a448973_2_544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07" name="Google Shape;9407;g3681a448973_2_544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08" name="Google Shape;9408;g3681a448973_2_54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9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10" name="Google Shape;9410;g3681a448973_2_5445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411" name="Google Shape;9411;g3681a448973_2_544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12" name="Google Shape;9412;g3681a448973_2_544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13" name="Google Shape;9413;g3681a448973_2_544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14" name="Google Shape;9414;g3681a448973_2_544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15" name="Google Shape;9415;g3681a448973_2_5445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16" name="Google Shape;9416;g3681a448973_2_5445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9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8" name="Google Shape;9418;g3681a448973_2_5445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19" name="Google Shape;9419;g3681a448973_2_5445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420" name="Google Shape;9420;g3681a448973_2_5445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421" name="Google Shape;9421;g3681a448973_2_5445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2" name="Google Shape;9422;g3681a448973_2_5445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23" name="Google Shape;9423;g3681a448973_2_5445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424" name="Google Shape;9424;g3681a448973_2_544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9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6" name="Google Shape;9426;g3681a448973_2_544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7" name="Google Shape;9427;g3681a448973_2_544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8" name="Google Shape;9428;g3681a448973_2_544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9" name="Google Shape;9429;g3681a448973_2_544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0" name="Google Shape;9430;g3681a448973_2_54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1" name="Google Shape;9431;g3681a448973_2_54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32" name="Google Shape;9432;g3681a448973_2_544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33" name="Google Shape;9433;g3681a448973_2_54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34" name="Google Shape;9434;g3681a448973_2_544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35" name="Google Shape;9435;g3681a448973_2_54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36" name="Google Shape;9436;g3681a448973_2_54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7" name="Google Shape;9437;g3681a448973_2_544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Quotation">
  <p:cSld name="31_Quotation">
    <p:spTree>
      <p:nvGrpSpPr>
        <p:cNvPr id="1" name="Shape 9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9" name="Google Shape;9439;g3681a448973_2_5447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40" name="Google Shape;9440;g3681a448973_2_5447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41" name="Google Shape;9441;g3681a448973_2_54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42" name="Google Shape;9442;g3681a448973_2_544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43" name="Google Shape;9443;g3681a448973_2_54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44" name="Google Shape;9444;g3681a448973_2_54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45" name="Google Shape;9445;g3681a448973_2_544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46" name="Google Shape;9446;g3681a448973_2_54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7" name="Google Shape;9447;g3681a448973_2_544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48" name="Google Shape;9448;g3681a448973_2_54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9" name="Google Shape;9449;g3681a448973_2_54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50" name="Google Shape;9450;g3681a448973_2_544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9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52" name="Google Shape;9452;g3681a448973_2_5449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53" name="Google Shape;9453;g3681a448973_2_54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54" name="Google Shape;9454;g3681a448973_2_544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55" name="Google Shape;9455;g3681a448973_2_54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56" name="Google Shape;9456;g3681a448973_2_54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7" name="Google Shape;9457;g3681a448973_2_54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8" name="Google Shape;9458;g3681a448973_2_54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59" name="Google Shape;9459;g3681a448973_2_544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60" name="Google Shape;9460;g3681a448973_2_54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61" name="Google Shape;9461;g3681a448973_2_54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9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3" name="Google Shape;9463;g3681a448973_2_545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4" name="Google Shape;9464;g3681a448973_2_5450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465" name="Google Shape;9465;g3681a448973_2_545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66" name="Google Shape;9466;g3681a448973_2_545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67" name="Google Shape;9467;g3681a448973_2_545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68" name="Google Shape;9468;g3681a448973_2_545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9" name="Google Shape;9469;g3681a448973_2_545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70" name="Google Shape;9470;g3681a448973_2_5450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1" name="Google Shape;9471;g3681a448973_2_5450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72" name="Google Shape;9472;g3681a448973_2_545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73" name="Google Shape;9473;g3681a448973_2_545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9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75" name="Google Shape;9475;g3681a448973_2_545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76" name="Google Shape;9476;g3681a448973_2_54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77" name="Google Shape;9477;g3681a448973_2_545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78" name="Google Shape;9478;g3681a448973_2_54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79" name="Google Shape;9479;g3681a448973_2_54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80" name="Google Shape;9480;g3681a448973_2_5451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1" name="Google Shape;9481;g3681a448973_2_5451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82" name="Google Shape;9482;g3681a448973_2_5451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3" name="Google Shape;9483;g3681a448973_2_545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84" name="Google Shape;9484;g3681a448973_2_545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5" name="Google Shape;9485;g3681a448973_2_545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86" name="Google Shape;9486;g3681a448973_2_54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87" name="Google Shape;9487;g3681a448973_2_54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9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9" name="Google Shape;9489;g3681a448973_2_545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90" name="Google Shape;9490;g3681a448973_2_54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91" name="Google Shape;9491;g3681a448973_2_545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92" name="Google Shape;9492;g3681a448973_2_54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93" name="Google Shape;9493;g3681a448973_2_54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94" name="Google Shape;9494;g3681a448973_2_545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5" name="Google Shape;9495;g3681a448973_2_545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6" name="Google Shape;9496;g3681a448973_2_54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97" name="Google Shape;9497;g3681a448973_2_54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9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99" name="Google Shape;9499;g3681a448973_2_54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500" name="Google Shape;9500;g3681a448973_2_54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01" name="Google Shape;9501;g3681a448973_2_54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02" name="Google Shape;9502;g3681a448973_2_5453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03" name="Google Shape;9503;g3681a448973_2_5453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4" name="Google Shape;9504;g3681a448973_2_54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505" name="Google Shape;9505;g3681a448973_2_54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506" name="Google Shape;9506;g3681a448973_2_54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0" name="Google Shape;1020;g3681a448973_2_140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21" name="Google Shape;1021;g3681a448973_2_140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2" name="Google Shape;1022;g3681a448973_2_140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3" name="Google Shape;1023;g3681a448973_2_140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4" name="Google Shape;1024;g3681a448973_2_140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5" name="Google Shape;1025;g3681a448973_2_1400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g3681a448973_2_1400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7" name="Google Shape;1027;g3681a448973_2_1400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g3681a448973_2_1400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9" name="Google Shape;1029;g3681a448973_2_1400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" name="Google Shape;1030;g3681a448973_2_140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1" name="Google Shape;1031;g3681a448973_2_140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" name="Google Shape;1032;g3681a448973_2_140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9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8" name="Google Shape;9508;g3681a448973_2_545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9" name="Google Shape;9509;g3681a448973_2_54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10" name="Google Shape;9510;g3681a448973_2_54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1" name="Google Shape;9511;g3681a448973_2_545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12" name="Google Shape;9512;g3681a448973_2_54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13" name="Google Shape;9513;g3681a448973_2_545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14" name="Google Shape;9514;g3681a448973_2_54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15" name="Google Shape;9515;g3681a448973_2_54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9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7" name="Google Shape;9517;g3681a448973_2_545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18" name="Google Shape;9518;g3681a448973_2_545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19" name="Google Shape;9519;g3681a448973_2_545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0" name="Google Shape;9520;g3681a448973_2_545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21" name="Google Shape;9521;g3681a448973_2_54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2" name="Google Shape;9522;g3681a448973_2_54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23" name="Google Shape;9523;g3681a448973_2_545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24" name="Google Shape;9524;g3681a448973_2_54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25" name="Google Shape;9525;g3681a448973_2_545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26" name="Google Shape;9526;g3681a448973_2_54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7" name="Google Shape;9527;g3681a448973_2_54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28" name="Google Shape;9528;g3681a448973_2_5455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9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0" name="Google Shape;9530;g3681a448973_2_5457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31" name="Google Shape;9531;g3681a448973_2_5457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32" name="Google Shape;9532;g3681a448973_2_545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33" name="Google Shape;9533;g3681a448973_2_545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34" name="Google Shape;9534;g3681a448973_2_54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35" name="Google Shape;9535;g3681a448973_2_54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36" name="Google Shape;9536;g3681a448973_2_545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37" name="Google Shape;9537;g3681a448973_2_54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8" name="Google Shape;9538;g3681a448973_2_545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39" name="Google Shape;9539;g3681a448973_2_54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40" name="Google Shape;9540;g3681a448973_2_54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41" name="Google Shape;9541;g3681a448973_2_545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Quotation">
  <p:cSld name="36_Quotation">
    <p:spTree>
      <p:nvGrpSpPr>
        <p:cNvPr id="1" name="Shape 9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" name="Google Shape;9543;g3681a448973_2_5458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44" name="Google Shape;9544;g3681a448973_2_5458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5" name="Google Shape;9545;g3681a448973_2_545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46" name="Google Shape;9546;g3681a448973_2_545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47" name="Google Shape;9547;g3681a448973_2_545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48" name="Google Shape;9548;g3681a448973_2_54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49" name="Google Shape;9549;g3681a448973_2_545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50" name="Google Shape;9550;g3681a448973_2_545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1" name="Google Shape;9551;g3681a448973_2_545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52" name="Google Shape;9552;g3681a448973_2_545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3" name="Google Shape;9553;g3681a448973_2_545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54" name="Google Shape;9554;g3681a448973_2_545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9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6" name="Google Shape;9556;g3681a448973_2_5459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57" name="Google Shape;9557;g3681a448973_2_5459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g3681a448973_2_545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g3681a448973_2_545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g3681a448973_2_54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g3681a448973_2_54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62" name="Google Shape;9562;g3681a448973_2_545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63" name="Google Shape;9563;g3681a448973_2_54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4" name="Google Shape;9564;g3681a448973_2_54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65" name="Google Shape;9565;g3681a448973_2_54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66" name="Google Shape;9566;g3681a448973_2_54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7" name="Google Shape;9567;g3681a448973_2_545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9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9" name="Google Shape;9569;g3681a448973_2_5460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70" name="Google Shape;9570;g3681a448973_2_5460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71" name="Google Shape;9571;g3681a448973_2_5460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572" name="Google Shape;9572;g3681a448973_2_54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573" name="Google Shape;9573;g3681a448973_2_5460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574" name="Google Shape;9574;g3681a448973_2_54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5" name="Google Shape;9575;g3681a448973_2_54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76" name="Google Shape;9576;g3681a448973_2_54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9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78" name="Google Shape;9578;g3681a448973_2_5461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579" name="Google Shape;9579;g3681a448973_2_546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0" name="Google Shape;9580;g3681a448973_2_546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1" name="Google Shape;9581;g3681a448973_2_546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82" name="Google Shape;9582;g3681a448973_2_54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83" name="Google Shape;9583;g3681a448973_2_5461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4" name="Google Shape;9584;g3681a448973_2_5461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9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6" name="Google Shape;9586;g3681a448973_2_5462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87" name="Google Shape;9587;g3681a448973_2_5462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88" name="Google Shape;9588;g3681a448973_2_5462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589" name="Google Shape;9589;g3681a448973_2_546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90" name="Google Shape;9590;g3681a448973_2_546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91" name="Google Shape;9591;g3681a448973_2_546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592" name="Google Shape;9592;g3681a448973_2_546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Quotation">
  <p:cSld name="38_Quotation">
    <p:spTree>
      <p:nvGrpSpPr>
        <p:cNvPr id="1" name="Shape 9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4" name="Google Shape;9594;g3681a448973_2_5463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5" name="Google Shape;9595;g3681a448973_2_5463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96" name="Google Shape;9596;g3681a448973_2_546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97" name="Google Shape;9597;g3681a448973_2_5463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98" name="Google Shape;9598;g3681a448973_2_546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99" name="Google Shape;9599;g3681a448973_2_546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0" name="Google Shape;9600;g3681a448973_2_5463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01" name="Google Shape;9601;g3681a448973_2_546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2" name="Google Shape;9602;g3681a448973_2_546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03" name="Google Shape;9603;g3681a448973_2_546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04" name="Google Shape;9604;g3681a448973_2_546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05" name="Google Shape;9605;g3681a448973_2_546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9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07" name="Google Shape;9607;g3681a448973_2_5464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08" name="Google Shape;9608;g3681a448973_2_54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g3681a448973_2_546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10" name="Google Shape;9610;g3681a448973_2_546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11" name="Google Shape;9611;g3681a448973_2_546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12" name="Google Shape;9612;g3681a448973_2_546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3" name="Google Shape;9613;g3681a448973_2_546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14" name="Google Shape;9614;g3681a448973_2_5464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5" name="Google Shape;9615;g3681a448973_2_546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16" name="Google Shape;9616;g3681a448973_2_546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1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" name="Google Shape;1034;g3681a448973_2_1402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35" name="Google Shape;1035;g3681a448973_2_140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g3681a448973_2_1402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7" name="Google Shape;1037;g3681a448973_2_140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g3681a448973_2_140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g3681a448973_2_140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" name="Google Shape;1040;g3681a448973_2_1402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g3681a448973_2_140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g3681a448973_2_140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9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8" name="Google Shape;9618;g3681a448973_2_54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9" name="Google Shape;9619;g3681a448973_2_5465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20" name="Google Shape;9620;g3681a448973_2_546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21" name="Google Shape;9621;g3681a448973_2_54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2" name="Google Shape;9622;g3681a448973_2_546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23" name="Google Shape;9623;g3681a448973_2_54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24" name="Google Shape;9624;g3681a448973_2_54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25" name="Google Shape;9625;g3681a448973_2_5465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6" name="Google Shape;9626;g3681a448973_2_5465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7" name="Google Shape;9627;g3681a448973_2_54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8" name="Google Shape;9628;g3681a448973_2_54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9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30" name="Google Shape;9630;g3681a448973_2_546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31" name="Google Shape;9631;g3681a448973_2_54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32" name="Google Shape;9632;g3681a448973_2_546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33" name="Google Shape;9633;g3681a448973_2_54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34" name="Google Shape;9634;g3681a448973_2_54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35" name="Google Shape;9635;g3681a448973_2_5467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6" name="Google Shape;9636;g3681a448973_2_5467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7" name="Google Shape;9637;g3681a448973_2_5467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8" name="Google Shape;9638;g3681a448973_2_546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9" name="Google Shape;9639;g3681a448973_2_546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40" name="Google Shape;9640;g3681a448973_2_546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1" name="Google Shape;9641;g3681a448973_2_54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2" name="Google Shape;9642;g3681a448973_2_54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9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4" name="Google Shape;9644;g3681a448973_2_546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45" name="Google Shape;9645;g3681a448973_2_546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6" name="Google Shape;9646;g3681a448973_2_546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47" name="Google Shape;9647;g3681a448973_2_546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48" name="Google Shape;9648;g3681a448973_2_546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49" name="Google Shape;9649;g3681a448973_2_546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0" name="Google Shape;9650;g3681a448973_2_546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51" name="Google Shape;9651;g3681a448973_2_546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52" name="Google Shape;9652;g3681a448973_2_546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9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4" name="Google Shape;9654;g3681a448973_2_5469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5" name="Google Shape;9655;g3681a448973_2_5469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56" name="Google Shape;9656;g3681a448973_2_5469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57" name="Google Shape;9657;g3681a448973_2_5469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58" name="Google Shape;9658;g3681a448973_2_5469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9" name="Google Shape;9659;g3681a448973_2_5469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60" name="Google Shape;9660;g3681a448973_2_546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61" name="Google Shape;9661;g3681a448973_2_546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9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3" name="Google Shape;9663;g3681a448973_2_5470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4" name="Google Shape;9664;g3681a448973_2_54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5" name="Google Shape;9665;g3681a448973_2_54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6" name="Google Shape;9666;g3681a448973_2_547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67" name="Google Shape;9667;g3681a448973_2_54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8" name="Google Shape;9668;g3681a448973_2_547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69" name="Google Shape;9669;g3681a448973_2_54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70" name="Google Shape;9670;g3681a448973_2_54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9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2" name="Google Shape;9672;g3681a448973_2_5471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73" name="Google Shape;9673;g3681a448973_2_5471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4" name="Google Shape;9674;g3681a448973_2_5471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5" name="Google Shape;9675;g3681a448973_2_547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6" name="Google Shape;9676;g3681a448973_2_5471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677" name="Google Shape;9677;g3681a448973_2_547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78" name="Google Shape;9678;g3681a448973_2_5471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79" name="Google Shape;9679;g3681a448973_2_54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9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81" name="Google Shape;9681;g3681a448973_2_5472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682" name="Google Shape;9682;g3681a448973_2_5472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83" name="Google Shape;9683;g3681a448973_2_54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84" name="Google Shape;9684;g3681a448973_2_5472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85" name="Google Shape;9685;g3681a448973_2_54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6" name="Google Shape;9686;g3681a448973_2_5472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7" name="Google Shape;9687;g3681a448973_2_5472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9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9" name="Google Shape;9689;g3681a448973_2_5472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90" name="Google Shape;9690;g3681a448973_2_5472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91" name="Google Shape;9691;g3681a448973_2_5472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692" name="Google Shape;9692;g3681a448973_2_547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3" name="Google Shape;9693;g3681a448973_2_547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94" name="Google Shape;9694;g3681a448973_2_547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695" name="Google Shape;9695;g3681a448973_2_547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Quotation">
  <p:cSld name="41_Quotation">
    <p:spTree>
      <p:nvGrpSpPr>
        <p:cNvPr id="1" name="Shape 9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7" name="Google Shape;9697;g3681a448973_2_5473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98" name="Google Shape;9698;g3681a448973_2_5473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9" name="Google Shape;9699;g3681a448973_2_547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00" name="Google Shape;9700;g3681a448973_2_5473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01" name="Google Shape;9701;g3681a448973_2_547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02" name="Google Shape;9702;g3681a448973_2_547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03" name="Google Shape;9703;g3681a448973_2_5473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04" name="Google Shape;9704;g3681a448973_2_547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5" name="Google Shape;9705;g3681a448973_2_547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06" name="Google Shape;9706;g3681a448973_2_547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7" name="Google Shape;9707;g3681a448973_2_547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08" name="Google Shape;9708;g3681a448973_2_547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9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10" name="Google Shape;9710;g3681a448973_2_547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11" name="Google Shape;9711;g3681a448973_2_54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12" name="Google Shape;9712;g3681a448973_2_547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13" name="Google Shape;9713;g3681a448973_2_54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14" name="Google Shape;9714;g3681a448973_2_54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15" name="Google Shape;9715;g3681a448973_2_54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6" name="Google Shape;9716;g3681a448973_2_54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17" name="Google Shape;9717;g3681a448973_2_547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18" name="Google Shape;9718;g3681a448973_2_54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19" name="Google Shape;9719;g3681a448973_2_54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377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46" Type="http://schemas.openxmlformats.org/officeDocument/2006/relationships/slideLayout" Target="../slideLayouts/slideLayout346.xml"/><Relationship Id="rId388" Type="http://schemas.openxmlformats.org/officeDocument/2006/relationships/slideLayout" Target="../slideLayouts/slideLayout388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248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230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241" Type="http://schemas.openxmlformats.org/officeDocument/2006/relationships/slideLayout" Target="../slideLayouts/slideLayout241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theme" Target="../theme/theme1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331" Type="http://schemas.openxmlformats.org/officeDocument/2006/relationships/slideLayout" Target="../slideLayouts/slideLayout331.xml"/><Relationship Id="rId352" Type="http://schemas.openxmlformats.org/officeDocument/2006/relationships/slideLayout" Target="../slideLayouts/slideLayout352.xml"/><Relationship Id="rId373" Type="http://schemas.openxmlformats.org/officeDocument/2006/relationships/slideLayout" Target="../slideLayouts/slideLayout373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75" Type="http://schemas.openxmlformats.org/officeDocument/2006/relationships/slideLayout" Target="../slideLayouts/slideLayout275.xml"/><Relationship Id="rId296" Type="http://schemas.openxmlformats.org/officeDocument/2006/relationships/slideLayout" Target="../slideLayouts/slideLayout296.xml"/><Relationship Id="rId300" Type="http://schemas.openxmlformats.org/officeDocument/2006/relationships/slideLayout" Target="../slideLayouts/slideLayout300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42" Type="http://schemas.openxmlformats.org/officeDocument/2006/relationships/slideLayout" Target="../slideLayouts/slideLayout342.xml"/><Relationship Id="rId363" Type="http://schemas.openxmlformats.org/officeDocument/2006/relationships/slideLayout" Target="../slideLayouts/slideLayout363.xml"/><Relationship Id="rId384" Type="http://schemas.openxmlformats.org/officeDocument/2006/relationships/slideLayout" Target="../slideLayouts/slideLayout384.xml"/><Relationship Id="rId419" Type="http://schemas.openxmlformats.org/officeDocument/2006/relationships/slideLayout" Target="../slideLayouts/slideLayout419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286" Type="http://schemas.openxmlformats.org/officeDocument/2006/relationships/slideLayout" Target="../slideLayouts/slideLayout286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32" Type="http://schemas.openxmlformats.org/officeDocument/2006/relationships/slideLayout" Target="../slideLayouts/slideLayout332.xml"/><Relationship Id="rId353" Type="http://schemas.openxmlformats.org/officeDocument/2006/relationships/slideLayout" Target="../slideLayouts/slideLayout353.xml"/><Relationship Id="rId374" Type="http://schemas.openxmlformats.org/officeDocument/2006/relationships/slideLayout" Target="../slideLayouts/slideLayout374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420" Type="http://schemas.openxmlformats.org/officeDocument/2006/relationships/slideLayout" Target="../slideLayouts/slideLayout420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96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400" Type="http://schemas.openxmlformats.org/officeDocument/2006/relationships/slideLayout" Target="../slideLayouts/slideLayout400.xml"/><Relationship Id="rId421" Type="http://schemas.openxmlformats.org/officeDocument/2006/relationships/slideLayout" Target="../slideLayouts/slideLayout421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397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22" Type="http://schemas.openxmlformats.org/officeDocument/2006/relationships/slideLayout" Target="../slideLayouts/slideLayout422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24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251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220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44.xml"/><Relationship Id="rId299" Type="http://schemas.openxmlformats.org/officeDocument/2006/relationships/slideLayout" Target="../slideLayouts/slideLayout726.xml"/><Relationship Id="rId21" Type="http://schemas.openxmlformats.org/officeDocument/2006/relationships/slideLayout" Target="../slideLayouts/slideLayout448.xml"/><Relationship Id="rId63" Type="http://schemas.openxmlformats.org/officeDocument/2006/relationships/slideLayout" Target="../slideLayouts/slideLayout490.xml"/><Relationship Id="rId159" Type="http://schemas.openxmlformats.org/officeDocument/2006/relationships/slideLayout" Target="../slideLayouts/slideLayout586.xml"/><Relationship Id="rId324" Type="http://schemas.openxmlformats.org/officeDocument/2006/relationships/slideLayout" Target="../slideLayouts/slideLayout751.xml"/><Relationship Id="rId366" Type="http://schemas.openxmlformats.org/officeDocument/2006/relationships/slideLayout" Target="../slideLayouts/slideLayout793.xml"/><Relationship Id="rId170" Type="http://schemas.openxmlformats.org/officeDocument/2006/relationships/slideLayout" Target="../slideLayouts/slideLayout597.xml"/><Relationship Id="rId226" Type="http://schemas.openxmlformats.org/officeDocument/2006/relationships/slideLayout" Target="../slideLayouts/slideLayout653.xml"/><Relationship Id="rId268" Type="http://schemas.openxmlformats.org/officeDocument/2006/relationships/slideLayout" Target="../slideLayouts/slideLayout695.xml"/><Relationship Id="rId32" Type="http://schemas.openxmlformats.org/officeDocument/2006/relationships/slideLayout" Target="../slideLayouts/slideLayout459.xml"/><Relationship Id="rId74" Type="http://schemas.openxmlformats.org/officeDocument/2006/relationships/slideLayout" Target="../slideLayouts/slideLayout501.xml"/><Relationship Id="rId128" Type="http://schemas.openxmlformats.org/officeDocument/2006/relationships/slideLayout" Target="../slideLayouts/slideLayout555.xml"/><Relationship Id="rId335" Type="http://schemas.openxmlformats.org/officeDocument/2006/relationships/slideLayout" Target="../slideLayouts/slideLayout762.xml"/><Relationship Id="rId377" Type="http://schemas.openxmlformats.org/officeDocument/2006/relationships/slideLayout" Target="../slideLayouts/slideLayout804.xml"/><Relationship Id="rId5" Type="http://schemas.openxmlformats.org/officeDocument/2006/relationships/slideLayout" Target="../slideLayouts/slideLayout432.xml"/><Relationship Id="rId181" Type="http://schemas.openxmlformats.org/officeDocument/2006/relationships/slideLayout" Target="../slideLayouts/slideLayout608.xml"/><Relationship Id="rId237" Type="http://schemas.openxmlformats.org/officeDocument/2006/relationships/slideLayout" Target="../slideLayouts/slideLayout664.xml"/><Relationship Id="rId402" Type="http://schemas.openxmlformats.org/officeDocument/2006/relationships/slideLayout" Target="../slideLayouts/slideLayout829.xml"/><Relationship Id="rId279" Type="http://schemas.openxmlformats.org/officeDocument/2006/relationships/slideLayout" Target="../slideLayouts/slideLayout706.xml"/><Relationship Id="rId43" Type="http://schemas.openxmlformats.org/officeDocument/2006/relationships/slideLayout" Target="../slideLayouts/slideLayout470.xml"/><Relationship Id="rId139" Type="http://schemas.openxmlformats.org/officeDocument/2006/relationships/slideLayout" Target="../slideLayouts/slideLayout566.xml"/><Relationship Id="rId290" Type="http://schemas.openxmlformats.org/officeDocument/2006/relationships/slideLayout" Target="../slideLayouts/slideLayout717.xml"/><Relationship Id="rId304" Type="http://schemas.openxmlformats.org/officeDocument/2006/relationships/slideLayout" Target="../slideLayouts/slideLayout731.xml"/><Relationship Id="rId346" Type="http://schemas.openxmlformats.org/officeDocument/2006/relationships/slideLayout" Target="../slideLayouts/slideLayout773.xml"/><Relationship Id="rId388" Type="http://schemas.openxmlformats.org/officeDocument/2006/relationships/slideLayout" Target="../slideLayouts/slideLayout815.xml"/><Relationship Id="rId85" Type="http://schemas.openxmlformats.org/officeDocument/2006/relationships/slideLayout" Target="../slideLayouts/slideLayout512.xml"/><Relationship Id="rId150" Type="http://schemas.openxmlformats.org/officeDocument/2006/relationships/slideLayout" Target="../slideLayouts/slideLayout577.xml"/><Relationship Id="rId192" Type="http://schemas.openxmlformats.org/officeDocument/2006/relationships/slideLayout" Target="../slideLayouts/slideLayout619.xml"/><Relationship Id="rId206" Type="http://schemas.openxmlformats.org/officeDocument/2006/relationships/slideLayout" Target="../slideLayouts/slideLayout633.xml"/><Relationship Id="rId413" Type="http://schemas.openxmlformats.org/officeDocument/2006/relationships/slideLayout" Target="../slideLayouts/slideLayout840.xml"/><Relationship Id="rId248" Type="http://schemas.openxmlformats.org/officeDocument/2006/relationships/slideLayout" Target="../slideLayouts/slideLayout675.xml"/><Relationship Id="rId12" Type="http://schemas.openxmlformats.org/officeDocument/2006/relationships/slideLayout" Target="../slideLayouts/slideLayout439.xml"/><Relationship Id="rId108" Type="http://schemas.openxmlformats.org/officeDocument/2006/relationships/slideLayout" Target="../slideLayouts/slideLayout535.xml"/><Relationship Id="rId315" Type="http://schemas.openxmlformats.org/officeDocument/2006/relationships/slideLayout" Target="../slideLayouts/slideLayout742.xml"/><Relationship Id="rId357" Type="http://schemas.openxmlformats.org/officeDocument/2006/relationships/slideLayout" Target="../slideLayouts/slideLayout784.xml"/><Relationship Id="rId54" Type="http://schemas.openxmlformats.org/officeDocument/2006/relationships/slideLayout" Target="../slideLayouts/slideLayout481.xml"/><Relationship Id="rId96" Type="http://schemas.openxmlformats.org/officeDocument/2006/relationships/slideLayout" Target="../slideLayouts/slideLayout523.xml"/><Relationship Id="rId161" Type="http://schemas.openxmlformats.org/officeDocument/2006/relationships/slideLayout" Target="../slideLayouts/slideLayout588.xml"/><Relationship Id="rId217" Type="http://schemas.openxmlformats.org/officeDocument/2006/relationships/slideLayout" Target="../slideLayouts/slideLayout644.xml"/><Relationship Id="rId399" Type="http://schemas.openxmlformats.org/officeDocument/2006/relationships/slideLayout" Target="../slideLayouts/slideLayout826.xml"/><Relationship Id="rId259" Type="http://schemas.openxmlformats.org/officeDocument/2006/relationships/slideLayout" Target="../slideLayouts/slideLayout686.xml"/><Relationship Id="rId424" Type="http://schemas.openxmlformats.org/officeDocument/2006/relationships/slideLayout" Target="../slideLayouts/slideLayout851.xml"/><Relationship Id="rId23" Type="http://schemas.openxmlformats.org/officeDocument/2006/relationships/slideLayout" Target="../slideLayouts/slideLayout450.xml"/><Relationship Id="rId119" Type="http://schemas.openxmlformats.org/officeDocument/2006/relationships/slideLayout" Target="../slideLayouts/slideLayout546.xml"/><Relationship Id="rId270" Type="http://schemas.openxmlformats.org/officeDocument/2006/relationships/slideLayout" Target="../slideLayouts/slideLayout697.xml"/><Relationship Id="rId326" Type="http://schemas.openxmlformats.org/officeDocument/2006/relationships/slideLayout" Target="../slideLayouts/slideLayout753.xml"/><Relationship Id="rId65" Type="http://schemas.openxmlformats.org/officeDocument/2006/relationships/slideLayout" Target="../slideLayouts/slideLayout492.xml"/><Relationship Id="rId130" Type="http://schemas.openxmlformats.org/officeDocument/2006/relationships/slideLayout" Target="../slideLayouts/slideLayout557.xml"/><Relationship Id="rId368" Type="http://schemas.openxmlformats.org/officeDocument/2006/relationships/slideLayout" Target="../slideLayouts/slideLayout795.xml"/><Relationship Id="rId172" Type="http://schemas.openxmlformats.org/officeDocument/2006/relationships/slideLayout" Target="../slideLayouts/slideLayout599.xml"/><Relationship Id="rId228" Type="http://schemas.openxmlformats.org/officeDocument/2006/relationships/slideLayout" Target="../slideLayouts/slideLayout655.xml"/><Relationship Id="rId281" Type="http://schemas.openxmlformats.org/officeDocument/2006/relationships/slideLayout" Target="../slideLayouts/slideLayout708.xml"/><Relationship Id="rId337" Type="http://schemas.openxmlformats.org/officeDocument/2006/relationships/slideLayout" Target="../slideLayouts/slideLayout764.xml"/><Relationship Id="rId34" Type="http://schemas.openxmlformats.org/officeDocument/2006/relationships/slideLayout" Target="../slideLayouts/slideLayout461.xml"/><Relationship Id="rId76" Type="http://schemas.openxmlformats.org/officeDocument/2006/relationships/slideLayout" Target="../slideLayouts/slideLayout503.xml"/><Relationship Id="rId141" Type="http://schemas.openxmlformats.org/officeDocument/2006/relationships/slideLayout" Target="../slideLayouts/slideLayout568.xml"/><Relationship Id="rId379" Type="http://schemas.openxmlformats.org/officeDocument/2006/relationships/slideLayout" Target="../slideLayouts/slideLayout806.xml"/><Relationship Id="rId7" Type="http://schemas.openxmlformats.org/officeDocument/2006/relationships/slideLayout" Target="../slideLayouts/slideLayout434.xml"/><Relationship Id="rId183" Type="http://schemas.openxmlformats.org/officeDocument/2006/relationships/slideLayout" Target="../slideLayouts/slideLayout610.xml"/><Relationship Id="rId239" Type="http://schemas.openxmlformats.org/officeDocument/2006/relationships/slideLayout" Target="../slideLayouts/slideLayout666.xml"/><Relationship Id="rId390" Type="http://schemas.openxmlformats.org/officeDocument/2006/relationships/slideLayout" Target="../slideLayouts/slideLayout817.xml"/><Relationship Id="rId404" Type="http://schemas.openxmlformats.org/officeDocument/2006/relationships/slideLayout" Target="../slideLayouts/slideLayout831.xml"/><Relationship Id="rId250" Type="http://schemas.openxmlformats.org/officeDocument/2006/relationships/slideLayout" Target="../slideLayouts/slideLayout677.xml"/><Relationship Id="rId292" Type="http://schemas.openxmlformats.org/officeDocument/2006/relationships/slideLayout" Target="../slideLayouts/slideLayout719.xml"/><Relationship Id="rId306" Type="http://schemas.openxmlformats.org/officeDocument/2006/relationships/slideLayout" Target="../slideLayouts/slideLayout733.xml"/><Relationship Id="rId45" Type="http://schemas.openxmlformats.org/officeDocument/2006/relationships/slideLayout" Target="../slideLayouts/slideLayout472.xml"/><Relationship Id="rId87" Type="http://schemas.openxmlformats.org/officeDocument/2006/relationships/slideLayout" Target="../slideLayouts/slideLayout514.xml"/><Relationship Id="rId110" Type="http://schemas.openxmlformats.org/officeDocument/2006/relationships/slideLayout" Target="../slideLayouts/slideLayout537.xml"/><Relationship Id="rId348" Type="http://schemas.openxmlformats.org/officeDocument/2006/relationships/slideLayout" Target="../slideLayouts/slideLayout775.xml"/><Relationship Id="rId152" Type="http://schemas.openxmlformats.org/officeDocument/2006/relationships/slideLayout" Target="../slideLayouts/slideLayout579.xml"/><Relationship Id="rId194" Type="http://schemas.openxmlformats.org/officeDocument/2006/relationships/slideLayout" Target="../slideLayouts/slideLayout621.xml"/><Relationship Id="rId208" Type="http://schemas.openxmlformats.org/officeDocument/2006/relationships/slideLayout" Target="../slideLayouts/slideLayout635.xml"/><Relationship Id="rId415" Type="http://schemas.openxmlformats.org/officeDocument/2006/relationships/slideLayout" Target="../slideLayouts/slideLayout842.xml"/><Relationship Id="rId261" Type="http://schemas.openxmlformats.org/officeDocument/2006/relationships/slideLayout" Target="../slideLayouts/slideLayout688.xml"/><Relationship Id="rId14" Type="http://schemas.openxmlformats.org/officeDocument/2006/relationships/slideLayout" Target="../slideLayouts/slideLayout441.xml"/><Relationship Id="rId56" Type="http://schemas.openxmlformats.org/officeDocument/2006/relationships/slideLayout" Target="../slideLayouts/slideLayout483.xml"/><Relationship Id="rId317" Type="http://schemas.openxmlformats.org/officeDocument/2006/relationships/slideLayout" Target="../slideLayouts/slideLayout744.xml"/><Relationship Id="rId359" Type="http://schemas.openxmlformats.org/officeDocument/2006/relationships/slideLayout" Target="../slideLayouts/slideLayout786.xml"/><Relationship Id="rId98" Type="http://schemas.openxmlformats.org/officeDocument/2006/relationships/slideLayout" Target="../slideLayouts/slideLayout525.xml"/><Relationship Id="rId121" Type="http://schemas.openxmlformats.org/officeDocument/2006/relationships/slideLayout" Target="../slideLayouts/slideLayout548.xml"/><Relationship Id="rId163" Type="http://schemas.openxmlformats.org/officeDocument/2006/relationships/slideLayout" Target="../slideLayouts/slideLayout590.xml"/><Relationship Id="rId219" Type="http://schemas.openxmlformats.org/officeDocument/2006/relationships/slideLayout" Target="../slideLayouts/slideLayout646.xml"/><Relationship Id="rId370" Type="http://schemas.openxmlformats.org/officeDocument/2006/relationships/slideLayout" Target="../slideLayouts/slideLayout797.xml"/><Relationship Id="rId426" Type="http://schemas.openxmlformats.org/officeDocument/2006/relationships/slideLayout" Target="../slideLayouts/slideLayout853.xml"/><Relationship Id="rId230" Type="http://schemas.openxmlformats.org/officeDocument/2006/relationships/slideLayout" Target="../slideLayouts/slideLayout657.xml"/><Relationship Id="rId25" Type="http://schemas.openxmlformats.org/officeDocument/2006/relationships/slideLayout" Target="../slideLayouts/slideLayout452.xml"/><Relationship Id="rId67" Type="http://schemas.openxmlformats.org/officeDocument/2006/relationships/slideLayout" Target="../slideLayouts/slideLayout494.xml"/><Relationship Id="rId272" Type="http://schemas.openxmlformats.org/officeDocument/2006/relationships/slideLayout" Target="../slideLayouts/slideLayout699.xml"/><Relationship Id="rId328" Type="http://schemas.openxmlformats.org/officeDocument/2006/relationships/slideLayout" Target="../slideLayouts/slideLayout755.xml"/><Relationship Id="rId132" Type="http://schemas.openxmlformats.org/officeDocument/2006/relationships/slideLayout" Target="../slideLayouts/slideLayout559.xml"/><Relationship Id="rId174" Type="http://schemas.openxmlformats.org/officeDocument/2006/relationships/slideLayout" Target="../slideLayouts/slideLayout601.xml"/><Relationship Id="rId381" Type="http://schemas.openxmlformats.org/officeDocument/2006/relationships/slideLayout" Target="../slideLayouts/slideLayout808.xml"/><Relationship Id="rId241" Type="http://schemas.openxmlformats.org/officeDocument/2006/relationships/slideLayout" Target="../slideLayouts/slideLayout668.xml"/><Relationship Id="rId36" Type="http://schemas.openxmlformats.org/officeDocument/2006/relationships/slideLayout" Target="../slideLayouts/slideLayout463.xml"/><Relationship Id="rId283" Type="http://schemas.openxmlformats.org/officeDocument/2006/relationships/slideLayout" Target="../slideLayouts/slideLayout710.xml"/><Relationship Id="rId339" Type="http://schemas.openxmlformats.org/officeDocument/2006/relationships/slideLayout" Target="../slideLayouts/slideLayout766.xml"/><Relationship Id="rId78" Type="http://schemas.openxmlformats.org/officeDocument/2006/relationships/slideLayout" Target="../slideLayouts/slideLayout505.xml"/><Relationship Id="rId101" Type="http://schemas.openxmlformats.org/officeDocument/2006/relationships/slideLayout" Target="../slideLayouts/slideLayout528.xml"/><Relationship Id="rId143" Type="http://schemas.openxmlformats.org/officeDocument/2006/relationships/slideLayout" Target="../slideLayouts/slideLayout570.xml"/><Relationship Id="rId185" Type="http://schemas.openxmlformats.org/officeDocument/2006/relationships/slideLayout" Target="../slideLayouts/slideLayout612.xml"/><Relationship Id="rId350" Type="http://schemas.openxmlformats.org/officeDocument/2006/relationships/slideLayout" Target="../slideLayouts/slideLayout777.xml"/><Relationship Id="rId406" Type="http://schemas.openxmlformats.org/officeDocument/2006/relationships/slideLayout" Target="../slideLayouts/slideLayout833.xml"/><Relationship Id="rId9" Type="http://schemas.openxmlformats.org/officeDocument/2006/relationships/slideLayout" Target="../slideLayouts/slideLayout436.xml"/><Relationship Id="rId210" Type="http://schemas.openxmlformats.org/officeDocument/2006/relationships/slideLayout" Target="../slideLayouts/slideLayout637.xml"/><Relationship Id="rId392" Type="http://schemas.openxmlformats.org/officeDocument/2006/relationships/slideLayout" Target="../slideLayouts/slideLayout819.xml"/><Relationship Id="rId252" Type="http://schemas.openxmlformats.org/officeDocument/2006/relationships/slideLayout" Target="../slideLayouts/slideLayout679.xml"/><Relationship Id="rId294" Type="http://schemas.openxmlformats.org/officeDocument/2006/relationships/slideLayout" Target="../slideLayouts/slideLayout721.xml"/><Relationship Id="rId308" Type="http://schemas.openxmlformats.org/officeDocument/2006/relationships/slideLayout" Target="../slideLayouts/slideLayout735.xml"/><Relationship Id="rId47" Type="http://schemas.openxmlformats.org/officeDocument/2006/relationships/slideLayout" Target="../slideLayouts/slideLayout474.xml"/><Relationship Id="rId89" Type="http://schemas.openxmlformats.org/officeDocument/2006/relationships/slideLayout" Target="../slideLayouts/slideLayout516.xml"/><Relationship Id="rId112" Type="http://schemas.openxmlformats.org/officeDocument/2006/relationships/slideLayout" Target="../slideLayouts/slideLayout539.xml"/><Relationship Id="rId154" Type="http://schemas.openxmlformats.org/officeDocument/2006/relationships/slideLayout" Target="../slideLayouts/slideLayout581.xml"/><Relationship Id="rId361" Type="http://schemas.openxmlformats.org/officeDocument/2006/relationships/slideLayout" Target="../slideLayouts/slideLayout788.xml"/><Relationship Id="rId196" Type="http://schemas.openxmlformats.org/officeDocument/2006/relationships/slideLayout" Target="../slideLayouts/slideLayout623.xml"/><Relationship Id="rId417" Type="http://schemas.openxmlformats.org/officeDocument/2006/relationships/slideLayout" Target="../slideLayouts/slideLayout844.xml"/><Relationship Id="rId16" Type="http://schemas.openxmlformats.org/officeDocument/2006/relationships/slideLayout" Target="../slideLayouts/slideLayout443.xml"/><Relationship Id="rId221" Type="http://schemas.openxmlformats.org/officeDocument/2006/relationships/slideLayout" Target="../slideLayouts/slideLayout648.xml"/><Relationship Id="rId263" Type="http://schemas.openxmlformats.org/officeDocument/2006/relationships/slideLayout" Target="../slideLayouts/slideLayout690.xml"/><Relationship Id="rId319" Type="http://schemas.openxmlformats.org/officeDocument/2006/relationships/slideLayout" Target="../slideLayouts/slideLayout746.xml"/><Relationship Id="rId58" Type="http://schemas.openxmlformats.org/officeDocument/2006/relationships/slideLayout" Target="../slideLayouts/slideLayout485.xml"/><Relationship Id="rId123" Type="http://schemas.openxmlformats.org/officeDocument/2006/relationships/slideLayout" Target="../slideLayouts/slideLayout550.xml"/><Relationship Id="rId330" Type="http://schemas.openxmlformats.org/officeDocument/2006/relationships/slideLayout" Target="../slideLayouts/slideLayout757.xml"/><Relationship Id="rId165" Type="http://schemas.openxmlformats.org/officeDocument/2006/relationships/slideLayout" Target="../slideLayouts/slideLayout592.xml"/><Relationship Id="rId372" Type="http://schemas.openxmlformats.org/officeDocument/2006/relationships/slideLayout" Target="../slideLayouts/slideLayout799.xml"/><Relationship Id="rId428" Type="http://schemas.openxmlformats.org/officeDocument/2006/relationships/slideLayout" Target="../slideLayouts/slideLayout855.xml"/><Relationship Id="rId232" Type="http://schemas.openxmlformats.org/officeDocument/2006/relationships/slideLayout" Target="../slideLayouts/slideLayout659.xml"/><Relationship Id="rId274" Type="http://schemas.openxmlformats.org/officeDocument/2006/relationships/slideLayout" Target="../slideLayouts/slideLayout701.xml"/><Relationship Id="rId27" Type="http://schemas.openxmlformats.org/officeDocument/2006/relationships/slideLayout" Target="../slideLayouts/slideLayout454.xml"/><Relationship Id="rId69" Type="http://schemas.openxmlformats.org/officeDocument/2006/relationships/slideLayout" Target="../slideLayouts/slideLayout496.xml"/><Relationship Id="rId134" Type="http://schemas.openxmlformats.org/officeDocument/2006/relationships/slideLayout" Target="../slideLayouts/slideLayout561.xml"/><Relationship Id="rId80" Type="http://schemas.openxmlformats.org/officeDocument/2006/relationships/slideLayout" Target="../slideLayouts/slideLayout507.xml"/><Relationship Id="rId176" Type="http://schemas.openxmlformats.org/officeDocument/2006/relationships/slideLayout" Target="../slideLayouts/slideLayout603.xml"/><Relationship Id="rId341" Type="http://schemas.openxmlformats.org/officeDocument/2006/relationships/slideLayout" Target="../slideLayouts/slideLayout768.xml"/><Relationship Id="rId383" Type="http://schemas.openxmlformats.org/officeDocument/2006/relationships/slideLayout" Target="../slideLayouts/slideLayout810.xml"/><Relationship Id="rId201" Type="http://schemas.openxmlformats.org/officeDocument/2006/relationships/slideLayout" Target="../slideLayouts/slideLayout628.xml"/><Relationship Id="rId243" Type="http://schemas.openxmlformats.org/officeDocument/2006/relationships/slideLayout" Target="../slideLayouts/slideLayout670.xml"/><Relationship Id="rId285" Type="http://schemas.openxmlformats.org/officeDocument/2006/relationships/slideLayout" Target="../slideLayouts/slideLayout712.xml"/><Relationship Id="rId38" Type="http://schemas.openxmlformats.org/officeDocument/2006/relationships/slideLayout" Target="../slideLayouts/slideLayout465.xml"/><Relationship Id="rId103" Type="http://schemas.openxmlformats.org/officeDocument/2006/relationships/slideLayout" Target="../slideLayouts/slideLayout530.xml"/><Relationship Id="rId310" Type="http://schemas.openxmlformats.org/officeDocument/2006/relationships/slideLayout" Target="../slideLayouts/slideLayout737.xml"/><Relationship Id="rId91" Type="http://schemas.openxmlformats.org/officeDocument/2006/relationships/slideLayout" Target="../slideLayouts/slideLayout518.xml"/><Relationship Id="rId145" Type="http://schemas.openxmlformats.org/officeDocument/2006/relationships/slideLayout" Target="../slideLayouts/slideLayout572.xml"/><Relationship Id="rId187" Type="http://schemas.openxmlformats.org/officeDocument/2006/relationships/slideLayout" Target="../slideLayouts/slideLayout614.xml"/><Relationship Id="rId352" Type="http://schemas.openxmlformats.org/officeDocument/2006/relationships/slideLayout" Target="../slideLayouts/slideLayout779.xml"/><Relationship Id="rId394" Type="http://schemas.openxmlformats.org/officeDocument/2006/relationships/slideLayout" Target="../slideLayouts/slideLayout821.xml"/><Relationship Id="rId408" Type="http://schemas.openxmlformats.org/officeDocument/2006/relationships/slideLayout" Target="../slideLayouts/slideLayout835.xml"/><Relationship Id="rId1" Type="http://schemas.openxmlformats.org/officeDocument/2006/relationships/slideLayout" Target="../slideLayouts/slideLayout428.xml"/><Relationship Id="rId212" Type="http://schemas.openxmlformats.org/officeDocument/2006/relationships/slideLayout" Target="../slideLayouts/slideLayout639.xml"/><Relationship Id="rId233" Type="http://schemas.openxmlformats.org/officeDocument/2006/relationships/slideLayout" Target="../slideLayouts/slideLayout660.xml"/><Relationship Id="rId254" Type="http://schemas.openxmlformats.org/officeDocument/2006/relationships/slideLayout" Target="../slideLayouts/slideLayout681.xml"/><Relationship Id="rId28" Type="http://schemas.openxmlformats.org/officeDocument/2006/relationships/slideLayout" Target="../slideLayouts/slideLayout455.xml"/><Relationship Id="rId49" Type="http://schemas.openxmlformats.org/officeDocument/2006/relationships/slideLayout" Target="../slideLayouts/slideLayout476.xml"/><Relationship Id="rId114" Type="http://schemas.openxmlformats.org/officeDocument/2006/relationships/slideLayout" Target="../slideLayouts/slideLayout541.xml"/><Relationship Id="rId275" Type="http://schemas.openxmlformats.org/officeDocument/2006/relationships/slideLayout" Target="../slideLayouts/slideLayout702.xml"/><Relationship Id="rId296" Type="http://schemas.openxmlformats.org/officeDocument/2006/relationships/slideLayout" Target="../slideLayouts/slideLayout723.xml"/><Relationship Id="rId300" Type="http://schemas.openxmlformats.org/officeDocument/2006/relationships/slideLayout" Target="../slideLayouts/slideLayout727.xml"/><Relationship Id="rId60" Type="http://schemas.openxmlformats.org/officeDocument/2006/relationships/slideLayout" Target="../slideLayouts/slideLayout487.xml"/><Relationship Id="rId81" Type="http://schemas.openxmlformats.org/officeDocument/2006/relationships/slideLayout" Target="../slideLayouts/slideLayout508.xml"/><Relationship Id="rId135" Type="http://schemas.openxmlformats.org/officeDocument/2006/relationships/slideLayout" Target="../slideLayouts/slideLayout562.xml"/><Relationship Id="rId156" Type="http://schemas.openxmlformats.org/officeDocument/2006/relationships/slideLayout" Target="../slideLayouts/slideLayout583.xml"/><Relationship Id="rId177" Type="http://schemas.openxmlformats.org/officeDocument/2006/relationships/slideLayout" Target="../slideLayouts/slideLayout604.xml"/><Relationship Id="rId198" Type="http://schemas.openxmlformats.org/officeDocument/2006/relationships/slideLayout" Target="../slideLayouts/slideLayout625.xml"/><Relationship Id="rId321" Type="http://schemas.openxmlformats.org/officeDocument/2006/relationships/slideLayout" Target="../slideLayouts/slideLayout748.xml"/><Relationship Id="rId342" Type="http://schemas.openxmlformats.org/officeDocument/2006/relationships/slideLayout" Target="../slideLayouts/slideLayout769.xml"/><Relationship Id="rId363" Type="http://schemas.openxmlformats.org/officeDocument/2006/relationships/slideLayout" Target="../slideLayouts/slideLayout790.xml"/><Relationship Id="rId384" Type="http://schemas.openxmlformats.org/officeDocument/2006/relationships/slideLayout" Target="../slideLayouts/slideLayout811.xml"/><Relationship Id="rId419" Type="http://schemas.openxmlformats.org/officeDocument/2006/relationships/slideLayout" Target="../slideLayouts/slideLayout846.xml"/><Relationship Id="rId202" Type="http://schemas.openxmlformats.org/officeDocument/2006/relationships/slideLayout" Target="../slideLayouts/slideLayout629.xml"/><Relationship Id="rId223" Type="http://schemas.openxmlformats.org/officeDocument/2006/relationships/slideLayout" Target="../slideLayouts/slideLayout650.xml"/><Relationship Id="rId244" Type="http://schemas.openxmlformats.org/officeDocument/2006/relationships/slideLayout" Target="../slideLayouts/slideLayout671.xml"/><Relationship Id="rId430" Type="http://schemas.openxmlformats.org/officeDocument/2006/relationships/theme" Target="../theme/theme2.xml"/><Relationship Id="rId18" Type="http://schemas.openxmlformats.org/officeDocument/2006/relationships/slideLayout" Target="../slideLayouts/slideLayout445.xml"/><Relationship Id="rId39" Type="http://schemas.openxmlformats.org/officeDocument/2006/relationships/slideLayout" Target="../slideLayouts/slideLayout466.xml"/><Relationship Id="rId265" Type="http://schemas.openxmlformats.org/officeDocument/2006/relationships/slideLayout" Target="../slideLayouts/slideLayout692.xml"/><Relationship Id="rId286" Type="http://schemas.openxmlformats.org/officeDocument/2006/relationships/slideLayout" Target="../slideLayouts/slideLayout713.xml"/><Relationship Id="rId50" Type="http://schemas.openxmlformats.org/officeDocument/2006/relationships/slideLayout" Target="../slideLayouts/slideLayout477.xml"/><Relationship Id="rId104" Type="http://schemas.openxmlformats.org/officeDocument/2006/relationships/slideLayout" Target="../slideLayouts/slideLayout531.xml"/><Relationship Id="rId125" Type="http://schemas.openxmlformats.org/officeDocument/2006/relationships/slideLayout" Target="../slideLayouts/slideLayout552.xml"/><Relationship Id="rId146" Type="http://schemas.openxmlformats.org/officeDocument/2006/relationships/slideLayout" Target="../slideLayouts/slideLayout573.xml"/><Relationship Id="rId167" Type="http://schemas.openxmlformats.org/officeDocument/2006/relationships/slideLayout" Target="../slideLayouts/slideLayout594.xml"/><Relationship Id="rId188" Type="http://schemas.openxmlformats.org/officeDocument/2006/relationships/slideLayout" Target="../slideLayouts/slideLayout615.xml"/><Relationship Id="rId311" Type="http://schemas.openxmlformats.org/officeDocument/2006/relationships/slideLayout" Target="../slideLayouts/slideLayout738.xml"/><Relationship Id="rId332" Type="http://schemas.openxmlformats.org/officeDocument/2006/relationships/slideLayout" Target="../slideLayouts/slideLayout759.xml"/><Relationship Id="rId353" Type="http://schemas.openxmlformats.org/officeDocument/2006/relationships/slideLayout" Target="../slideLayouts/slideLayout780.xml"/><Relationship Id="rId374" Type="http://schemas.openxmlformats.org/officeDocument/2006/relationships/slideLayout" Target="../slideLayouts/slideLayout801.xml"/><Relationship Id="rId395" Type="http://schemas.openxmlformats.org/officeDocument/2006/relationships/slideLayout" Target="../slideLayouts/slideLayout822.xml"/><Relationship Id="rId409" Type="http://schemas.openxmlformats.org/officeDocument/2006/relationships/slideLayout" Target="../slideLayouts/slideLayout836.xml"/><Relationship Id="rId71" Type="http://schemas.openxmlformats.org/officeDocument/2006/relationships/slideLayout" Target="../slideLayouts/slideLayout498.xml"/><Relationship Id="rId92" Type="http://schemas.openxmlformats.org/officeDocument/2006/relationships/slideLayout" Target="../slideLayouts/slideLayout519.xml"/><Relationship Id="rId213" Type="http://schemas.openxmlformats.org/officeDocument/2006/relationships/slideLayout" Target="../slideLayouts/slideLayout640.xml"/><Relationship Id="rId234" Type="http://schemas.openxmlformats.org/officeDocument/2006/relationships/slideLayout" Target="../slideLayouts/slideLayout661.xml"/><Relationship Id="rId420" Type="http://schemas.openxmlformats.org/officeDocument/2006/relationships/slideLayout" Target="../slideLayouts/slideLayout847.xml"/><Relationship Id="rId2" Type="http://schemas.openxmlformats.org/officeDocument/2006/relationships/slideLayout" Target="../slideLayouts/slideLayout429.xml"/><Relationship Id="rId29" Type="http://schemas.openxmlformats.org/officeDocument/2006/relationships/slideLayout" Target="../slideLayouts/slideLayout456.xml"/><Relationship Id="rId255" Type="http://schemas.openxmlformats.org/officeDocument/2006/relationships/slideLayout" Target="../slideLayouts/slideLayout682.xml"/><Relationship Id="rId276" Type="http://schemas.openxmlformats.org/officeDocument/2006/relationships/slideLayout" Target="../slideLayouts/slideLayout703.xml"/><Relationship Id="rId297" Type="http://schemas.openxmlformats.org/officeDocument/2006/relationships/slideLayout" Target="../slideLayouts/slideLayout724.xml"/><Relationship Id="rId40" Type="http://schemas.openxmlformats.org/officeDocument/2006/relationships/slideLayout" Target="../slideLayouts/slideLayout467.xml"/><Relationship Id="rId115" Type="http://schemas.openxmlformats.org/officeDocument/2006/relationships/slideLayout" Target="../slideLayouts/slideLayout542.xml"/><Relationship Id="rId136" Type="http://schemas.openxmlformats.org/officeDocument/2006/relationships/slideLayout" Target="../slideLayouts/slideLayout563.xml"/><Relationship Id="rId157" Type="http://schemas.openxmlformats.org/officeDocument/2006/relationships/slideLayout" Target="../slideLayouts/slideLayout584.xml"/><Relationship Id="rId178" Type="http://schemas.openxmlformats.org/officeDocument/2006/relationships/slideLayout" Target="../slideLayouts/slideLayout605.xml"/><Relationship Id="rId301" Type="http://schemas.openxmlformats.org/officeDocument/2006/relationships/slideLayout" Target="../slideLayouts/slideLayout728.xml"/><Relationship Id="rId322" Type="http://schemas.openxmlformats.org/officeDocument/2006/relationships/slideLayout" Target="../slideLayouts/slideLayout749.xml"/><Relationship Id="rId343" Type="http://schemas.openxmlformats.org/officeDocument/2006/relationships/slideLayout" Target="../slideLayouts/slideLayout770.xml"/><Relationship Id="rId364" Type="http://schemas.openxmlformats.org/officeDocument/2006/relationships/slideLayout" Target="../slideLayouts/slideLayout791.xml"/><Relationship Id="rId61" Type="http://schemas.openxmlformats.org/officeDocument/2006/relationships/slideLayout" Target="../slideLayouts/slideLayout488.xml"/><Relationship Id="rId82" Type="http://schemas.openxmlformats.org/officeDocument/2006/relationships/slideLayout" Target="../slideLayouts/slideLayout509.xml"/><Relationship Id="rId199" Type="http://schemas.openxmlformats.org/officeDocument/2006/relationships/slideLayout" Target="../slideLayouts/slideLayout626.xml"/><Relationship Id="rId203" Type="http://schemas.openxmlformats.org/officeDocument/2006/relationships/slideLayout" Target="../slideLayouts/slideLayout630.xml"/><Relationship Id="rId385" Type="http://schemas.openxmlformats.org/officeDocument/2006/relationships/slideLayout" Target="../slideLayouts/slideLayout812.xml"/><Relationship Id="rId19" Type="http://schemas.openxmlformats.org/officeDocument/2006/relationships/slideLayout" Target="../slideLayouts/slideLayout446.xml"/><Relationship Id="rId224" Type="http://schemas.openxmlformats.org/officeDocument/2006/relationships/slideLayout" Target="../slideLayouts/slideLayout651.xml"/><Relationship Id="rId245" Type="http://schemas.openxmlformats.org/officeDocument/2006/relationships/slideLayout" Target="../slideLayouts/slideLayout672.xml"/><Relationship Id="rId266" Type="http://schemas.openxmlformats.org/officeDocument/2006/relationships/slideLayout" Target="../slideLayouts/slideLayout693.xml"/><Relationship Id="rId287" Type="http://schemas.openxmlformats.org/officeDocument/2006/relationships/slideLayout" Target="../slideLayouts/slideLayout714.xml"/><Relationship Id="rId410" Type="http://schemas.openxmlformats.org/officeDocument/2006/relationships/slideLayout" Target="../slideLayouts/slideLayout837.xml"/><Relationship Id="rId30" Type="http://schemas.openxmlformats.org/officeDocument/2006/relationships/slideLayout" Target="../slideLayouts/slideLayout457.xml"/><Relationship Id="rId105" Type="http://schemas.openxmlformats.org/officeDocument/2006/relationships/slideLayout" Target="../slideLayouts/slideLayout532.xml"/><Relationship Id="rId126" Type="http://schemas.openxmlformats.org/officeDocument/2006/relationships/slideLayout" Target="../slideLayouts/slideLayout553.xml"/><Relationship Id="rId147" Type="http://schemas.openxmlformats.org/officeDocument/2006/relationships/slideLayout" Target="../slideLayouts/slideLayout574.xml"/><Relationship Id="rId168" Type="http://schemas.openxmlformats.org/officeDocument/2006/relationships/slideLayout" Target="../slideLayouts/slideLayout595.xml"/><Relationship Id="rId312" Type="http://schemas.openxmlformats.org/officeDocument/2006/relationships/slideLayout" Target="../slideLayouts/slideLayout739.xml"/><Relationship Id="rId333" Type="http://schemas.openxmlformats.org/officeDocument/2006/relationships/slideLayout" Target="../slideLayouts/slideLayout760.xml"/><Relationship Id="rId354" Type="http://schemas.openxmlformats.org/officeDocument/2006/relationships/slideLayout" Target="../slideLayouts/slideLayout781.xml"/><Relationship Id="rId51" Type="http://schemas.openxmlformats.org/officeDocument/2006/relationships/slideLayout" Target="../slideLayouts/slideLayout478.xml"/><Relationship Id="rId72" Type="http://schemas.openxmlformats.org/officeDocument/2006/relationships/slideLayout" Target="../slideLayouts/slideLayout499.xml"/><Relationship Id="rId93" Type="http://schemas.openxmlformats.org/officeDocument/2006/relationships/slideLayout" Target="../slideLayouts/slideLayout520.xml"/><Relationship Id="rId189" Type="http://schemas.openxmlformats.org/officeDocument/2006/relationships/slideLayout" Target="../slideLayouts/slideLayout616.xml"/><Relationship Id="rId375" Type="http://schemas.openxmlformats.org/officeDocument/2006/relationships/slideLayout" Target="../slideLayouts/slideLayout802.xml"/><Relationship Id="rId396" Type="http://schemas.openxmlformats.org/officeDocument/2006/relationships/slideLayout" Target="../slideLayouts/slideLayout823.xml"/><Relationship Id="rId3" Type="http://schemas.openxmlformats.org/officeDocument/2006/relationships/slideLayout" Target="../slideLayouts/slideLayout430.xml"/><Relationship Id="rId214" Type="http://schemas.openxmlformats.org/officeDocument/2006/relationships/slideLayout" Target="../slideLayouts/slideLayout641.xml"/><Relationship Id="rId235" Type="http://schemas.openxmlformats.org/officeDocument/2006/relationships/slideLayout" Target="../slideLayouts/slideLayout662.xml"/><Relationship Id="rId256" Type="http://schemas.openxmlformats.org/officeDocument/2006/relationships/slideLayout" Target="../slideLayouts/slideLayout683.xml"/><Relationship Id="rId277" Type="http://schemas.openxmlformats.org/officeDocument/2006/relationships/slideLayout" Target="../slideLayouts/slideLayout704.xml"/><Relationship Id="rId298" Type="http://schemas.openxmlformats.org/officeDocument/2006/relationships/slideLayout" Target="../slideLayouts/slideLayout725.xml"/><Relationship Id="rId400" Type="http://schemas.openxmlformats.org/officeDocument/2006/relationships/slideLayout" Target="../slideLayouts/slideLayout827.xml"/><Relationship Id="rId421" Type="http://schemas.openxmlformats.org/officeDocument/2006/relationships/slideLayout" Target="../slideLayouts/slideLayout848.xml"/><Relationship Id="rId116" Type="http://schemas.openxmlformats.org/officeDocument/2006/relationships/slideLayout" Target="../slideLayouts/slideLayout543.xml"/><Relationship Id="rId137" Type="http://schemas.openxmlformats.org/officeDocument/2006/relationships/slideLayout" Target="../slideLayouts/slideLayout564.xml"/><Relationship Id="rId158" Type="http://schemas.openxmlformats.org/officeDocument/2006/relationships/slideLayout" Target="../slideLayouts/slideLayout585.xml"/><Relationship Id="rId302" Type="http://schemas.openxmlformats.org/officeDocument/2006/relationships/slideLayout" Target="../slideLayouts/slideLayout729.xml"/><Relationship Id="rId323" Type="http://schemas.openxmlformats.org/officeDocument/2006/relationships/slideLayout" Target="../slideLayouts/slideLayout750.xml"/><Relationship Id="rId344" Type="http://schemas.openxmlformats.org/officeDocument/2006/relationships/slideLayout" Target="../slideLayouts/slideLayout771.xml"/><Relationship Id="rId20" Type="http://schemas.openxmlformats.org/officeDocument/2006/relationships/slideLayout" Target="../slideLayouts/slideLayout447.xml"/><Relationship Id="rId41" Type="http://schemas.openxmlformats.org/officeDocument/2006/relationships/slideLayout" Target="../slideLayouts/slideLayout468.xml"/><Relationship Id="rId62" Type="http://schemas.openxmlformats.org/officeDocument/2006/relationships/slideLayout" Target="../slideLayouts/slideLayout489.xml"/><Relationship Id="rId83" Type="http://schemas.openxmlformats.org/officeDocument/2006/relationships/slideLayout" Target="../slideLayouts/slideLayout510.xml"/><Relationship Id="rId179" Type="http://schemas.openxmlformats.org/officeDocument/2006/relationships/slideLayout" Target="../slideLayouts/slideLayout606.xml"/><Relationship Id="rId365" Type="http://schemas.openxmlformats.org/officeDocument/2006/relationships/slideLayout" Target="../slideLayouts/slideLayout792.xml"/><Relationship Id="rId386" Type="http://schemas.openxmlformats.org/officeDocument/2006/relationships/slideLayout" Target="../slideLayouts/slideLayout813.xml"/><Relationship Id="rId190" Type="http://schemas.openxmlformats.org/officeDocument/2006/relationships/slideLayout" Target="../slideLayouts/slideLayout617.xml"/><Relationship Id="rId204" Type="http://schemas.openxmlformats.org/officeDocument/2006/relationships/slideLayout" Target="../slideLayouts/slideLayout631.xml"/><Relationship Id="rId225" Type="http://schemas.openxmlformats.org/officeDocument/2006/relationships/slideLayout" Target="../slideLayouts/slideLayout652.xml"/><Relationship Id="rId246" Type="http://schemas.openxmlformats.org/officeDocument/2006/relationships/slideLayout" Target="../slideLayouts/slideLayout673.xml"/><Relationship Id="rId267" Type="http://schemas.openxmlformats.org/officeDocument/2006/relationships/slideLayout" Target="../slideLayouts/slideLayout694.xml"/><Relationship Id="rId288" Type="http://schemas.openxmlformats.org/officeDocument/2006/relationships/slideLayout" Target="../slideLayouts/slideLayout715.xml"/><Relationship Id="rId411" Type="http://schemas.openxmlformats.org/officeDocument/2006/relationships/slideLayout" Target="../slideLayouts/slideLayout838.xml"/><Relationship Id="rId106" Type="http://schemas.openxmlformats.org/officeDocument/2006/relationships/slideLayout" Target="../slideLayouts/slideLayout533.xml"/><Relationship Id="rId127" Type="http://schemas.openxmlformats.org/officeDocument/2006/relationships/slideLayout" Target="../slideLayouts/slideLayout554.xml"/><Relationship Id="rId313" Type="http://schemas.openxmlformats.org/officeDocument/2006/relationships/slideLayout" Target="../slideLayouts/slideLayout740.xml"/><Relationship Id="rId10" Type="http://schemas.openxmlformats.org/officeDocument/2006/relationships/slideLayout" Target="../slideLayouts/slideLayout437.xml"/><Relationship Id="rId31" Type="http://schemas.openxmlformats.org/officeDocument/2006/relationships/slideLayout" Target="../slideLayouts/slideLayout458.xml"/><Relationship Id="rId52" Type="http://schemas.openxmlformats.org/officeDocument/2006/relationships/slideLayout" Target="../slideLayouts/slideLayout479.xml"/><Relationship Id="rId73" Type="http://schemas.openxmlformats.org/officeDocument/2006/relationships/slideLayout" Target="../slideLayouts/slideLayout500.xml"/><Relationship Id="rId94" Type="http://schemas.openxmlformats.org/officeDocument/2006/relationships/slideLayout" Target="../slideLayouts/slideLayout521.xml"/><Relationship Id="rId148" Type="http://schemas.openxmlformats.org/officeDocument/2006/relationships/slideLayout" Target="../slideLayouts/slideLayout575.xml"/><Relationship Id="rId169" Type="http://schemas.openxmlformats.org/officeDocument/2006/relationships/slideLayout" Target="../slideLayouts/slideLayout596.xml"/><Relationship Id="rId334" Type="http://schemas.openxmlformats.org/officeDocument/2006/relationships/slideLayout" Target="../slideLayouts/slideLayout761.xml"/><Relationship Id="rId355" Type="http://schemas.openxmlformats.org/officeDocument/2006/relationships/slideLayout" Target="../slideLayouts/slideLayout782.xml"/><Relationship Id="rId376" Type="http://schemas.openxmlformats.org/officeDocument/2006/relationships/slideLayout" Target="../slideLayouts/slideLayout803.xml"/><Relationship Id="rId397" Type="http://schemas.openxmlformats.org/officeDocument/2006/relationships/slideLayout" Target="../slideLayouts/slideLayout824.xml"/><Relationship Id="rId4" Type="http://schemas.openxmlformats.org/officeDocument/2006/relationships/slideLayout" Target="../slideLayouts/slideLayout431.xml"/><Relationship Id="rId180" Type="http://schemas.openxmlformats.org/officeDocument/2006/relationships/slideLayout" Target="../slideLayouts/slideLayout607.xml"/><Relationship Id="rId215" Type="http://schemas.openxmlformats.org/officeDocument/2006/relationships/slideLayout" Target="../slideLayouts/slideLayout642.xml"/><Relationship Id="rId236" Type="http://schemas.openxmlformats.org/officeDocument/2006/relationships/slideLayout" Target="../slideLayouts/slideLayout663.xml"/><Relationship Id="rId257" Type="http://schemas.openxmlformats.org/officeDocument/2006/relationships/slideLayout" Target="../slideLayouts/slideLayout684.xml"/><Relationship Id="rId278" Type="http://schemas.openxmlformats.org/officeDocument/2006/relationships/slideLayout" Target="../slideLayouts/slideLayout705.xml"/><Relationship Id="rId401" Type="http://schemas.openxmlformats.org/officeDocument/2006/relationships/slideLayout" Target="../slideLayouts/slideLayout828.xml"/><Relationship Id="rId422" Type="http://schemas.openxmlformats.org/officeDocument/2006/relationships/slideLayout" Target="../slideLayouts/slideLayout849.xml"/><Relationship Id="rId303" Type="http://schemas.openxmlformats.org/officeDocument/2006/relationships/slideLayout" Target="../slideLayouts/slideLayout730.xml"/><Relationship Id="rId42" Type="http://schemas.openxmlformats.org/officeDocument/2006/relationships/slideLayout" Target="../slideLayouts/slideLayout469.xml"/><Relationship Id="rId84" Type="http://schemas.openxmlformats.org/officeDocument/2006/relationships/slideLayout" Target="../slideLayouts/slideLayout511.xml"/><Relationship Id="rId138" Type="http://schemas.openxmlformats.org/officeDocument/2006/relationships/slideLayout" Target="../slideLayouts/slideLayout565.xml"/><Relationship Id="rId345" Type="http://schemas.openxmlformats.org/officeDocument/2006/relationships/slideLayout" Target="../slideLayouts/slideLayout772.xml"/><Relationship Id="rId387" Type="http://schemas.openxmlformats.org/officeDocument/2006/relationships/slideLayout" Target="../slideLayouts/slideLayout814.xml"/><Relationship Id="rId191" Type="http://schemas.openxmlformats.org/officeDocument/2006/relationships/slideLayout" Target="../slideLayouts/slideLayout618.xml"/><Relationship Id="rId205" Type="http://schemas.openxmlformats.org/officeDocument/2006/relationships/slideLayout" Target="../slideLayouts/slideLayout632.xml"/><Relationship Id="rId247" Type="http://schemas.openxmlformats.org/officeDocument/2006/relationships/slideLayout" Target="../slideLayouts/slideLayout674.xml"/><Relationship Id="rId412" Type="http://schemas.openxmlformats.org/officeDocument/2006/relationships/slideLayout" Target="../slideLayouts/slideLayout839.xml"/><Relationship Id="rId107" Type="http://schemas.openxmlformats.org/officeDocument/2006/relationships/slideLayout" Target="../slideLayouts/slideLayout534.xml"/><Relationship Id="rId289" Type="http://schemas.openxmlformats.org/officeDocument/2006/relationships/slideLayout" Target="../slideLayouts/slideLayout716.xml"/><Relationship Id="rId11" Type="http://schemas.openxmlformats.org/officeDocument/2006/relationships/slideLayout" Target="../slideLayouts/slideLayout438.xml"/><Relationship Id="rId53" Type="http://schemas.openxmlformats.org/officeDocument/2006/relationships/slideLayout" Target="../slideLayouts/slideLayout480.xml"/><Relationship Id="rId149" Type="http://schemas.openxmlformats.org/officeDocument/2006/relationships/slideLayout" Target="../slideLayouts/slideLayout576.xml"/><Relationship Id="rId314" Type="http://schemas.openxmlformats.org/officeDocument/2006/relationships/slideLayout" Target="../slideLayouts/slideLayout741.xml"/><Relationship Id="rId356" Type="http://schemas.openxmlformats.org/officeDocument/2006/relationships/slideLayout" Target="../slideLayouts/slideLayout783.xml"/><Relationship Id="rId398" Type="http://schemas.openxmlformats.org/officeDocument/2006/relationships/slideLayout" Target="../slideLayouts/slideLayout825.xml"/><Relationship Id="rId95" Type="http://schemas.openxmlformats.org/officeDocument/2006/relationships/slideLayout" Target="../slideLayouts/slideLayout522.xml"/><Relationship Id="rId160" Type="http://schemas.openxmlformats.org/officeDocument/2006/relationships/slideLayout" Target="../slideLayouts/slideLayout587.xml"/><Relationship Id="rId216" Type="http://schemas.openxmlformats.org/officeDocument/2006/relationships/slideLayout" Target="../slideLayouts/slideLayout643.xml"/><Relationship Id="rId423" Type="http://schemas.openxmlformats.org/officeDocument/2006/relationships/slideLayout" Target="../slideLayouts/slideLayout850.xml"/><Relationship Id="rId258" Type="http://schemas.openxmlformats.org/officeDocument/2006/relationships/slideLayout" Target="../slideLayouts/slideLayout685.xml"/><Relationship Id="rId22" Type="http://schemas.openxmlformats.org/officeDocument/2006/relationships/slideLayout" Target="../slideLayouts/slideLayout449.xml"/><Relationship Id="rId64" Type="http://schemas.openxmlformats.org/officeDocument/2006/relationships/slideLayout" Target="../slideLayouts/slideLayout491.xml"/><Relationship Id="rId118" Type="http://schemas.openxmlformats.org/officeDocument/2006/relationships/slideLayout" Target="../slideLayouts/slideLayout545.xml"/><Relationship Id="rId325" Type="http://schemas.openxmlformats.org/officeDocument/2006/relationships/slideLayout" Target="../slideLayouts/slideLayout752.xml"/><Relationship Id="rId367" Type="http://schemas.openxmlformats.org/officeDocument/2006/relationships/slideLayout" Target="../slideLayouts/slideLayout794.xml"/><Relationship Id="rId171" Type="http://schemas.openxmlformats.org/officeDocument/2006/relationships/slideLayout" Target="../slideLayouts/slideLayout598.xml"/><Relationship Id="rId227" Type="http://schemas.openxmlformats.org/officeDocument/2006/relationships/slideLayout" Target="../slideLayouts/slideLayout654.xml"/><Relationship Id="rId269" Type="http://schemas.openxmlformats.org/officeDocument/2006/relationships/slideLayout" Target="../slideLayouts/slideLayout696.xml"/><Relationship Id="rId33" Type="http://schemas.openxmlformats.org/officeDocument/2006/relationships/slideLayout" Target="../slideLayouts/slideLayout460.xml"/><Relationship Id="rId129" Type="http://schemas.openxmlformats.org/officeDocument/2006/relationships/slideLayout" Target="../slideLayouts/slideLayout556.xml"/><Relationship Id="rId280" Type="http://schemas.openxmlformats.org/officeDocument/2006/relationships/slideLayout" Target="../slideLayouts/slideLayout707.xml"/><Relationship Id="rId336" Type="http://schemas.openxmlformats.org/officeDocument/2006/relationships/slideLayout" Target="../slideLayouts/slideLayout763.xml"/><Relationship Id="rId75" Type="http://schemas.openxmlformats.org/officeDocument/2006/relationships/slideLayout" Target="../slideLayouts/slideLayout502.xml"/><Relationship Id="rId140" Type="http://schemas.openxmlformats.org/officeDocument/2006/relationships/slideLayout" Target="../slideLayouts/slideLayout567.xml"/><Relationship Id="rId182" Type="http://schemas.openxmlformats.org/officeDocument/2006/relationships/slideLayout" Target="../slideLayouts/slideLayout609.xml"/><Relationship Id="rId378" Type="http://schemas.openxmlformats.org/officeDocument/2006/relationships/slideLayout" Target="../slideLayouts/slideLayout805.xml"/><Relationship Id="rId403" Type="http://schemas.openxmlformats.org/officeDocument/2006/relationships/slideLayout" Target="../slideLayouts/slideLayout830.xml"/><Relationship Id="rId6" Type="http://schemas.openxmlformats.org/officeDocument/2006/relationships/slideLayout" Target="../slideLayouts/slideLayout433.xml"/><Relationship Id="rId238" Type="http://schemas.openxmlformats.org/officeDocument/2006/relationships/slideLayout" Target="../slideLayouts/slideLayout665.xml"/><Relationship Id="rId291" Type="http://schemas.openxmlformats.org/officeDocument/2006/relationships/slideLayout" Target="../slideLayouts/slideLayout718.xml"/><Relationship Id="rId305" Type="http://schemas.openxmlformats.org/officeDocument/2006/relationships/slideLayout" Target="../slideLayouts/slideLayout732.xml"/><Relationship Id="rId347" Type="http://schemas.openxmlformats.org/officeDocument/2006/relationships/slideLayout" Target="../slideLayouts/slideLayout774.xml"/><Relationship Id="rId44" Type="http://schemas.openxmlformats.org/officeDocument/2006/relationships/slideLayout" Target="../slideLayouts/slideLayout471.xml"/><Relationship Id="rId86" Type="http://schemas.openxmlformats.org/officeDocument/2006/relationships/slideLayout" Target="../slideLayouts/slideLayout513.xml"/><Relationship Id="rId151" Type="http://schemas.openxmlformats.org/officeDocument/2006/relationships/slideLayout" Target="../slideLayouts/slideLayout578.xml"/><Relationship Id="rId389" Type="http://schemas.openxmlformats.org/officeDocument/2006/relationships/slideLayout" Target="../slideLayouts/slideLayout816.xml"/><Relationship Id="rId193" Type="http://schemas.openxmlformats.org/officeDocument/2006/relationships/slideLayout" Target="../slideLayouts/slideLayout620.xml"/><Relationship Id="rId207" Type="http://schemas.openxmlformats.org/officeDocument/2006/relationships/slideLayout" Target="../slideLayouts/slideLayout634.xml"/><Relationship Id="rId249" Type="http://schemas.openxmlformats.org/officeDocument/2006/relationships/slideLayout" Target="../slideLayouts/slideLayout676.xml"/><Relationship Id="rId414" Type="http://schemas.openxmlformats.org/officeDocument/2006/relationships/slideLayout" Target="../slideLayouts/slideLayout841.xml"/><Relationship Id="rId13" Type="http://schemas.openxmlformats.org/officeDocument/2006/relationships/slideLayout" Target="../slideLayouts/slideLayout440.xml"/><Relationship Id="rId109" Type="http://schemas.openxmlformats.org/officeDocument/2006/relationships/slideLayout" Target="../slideLayouts/slideLayout536.xml"/><Relationship Id="rId260" Type="http://schemas.openxmlformats.org/officeDocument/2006/relationships/slideLayout" Target="../slideLayouts/slideLayout687.xml"/><Relationship Id="rId316" Type="http://schemas.openxmlformats.org/officeDocument/2006/relationships/slideLayout" Target="../slideLayouts/slideLayout743.xml"/><Relationship Id="rId55" Type="http://schemas.openxmlformats.org/officeDocument/2006/relationships/slideLayout" Target="../slideLayouts/slideLayout482.xml"/><Relationship Id="rId97" Type="http://schemas.openxmlformats.org/officeDocument/2006/relationships/slideLayout" Target="../slideLayouts/slideLayout524.xml"/><Relationship Id="rId120" Type="http://schemas.openxmlformats.org/officeDocument/2006/relationships/slideLayout" Target="../slideLayouts/slideLayout547.xml"/><Relationship Id="rId358" Type="http://schemas.openxmlformats.org/officeDocument/2006/relationships/slideLayout" Target="../slideLayouts/slideLayout785.xml"/><Relationship Id="rId162" Type="http://schemas.openxmlformats.org/officeDocument/2006/relationships/slideLayout" Target="../slideLayouts/slideLayout589.xml"/><Relationship Id="rId218" Type="http://schemas.openxmlformats.org/officeDocument/2006/relationships/slideLayout" Target="../slideLayouts/slideLayout645.xml"/><Relationship Id="rId425" Type="http://schemas.openxmlformats.org/officeDocument/2006/relationships/slideLayout" Target="../slideLayouts/slideLayout852.xml"/><Relationship Id="rId271" Type="http://schemas.openxmlformats.org/officeDocument/2006/relationships/slideLayout" Target="../slideLayouts/slideLayout698.xml"/><Relationship Id="rId24" Type="http://schemas.openxmlformats.org/officeDocument/2006/relationships/slideLayout" Target="../slideLayouts/slideLayout451.xml"/><Relationship Id="rId66" Type="http://schemas.openxmlformats.org/officeDocument/2006/relationships/slideLayout" Target="../slideLayouts/slideLayout493.xml"/><Relationship Id="rId131" Type="http://schemas.openxmlformats.org/officeDocument/2006/relationships/slideLayout" Target="../slideLayouts/slideLayout558.xml"/><Relationship Id="rId327" Type="http://schemas.openxmlformats.org/officeDocument/2006/relationships/slideLayout" Target="../slideLayouts/slideLayout754.xml"/><Relationship Id="rId369" Type="http://schemas.openxmlformats.org/officeDocument/2006/relationships/slideLayout" Target="../slideLayouts/slideLayout796.xml"/><Relationship Id="rId173" Type="http://schemas.openxmlformats.org/officeDocument/2006/relationships/slideLayout" Target="../slideLayouts/slideLayout600.xml"/><Relationship Id="rId229" Type="http://schemas.openxmlformats.org/officeDocument/2006/relationships/slideLayout" Target="../slideLayouts/slideLayout656.xml"/><Relationship Id="rId380" Type="http://schemas.openxmlformats.org/officeDocument/2006/relationships/slideLayout" Target="../slideLayouts/slideLayout807.xml"/><Relationship Id="rId240" Type="http://schemas.openxmlformats.org/officeDocument/2006/relationships/slideLayout" Target="../slideLayouts/slideLayout667.xml"/><Relationship Id="rId35" Type="http://schemas.openxmlformats.org/officeDocument/2006/relationships/slideLayout" Target="../slideLayouts/slideLayout462.xml"/><Relationship Id="rId77" Type="http://schemas.openxmlformats.org/officeDocument/2006/relationships/slideLayout" Target="../slideLayouts/slideLayout504.xml"/><Relationship Id="rId100" Type="http://schemas.openxmlformats.org/officeDocument/2006/relationships/slideLayout" Target="../slideLayouts/slideLayout527.xml"/><Relationship Id="rId282" Type="http://schemas.openxmlformats.org/officeDocument/2006/relationships/slideLayout" Target="../slideLayouts/slideLayout709.xml"/><Relationship Id="rId338" Type="http://schemas.openxmlformats.org/officeDocument/2006/relationships/slideLayout" Target="../slideLayouts/slideLayout765.xml"/><Relationship Id="rId8" Type="http://schemas.openxmlformats.org/officeDocument/2006/relationships/slideLayout" Target="../slideLayouts/slideLayout435.xml"/><Relationship Id="rId142" Type="http://schemas.openxmlformats.org/officeDocument/2006/relationships/slideLayout" Target="../slideLayouts/slideLayout569.xml"/><Relationship Id="rId184" Type="http://schemas.openxmlformats.org/officeDocument/2006/relationships/slideLayout" Target="../slideLayouts/slideLayout611.xml"/><Relationship Id="rId391" Type="http://schemas.openxmlformats.org/officeDocument/2006/relationships/slideLayout" Target="../slideLayouts/slideLayout818.xml"/><Relationship Id="rId405" Type="http://schemas.openxmlformats.org/officeDocument/2006/relationships/slideLayout" Target="../slideLayouts/slideLayout832.xml"/><Relationship Id="rId251" Type="http://schemas.openxmlformats.org/officeDocument/2006/relationships/slideLayout" Target="../slideLayouts/slideLayout678.xml"/><Relationship Id="rId46" Type="http://schemas.openxmlformats.org/officeDocument/2006/relationships/slideLayout" Target="../slideLayouts/slideLayout473.xml"/><Relationship Id="rId293" Type="http://schemas.openxmlformats.org/officeDocument/2006/relationships/slideLayout" Target="../slideLayouts/slideLayout720.xml"/><Relationship Id="rId307" Type="http://schemas.openxmlformats.org/officeDocument/2006/relationships/slideLayout" Target="../slideLayouts/slideLayout734.xml"/><Relationship Id="rId349" Type="http://schemas.openxmlformats.org/officeDocument/2006/relationships/slideLayout" Target="../slideLayouts/slideLayout776.xml"/><Relationship Id="rId88" Type="http://schemas.openxmlformats.org/officeDocument/2006/relationships/slideLayout" Target="../slideLayouts/slideLayout515.xml"/><Relationship Id="rId111" Type="http://schemas.openxmlformats.org/officeDocument/2006/relationships/slideLayout" Target="../slideLayouts/slideLayout538.xml"/><Relationship Id="rId153" Type="http://schemas.openxmlformats.org/officeDocument/2006/relationships/slideLayout" Target="../slideLayouts/slideLayout580.xml"/><Relationship Id="rId195" Type="http://schemas.openxmlformats.org/officeDocument/2006/relationships/slideLayout" Target="../slideLayouts/slideLayout622.xml"/><Relationship Id="rId209" Type="http://schemas.openxmlformats.org/officeDocument/2006/relationships/slideLayout" Target="../slideLayouts/slideLayout636.xml"/><Relationship Id="rId360" Type="http://schemas.openxmlformats.org/officeDocument/2006/relationships/slideLayout" Target="../slideLayouts/slideLayout787.xml"/><Relationship Id="rId416" Type="http://schemas.openxmlformats.org/officeDocument/2006/relationships/slideLayout" Target="../slideLayouts/slideLayout843.xml"/><Relationship Id="rId220" Type="http://schemas.openxmlformats.org/officeDocument/2006/relationships/slideLayout" Target="../slideLayouts/slideLayout647.xml"/><Relationship Id="rId15" Type="http://schemas.openxmlformats.org/officeDocument/2006/relationships/slideLayout" Target="../slideLayouts/slideLayout442.xml"/><Relationship Id="rId57" Type="http://schemas.openxmlformats.org/officeDocument/2006/relationships/slideLayout" Target="../slideLayouts/slideLayout484.xml"/><Relationship Id="rId262" Type="http://schemas.openxmlformats.org/officeDocument/2006/relationships/slideLayout" Target="../slideLayouts/slideLayout689.xml"/><Relationship Id="rId318" Type="http://schemas.openxmlformats.org/officeDocument/2006/relationships/slideLayout" Target="../slideLayouts/slideLayout745.xml"/><Relationship Id="rId99" Type="http://schemas.openxmlformats.org/officeDocument/2006/relationships/slideLayout" Target="../slideLayouts/slideLayout526.xml"/><Relationship Id="rId122" Type="http://schemas.openxmlformats.org/officeDocument/2006/relationships/slideLayout" Target="../slideLayouts/slideLayout549.xml"/><Relationship Id="rId164" Type="http://schemas.openxmlformats.org/officeDocument/2006/relationships/slideLayout" Target="../slideLayouts/slideLayout591.xml"/><Relationship Id="rId371" Type="http://schemas.openxmlformats.org/officeDocument/2006/relationships/slideLayout" Target="../slideLayouts/slideLayout798.xml"/><Relationship Id="rId427" Type="http://schemas.openxmlformats.org/officeDocument/2006/relationships/slideLayout" Target="../slideLayouts/slideLayout854.xml"/><Relationship Id="rId26" Type="http://schemas.openxmlformats.org/officeDocument/2006/relationships/slideLayout" Target="../slideLayouts/slideLayout453.xml"/><Relationship Id="rId231" Type="http://schemas.openxmlformats.org/officeDocument/2006/relationships/slideLayout" Target="../slideLayouts/slideLayout658.xml"/><Relationship Id="rId273" Type="http://schemas.openxmlformats.org/officeDocument/2006/relationships/slideLayout" Target="../slideLayouts/slideLayout700.xml"/><Relationship Id="rId329" Type="http://schemas.openxmlformats.org/officeDocument/2006/relationships/slideLayout" Target="../slideLayouts/slideLayout756.xml"/><Relationship Id="rId68" Type="http://schemas.openxmlformats.org/officeDocument/2006/relationships/slideLayout" Target="../slideLayouts/slideLayout495.xml"/><Relationship Id="rId133" Type="http://schemas.openxmlformats.org/officeDocument/2006/relationships/slideLayout" Target="../slideLayouts/slideLayout560.xml"/><Relationship Id="rId175" Type="http://schemas.openxmlformats.org/officeDocument/2006/relationships/slideLayout" Target="../slideLayouts/slideLayout602.xml"/><Relationship Id="rId340" Type="http://schemas.openxmlformats.org/officeDocument/2006/relationships/slideLayout" Target="../slideLayouts/slideLayout767.xml"/><Relationship Id="rId200" Type="http://schemas.openxmlformats.org/officeDocument/2006/relationships/slideLayout" Target="../slideLayouts/slideLayout627.xml"/><Relationship Id="rId382" Type="http://schemas.openxmlformats.org/officeDocument/2006/relationships/slideLayout" Target="../slideLayouts/slideLayout809.xml"/><Relationship Id="rId242" Type="http://schemas.openxmlformats.org/officeDocument/2006/relationships/slideLayout" Target="../slideLayouts/slideLayout669.xml"/><Relationship Id="rId284" Type="http://schemas.openxmlformats.org/officeDocument/2006/relationships/slideLayout" Target="../slideLayouts/slideLayout711.xml"/><Relationship Id="rId37" Type="http://schemas.openxmlformats.org/officeDocument/2006/relationships/slideLayout" Target="../slideLayouts/slideLayout464.xml"/><Relationship Id="rId79" Type="http://schemas.openxmlformats.org/officeDocument/2006/relationships/slideLayout" Target="../slideLayouts/slideLayout506.xml"/><Relationship Id="rId102" Type="http://schemas.openxmlformats.org/officeDocument/2006/relationships/slideLayout" Target="../slideLayouts/slideLayout529.xml"/><Relationship Id="rId144" Type="http://schemas.openxmlformats.org/officeDocument/2006/relationships/slideLayout" Target="../slideLayouts/slideLayout571.xml"/><Relationship Id="rId90" Type="http://schemas.openxmlformats.org/officeDocument/2006/relationships/slideLayout" Target="../slideLayouts/slideLayout517.xml"/><Relationship Id="rId186" Type="http://schemas.openxmlformats.org/officeDocument/2006/relationships/slideLayout" Target="../slideLayouts/slideLayout613.xml"/><Relationship Id="rId351" Type="http://schemas.openxmlformats.org/officeDocument/2006/relationships/slideLayout" Target="../slideLayouts/slideLayout778.xml"/><Relationship Id="rId393" Type="http://schemas.openxmlformats.org/officeDocument/2006/relationships/slideLayout" Target="../slideLayouts/slideLayout820.xml"/><Relationship Id="rId407" Type="http://schemas.openxmlformats.org/officeDocument/2006/relationships/slideLayout" Target="../slideLayouts/slideLayout834.xml"/><Relationship Id="rId211" Type="http://schemas.openxmlformats.org/officeDocument/2006/relationships/slideLayout" Target="../slideLayouts/slideLayout638.xml"/><Relationship Id="rId253" Type="http://schemas.openxmlformats.org/officeDocument/2006/relationships/slideLayout" Target="../slideLayouts/slideLayout680.xml"/><Relationship Id="rId295" Type="http://schemas.openxmlformats.org/officeDocument/2006/relationships/slideLayout" Target="../slideLayouts/slideLayout722.xml"/><Relationship Id="rId309" Type="http://schemas.openxmlformats.org/officeDocument/2006/relationships/slideLayout" Target="../slideLayouts/slideLayout736.xml"/><Relationship Id="rId48" Type="http://schemas.openxmlformats.org/officeDocument/2006/relationships/slideLayout" Target="../slideLayouts/slideLayout475.xml"/><Relationship Id="rId113" Type="http://schemas.openxmlformats.org/officeDocument/2006/relationships/slideLayout" Target="../slideLayouts/slideLayout540.xml"/><Relationship Id="rId320" Type="http://schemas.openxmlformats.org/officeDocument/2006/relationships/slideLayout" Target="../slideLayouts/slideLayout747.xml"/><Relationship Id="rId155" Type="http://schemas.openxmlformats.org/officeDocument/2006/relationships/slideLayout" Target="../slideLayouts/slideLayout582.xml"/><Relationship Id="rId197" Type="http://schemas.openxmlformats.org/officeDocument/2006/relationships/slideLayout" Target="../slideLayouts/slideLayout624.xml"/><Relationship Id="rId362" Type="http://schemas.openxmlformats.org/officeDocument/2006/relationships/slideLayout" Target="../slideLayouts/slideLayout789.xml"/><Relationship Id="rId418" Type="http://schemas.openxmlformats.org/officeDocument/2006/relationships/slideLayout" Target="../slideLayouts/slideLayout845.xml"/><Relationship Id="rId222" Type="http://schemas.openxmlformats.org/officeDocument/2006/relationships/slideLayout" Target="../slideLayouts/slideLayout649.xml"/><Relationship Id="rId264" Type="http://schemas.openxmlformats.org/officeDocument/2006/relationships/slideLayout" Target="../slideLayouts/slideLayout691.xml"/><Relationship Id="rId17" Type="http://schemas.openxmlformats.org/officeDocument/2006/relationships/slideLayout" Target="../slideLayouts/slideLayout444.xml"/><Relationship Id="rId59" Type="http://schemas.openxmlformats.org/officeDocument/2006/relationships/slideLayout" Target="../slideLayouts/slideLayout486.xml"/><Relationship Id="rId124" Type="http://schemas.openxmlformats.org/officeDocument/2006/relationships/slideLayout" Target="../slideLayouts/slideLayout551.xml"/><Relationship Id="rId70" Type="http://schemas.openxmlformats.org/officeDocument/2006/relationships/slideLayout" Target="../slideLayouts/slideLayout497.xml"/><Relationship Id="rId166" Type="http://schemas.openxmlformats.org/officeDocument/2006/relationships/slideLayout" Target="../slideLayouts/slideLayout593.xml"/><Relationship Id="rId331" Type="http://schemas.openxmlformats.org/officeDocument/2006/relationships/slideLayout" Target="../slideLayouts/slideLayout758.xml"/><Relationship Id="rId373" Type="http://schemas.openxmlformats.org/officeDocument/2006/relationships/slideLayout" Target="../slideLayouts/slideLayout800.xml"/><Relationship Id="rId429" Type="http://schemas.openxmlformats.org/officeDocument/2006/relationships/slideLayout" Target="../slideLayouts/slideLayout856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973.xml"/><Relationship Id="rId299" Type="http://schemas.openxmlformats.org/officeDocument/2006/relationships/slideLayout" Target="../slideLayouts/slideLayout1155.xml"/><Relationship Id="rId21" Type="http://schemas.openxmlformats.org/officeDocument/2006/relationships/slideLayout" Target="../slideLayouts/slideLayout877.xml"/><Relationship Id="rId63" Type="http://schemas.openxmlformats.org/officeDocument/2006/relationships/slideLayout" Target="../slideLayouts/slideLayout919.xml"/><Relationship Id="rId159" Type="http://schemas.openxmlformats.org/officeDocument/2006/relationships/slideLayout" Target="../slideLayouts/slideLayout1015.xml"/><Relationship Id="rId324" Type="http://schemas.openxmlformats.org/officeDocument/2006/relationships/slideLayout" Target="../slideLayouts/slideLayout1180.xml"/><Relationship Id="rId366" Type="http://schemas.openxmlformats.org/officeDocument/2006/relationships/slideLayout" Target="../slideLayouts/slideLayout1222.xml"/><Relationship Id="rId170" Type="http://schemas.openxmlformats.org/officeDocument/2006/relationships/slideLayout" Target="../slideLayouts/slideLayout1026.xml"/><Relationship Id="rId226" Type="http://schemas.openxmlformats.org/officeDocument/2006/relationships/slideLayout" Target="../slideLayouts/slideLayout1082.xml"/><Relationship Id="rId433" Type="http://schemas.openxmlformats.org/officeDocument/2006/relationships/slideLayout" Target="../slideLayouts/slideLayout1289.xml"/><Relationship Id="rId268" Type="http://schemas.openxmlformats.org/officeDocument/2006/relationships/slideLayout" Target="../slideLayouts/slideLayout1124.xml"/><Relationship Id="rId32" Type="http://schemas.openxmlformats.org/officeDocument/2006/relationships/slideLayout" Target="../slideLayouts/slideLayout888.xml"/><Relationship Id="rId74" Type="http://schemas.openxmlformats.org/officeDocument/2006/relationships/slideLayout" Target="../slideLayouts/slideLayout930.xml"/><Relationship Id="rId128" Type="http://schemas.openxmlformats.org/officeDocument/2006/relationships/slideLayout" Target="../slideLayouts/slideLayout984.xml"/><Relationship Id="rId335" Type="http://schemas.openxmlformats.org/officeDocument/2006/relationships/slideLayout" Target="../slideLayouts/slideLayout1191.xml"/><Relationship Id="rId377" Type="http://schemas.openxmlformats.org/officeDocument/2006/relationships/slideLayout" Target="../slideLayouts/slideLayout1233.xml"/><Relationship Id="rId5" Type="http://schemas.openxmlformats.org/officeDocument/2006/relationships/slideLayout" Target="../slideLayouts/slideLayout861.xml"/><Relationship Id="rId181" Type="http://schemas.openxmlformats.org/officeDocument/2006/relationships/slideLayout" Target="../slideLayouts/slideLayout1037.xml"/><Relationship Id="rId237" Type="http://schemas.openxmlformats.org/officeDocument/2006/relationships/slideLayout" Target="../slideLayouts/slideLayout1093.xml"/><Relationship Id="rId402" Type="http://schemas.openxmlformats.org/officeDocument/2006/relationships/slideLayout" Target="../slideLayouts/slideLayout1258.xml"/><Relationship Id="rId279" Type="http://schemas.openxmlformats.org/officeDocument/2006/relationships/slideLayout" Target="../slideLayouts/slideLayout1135.xml"/><Relationship Id="rId444" Type="http://schemas.openxmlformats.org/officeDocument/2006/relationships/slideLayout" Target="../slideLayouts/slideLayout1300.xml"/><Relationship Id="rId43" Type="http://schemas.openxmlformats.org/officeDocument/2006/relationships/slideLayout" Target="../slideLayouts/slideLayout899.xml"/><Relationship Id="rId139" Type="http://schemas.openxmlformats.org/officeDocument/2006/relationships/slideLayout" Target="../slideLayouts/slideLayout995.xml"/><Relationship Id="rId290" Type="http://schemas.openxmlformats.org/officeDocument/2006/relationships/slideLayout" Target="../slideLayouts/slideLayout1146.xml"/><Relationship Id="rId304" Type="http://schemas.openxmlformats.org/officeDocument/2006/relationships/slideLayout" Target="../slideLayouts/slideLayout1160.xml"/><Relationship Id="rId346" Type="http://schemas.openxmlformats.org/officeDocument/2006/relationships/slideLayout" Target="../slideLayouts/slideLayout1202.xml"/><Relationship Id="rId388" Type="http://schemas.openxmlformats.org/officeDocument/2006/relationships/slideLayout" Target="../slideLayouts/slideLayout1244.xml"/><Relationship Id="rId85" Type="http://schemas.openxmlformats.org/officeDocument/2006/relationships/slideLayout" Target="../slideLayouts/slideLayout941.xml"/><Relationship Id="rId150" Type="http://schemas.openxmlformats.org/officeDocument/2006/relationships/slideLayout" Target="../slideLayouts/slideLayout1006.xml"/><Relationship Id="rId192" Type="http://schemas.openxmlformats.org/officeDocument/2006/relationships/slideLayout" Target="../slideLayouts/slideLayout1048.xml"/><Relationship Id="rId206" Type="http://schemas.openxmlformats.org/officeDocument/2006/relationships/slideLayout" Target="../slideLayouts/slideLayout1062.xml"/><Relationship Id="rId413" Type="http://schemas.openxmlformats.org/officeDocument/2006/relationships/slideLayout" Target="../slideLayouts/slideLayout1269.xml"/><Relationship Id="rId248" Type="http://schemas.openxmlformats.org/officeDocument/2006/relationships/slideLayout" Target="../slideLayouts/slideLayout1104.xml"/><Relationship Id="rId455" Type="http://schemas.openxmlformats.org/officeDocument/2006/relationships/slideLayout" Target="../slideLayouts/slideLayout1311.xml"/><Relationship Id="rId12" Type="http://schemas.openxmlformats.org/officeDocument/2006/relationships/slideLayout" Target="../slideLayouts/slideLayout868.xml"/><Relationship Id="rId108" Type="http://schemas.openxmlformats.org/officeDocument/2006/relationships/slideLayout" Target="../slideLayouts/slideLayout964.xml"/><Relationship Id="rId315" Type="http://schemas.openxmlformats.org/officeDocument/2006/relationships/slideLayout" Target="../slideLayouts/slideLayout1171.xml"/><Relationship Id="rId357" Type="http://schemas.openxmlformats.org/officeDocument/2006/relationships/slideLayout" Target="../slideLayouts/slideLayout1213.xml"/><Relationship Id="rId54" Type="http://schemas.openxmlformats.org/officeDocument/2006/relationships/slideLayout" Target="../slideLayouts/slideLayout910.xml"/><Relationship Id="rId96" Type="http://schemas.openxmlformats.org/officeDocument/2006/relationships/slideLayout" Target="../slideLayouts/slideLayout952.xml"/><Relationship Id="rId161" Type="http://schemas.openxmlformats.org/officeDocument/2006/relationships/slideLayout" Target="../slideLayouts/slideLayout1017.xml"/><Relationship Id="rId217" Type="http://schemas.openxmlformats.org/officeDocument/2006/relationships/slideLayout" Target="../slideLayouts/slideLayout1073.xml"/><Relationship Id="rId399" Type="http://schemas.openxmlformats.org/officeDocument/2006/relationships/slideLayout" Target="../slideLayouts/slideLayout1255.xml"/><Relationship Id="rId259" Type="http://schemas.openxmlformats.org/officeDocument/2006/relationships/slideLayout" Target="../slideLayouts/slideLayout1115.xml"/><Relationship Id="rId424" Type="http://schemas.openxmlformats.org/officeDocument/2006/relationships/slideLayout" Target="../slideLayouts/slideLayout1280.xml"/><Relationship Id="rId23" Type="http://schemas.openxmlformats.org/officeDocument/2006/relationships/slideLayout" Target="../slideLayouts/slideLayout879.xml"/><Relationship Id="rId119" Type="http://schemas.openxmlformats.org/officeDocument/2006/relationships/slideLayout" Target="../slideLayouts/slideLayout975.xml"/><Relationship Id="rId270" Type="http://schemas.openxmlformats.org/officeDocument/2006/relationships/slideLayout" Target="../slideLayouts/slideLayout1126.xml"/><Relationship Id="rId326" Type="http://schemas.openxmlformats.org/officeDocument/2006/relationships/slideLayout" Target="../slideLayouts/slideLayout1182.xml"/><Relationship Id="rId65" Type="http://schemas.openxmlformats.org/officeDocument/2006/relationships/slideLayout" Target="../slideLayouts/slideLayout921.xml"/><Relationship Id="rId130" Type="http://schemas.openxmlformats.org/officeDocument/2006/relationships/slideLayout" Target="../slideLayouts/slideLayout986.xml"/><Relationship Id="rId368" Type="http://schemas.openxmlformats.org/officeDocument/2006/relationships/slideLayout" Target="../slideLayouts/slideLayout1224.xml"/><Relationship Id="rId172" Type="http://schemas.openxmlformats.org/officeDocument/2006/relationships/slideLayout" Target="../slideLayouts/slideLayout1028.xml"/><Relationship Id="rId228" Type="http://schemas.openxmlformats.org/officeDocument/2006/relationships/slideLayout" Target="../slideLayouts/slideLayout1084.xml"/><Relationship Id="rId435" Type="http://schemas.openxmlformats.org/officeDocument/2006/relationships/slideLayout" Target="../slideLayouts/slideLayout1291.xml"/><Relationship Id="rId281" Type="http://schemas.openxmlformats.org/officeDocument/2006/relationships/slideLayout" Target="../slideLayouts/slideLayout1137.xml"/><Relationship Id="rId337" Type="http://schemas.openxmlformats.org/officeDocument/2006/relationships/slideLayout" Target="../slideLayouts/slideLayout1193.xml"/><Relationship Id="rId34" Type="http://schemas.openxmlformats.org/officeDocument/2006/relationships/slideLayout" Target="../slideLayouts/slideLayout890.xml"/><Relationship Id="rId76" Type="http://schemas.openxmlformats.org/officeDocument/2006/relationships/slideLayout" Target="../slideLayouts/slideLayout932.xml"/><Relationship Id="rId141" Type="http://schemas.openxmlformats.org/officeDocument/2006/relationships/slideLayout" Target="../slideLayouts/slideLayout997.xml"/><Relationship Id="rId379" Type="http://schemas.openxmlformats.org/officeDocument/2006/relationships/slideLayout" Target="../slideLayouts/slideLayout1235.xml"/><Relationship Id="rId7" Type="http://schemas.openxmlformats.org/officeDocument/2006/relationships/slideLayout" Target="../slideLayouts/slideLayout863.xml"/><Relationship Id="rId183" Type="http://schemas.openxmlformats.org/officeDocument/2006/relationships/slideLayout" Target="../slideLayouts/slideLayout1039.xml"/><Relationship Id="rId239" Type="http://schemas.openxmlformats.org/officeDocument/2006/relationships/slideLayout" Target="../slideLayouts/slideLayout1095.xml"/><Relationship Id="rId390" Type="http://schemas.openxmlformats.org/officeDocument/2006/relationships/slideLayout" Target="../slideLayouts/slideLayout1246.xml"/><Relationship Id="rId404" Type="http://schemas.openxmlformats.org/officeDocument/2006/relationships/slideLayout" Target="../slideLayouts/slideLayout1260.xml"/><Relationship Id="rId446" Type="http://schemas.openxmlformats.org/officeDocument/2006/relationships/slideLayout" Target="../slideLayouts/slideLayout1302.xml"/><Relationship Id="rId250" Type="http://schemas.openxmlformats.org/officeDocument/2006/relationships/slideLayout" Target="../slideLayouts/slideLayout1106.xml"/><Relationship Id="rId292" Type="http://schemas.openxmlformats.org/officeDocument/2006/relationships/slideLayout" Target="../slideLayouts/slideLayout1148.xml"/><Relationship Id="rId306" Type="http://schemas.openxmlformats.org/officeDocument/2006/relationships/slideLayout" Target="../slideLayouts/slideLayout1162.xml"/><Relationship Id="rId45" Type="http://schemas.openxmlformats.org/officeDocument/2006/relationships/slideLayout" Target="../slideLayouts/slideLayout901.xml"/><Relationship Id="rId87" Type="http://schemas.openxmlformats.org/officeDocument/2006/relationships/slideLayout" Target="../slideLayouts/slideLayout943.xml"/><Relationship Id="rId110" Type="http://schemas.openxmlformats.org/officeDocument/2006/relationships/slideLayout" Target="../slideLayouts/slideLayout966.xml"/><Relationship Id="rId348" Type="http://schemas.openxmlformats.org/officeDocument/2006/relationships/slideLayout" Target="../slideLayouts/slideLayout1204.xml"/><Relationship Id="rId152" Type="http://schemas.openxmlformats.org/officeDocument/2006/relationships/slideLayout" Target="../slideLayouts/slideLayout1008.xml"/><Relationship Id="rId194" Type="http://schemas.openxmlformats.org/officeDocument/2006/relationships/slideLayout" Target="../slideLayouts/slideLayout1050.xml"/><Relationship Id="rId208" Type="http://schemas.openxmlformats.org/officeDocument/2006/relationships/slideLayout" Target="../slideLayouts/slideLayout1064.xml"/><Relationship Id="rId415" Type="http://schemas.openxmlformats.org/officeDocument/2006/relationships/slideLayout" Target="../slideLayouts/slideLayout1271.xml"/><Relationship Id="rId457" Type="http://schemas.openxmlformats.org/officeDocument/2006/relationships/theme" Target="../theme/theme3.xml"/><Relationship Id="rId261" Type="http://schemas.openxmlformats.org/officeDocument/2006/relationships/slideLayout" Target="../slideLayouts/slideLayout1117.xml"/><Relationship Id="rId14" Type="http://schemas.openxmlformats.org/officeDocument/2006/relationships/slideLayout" Target="../slideLayouts/slideLayout870.xml"/><Relationship Id="rId56" Type="http://schemas.openxmlformats.org/officeDocument/2006/relationships/slideLayout" Target="../slideLayouts/slideLayout912.xml"/><Relationship Id="rId317" Type="http://schemas.openxmlformats.org/officeDocument/2006/relationships/slideLayout" Target="../slideLayouts/slideLayout1173.xml"/><Relationship Id="rId359" Type="http://schemas.openxmlformats.org/officeDocument/2006/relationships/slideLayout" Target="../slideLayouts/slideLayout1215.xml"/><Relationship Id="rId98" Type="http://schemas.openxmlformats.org/officeDocument/2006/relationships/slideLayout" Target="../slideLayouts/slideLayout954.xml"/><Relationship Id="rId121" Type="http://schemas.openxmlformats.org/officeDocument/2006/relationships/slideLayout" Target="../slideLayouts/slideLayout977.xml"/><Relationship Id="rId163" Type="http://schemas.openxmlformats.org/officeDocument/2006/relationships/slideLayout" Target="../slideLayouts/slideLayout1019.xml"/><Relationship Id="rId219" Type="http://schemas.openxmlformats.org/officeDocument/2006/relationships/slideLayout" Target="../slideLayouts/slideLayout1075.xml"/><Relationship Id="rId370" Type="http://schemas.openxmlformats.org/officeDocument/2006/relationships/slideLayout" Target="../slideLayouts/slideLayout1226.xml"/><Relationship Id="rId426" Type="http://schemas.openxmlformats.org/officeDocument/2006/relationships/slideLayout" Target="../slideLayouts/slideLayout1282.xml"/><Relationship Id="rId230" Type="http://schemas.openxmlformats.org/officeDocument/2006/relationships/slideLayout" Target="../slideLayouts/slideLayout1086.xml"/><Relationship Id="rId25" Type="http://schemas.openxmlformats.org/officeDocument/2006/relationships/slideLayout" Target="../slideLayouts/slideLayout881.xml"/><Relationship Id="rId67" Type="http://schemas.openxmlformats.org/officeDocument/2006/relationships/slideLayout" Target="../slideLayouts/slideLayout923.xml"/><Relationship Id="rId272" Type="http://schemas.openxmlformats.org/officeDocument/2006/relationships/slideLayout" Target="../slideLayouts/slideLayout1128.xml"/><Relationship Id="rId328" Type="http://schemas.openxmlformats.org/officeDocument/2006/relationships/slideLayout" Target="../slideLayouts/slideLayout1184.xml"/><Relationship Id="rId132" Type="http://schemas.openxmlformats.org/officeDocument/2006/relationships/slideLayout" Target="../slideLayouts/slideLayout988.xml"/><Relationship Id="rId174" Type="http://schemas.openxmlformats.org/officeDocument/2006/relationships/slideLayout" Target="../slideLayouts/slideLayout1030.xml"/><Relationship Id="rId381" Type="http://schemas.openxmlformats.org/officeDocument/2006/relationships/slideLayout" Target="../slideLayouts/slideLayout1237.xml"/><Relationship Id="rId241" Type="http://schemas.openxmlformats.org/officeDocument/2006/relationships/slideLayout" Target="../slideLayouts/slideLayout1097.xml"/><Relationship Id="rId437" Type="http://schemas.openxmlformats.org/officeDocument/2006/relationships/slideLayout" Target="../slideLayouts/slideLayout1293.xml"/><Relationship Id="rId36" Type="http://schemas.openxmlformats.org/officeDocument/2006/relationships/slideLayout" Target="../slideLayouts/slideLayout892.xml"/><Relationship Id="rId283" Type="http://schemas.openxmlformats.org/officeDocument/2006/relationships/slideLayout" Target="../slideLayouts/slideLayout1139.xml"/><Relationship Id="rId339" Type="http://schemas.openxmlformats.org/officeDocument/2006/relationships/slideLayout" Target="../slideLayouts/slideLayout1195.xml"/><Relationship Id="rId78" Type="http://schemas.openxmlformats.org/officeDocument/2006/relationships/slideLayout" Target="../slideLayouts/slideLayout934.xml"/><Relationship Id="rId101" Type="http://schemas.openxmlformats.org/officeDocument/2006/relationships/slideLayout" Target="../slideLayouts/slideLayout957.xml"/><Relationship Id="rId143" Type="http://schemas.openxmlformats.org/officeDocument/2006/relationships/slideLayout" Target="../slideLayouts/slideLayout999.xml"/><Relationship Id="rId185" Type="http://schemas.openxmlformats.org/officeDocument/2006/relationships/slideLayout" Target="../slideLayouts/slideLayout1041.xml"/><Relationship Id="rId350" Type="http://schemas.openxmlformats.org/officeDocument/2006/relationships/slideLayout" Target="../slideLayouts/slideLayout1206.xml"/><Relationship Id="rId406" Type="http://schemas.openxmlformats.org/officeDocument/2006/relationships/slideLayout" Target="../slideLayouts/slideLayout1262.xml"/><Relationship Id="rId9" Type="http://schemas.openxmlformats.org/officeDocument/2006/relationships/slideLayout" Target="../slideLayouts/slideLayout865.xml"/><Relationship Id="rId210" Type="http://schemas.openxmlformats.org/officeDocument/2006/relationships/slideLayout" Target="../slideLayouts/slideLayout1066.xml"/><Relationship Id="rId392" Type="http://schemas.openxmlformats.org/officeDocument/2006/relationships/slideLayout" Target="../slideLayouts/slideLayout1248.xml"/><Relationship Id="rId448" Type="http://schemas.openxmlformats.org/officeDocument/2006/relationships/slideLayout" Target="../slideLayouts/slideLayout1304.xml"/><Relationship Id="rId252" Type="http://schemas.openxmlformats.org/officeDocument/2006/relationships/slideLayout" Target="../slideLayouts/slideLayout1108.xml"/><Relationship Id="rId294" Type="http://schemas.openxmlformats.org/officeDocument/2006/relationships/slideLayout" Target="../slideLayouts/slideLayout1150.xml"/><Relationship Id="rId308" Type="http://schemas.openxmlformats.org/officeDocument/2006/relationships/slideLayout" Target="../slideLayouts/slideLayout1164.xml"/><Relationship Id="rId47" Type="http://schemas.openxmlformats.org/officeDocument/2006/relationships/slideLayout" Target="../slideLayouts/slideLayout903.xml"/><Relationship Id="rId89" Type="http://schemas.openxmlformats.org/officeDocument/2006/relationships/slideLayout" Target="../slideLayouts/slideLayout945.xml"/><Relationship Id="rId112" Type="http://schemas.openxmlformats.org/officeDocument/2006/relationships/slideLayout" Target="../slideLayouts/slideLayout968.xml"/><Relationship Id="rId154" Type="http://schemas.openxmlformats.org/officeDocument/2006/relationships/slideLayout" Target="../slideLayouts/slideLayout1010.xml"/><Relationship Id="rId361" Type="http://schemas.openxmlformats.org/officeDocument/2006/relationships/slideLayout" Target="../slideLayouts/slideLayout1217.xml"/><Relationship Id="rId196" Type="http://schemas.openxmlformats.org/officeDocument/2006/relationships/slideLayout" Target="../slideLayouts/slideLayout1052.xml"/><Relationship Id="rId417" Type="http://schemas.openxmlformats.org/officeDocument/2006/relationships/slideLayout" Target="../slideLayouts/slideLayout1273.xml"/><Relationship Id="rId16" Type="http://schemas.openxmlformats.org/officeDocument/2006/relationships/slideLayout" Target="../slideLayouts/slideLayout872.xml"/><Relationship Id="rId221" Type="http://schemas.openxmlformats.org/officeDocument/2006/relationships/slideLayout" Target="../slideLayouts/slideLayout1077.xml"/><Relationship Id="rId263" Type="http://schemas.openxmlformats.org/officeDocument/2006/relationships/slideLayout" Target="../slideLayouts/slideLayout1119.xml"/><Relationship Id="rId319" Type="http://schemas.openxmlformats.org/officeDocument/2006/relationships/slideLayout" Target="../slideLayouts/slideLayout1175.xml"/><Relationship Id="rId58" Type="http://schemas.openxmlformats.org/officeDocument/2006/relationships/slideLayout" Target="../slideLayouts/slideLayout914.xml"/><Relationship Id="rId123" Type="http://schemas.openxmlformats.org/officeDocument/2006/relationships/slideLayout" Target="../slideLayouts/slideLayout979.xml"/><Relationship Id="rId330" Type="http://schemas.openxmlformats.org/officeDocument/2006/relationships/slideLayout" Target="../slideLayouts/slideLayout1186.xml"/><Relationship Id="rId165" Type="http://schemas.openxmlformats.org/officeDocument/2006/relationships/slideLayout" Target="../slideLayouts/slideLayout1021.xml"/><Relationship Id="rId372" Type="http://schemas.openxmlformats.org/officeDocument/2006/relationships/slideLayout" Target="../slideLayouts/slideLayout1228.xml"/><Relationship Id="rId428" Type="http://schemas.openxmlformats.org/officeDocument/2006/relationships/slideLayout" Target="../slideLayouts/slideLayout1284.xml"/><Relationship Id="rId232" Type="http://schemas.openxmlformats.org/officeDocument/2006/relationships/slideLayout" Target="../slideLayouts/slideLayout1088.xml"/><Relationship Id="rId274" Type="http://schemas.openxmlformats.org/officeDocument/2006/relationships/slideLayout" Target="../slideLayouts/slideLayout1130.xml"/><Relationship Id="rId27" Type="http://schemas.openxmlformats.org/officeDocument/2006/relationships/slideLayout" Target="../slideLayouts/slideLayout883.xml"/><Relationship Id="rId69" Type="http://schemas.openxmlformats.org/officeDocument/2006/relationships/slideLayout" Target="../slideLayouts/slideLayout925.xml"/><Relationship Id="rId134" Type="http://schemas.openxmlformats.org/officeDocument/2006/relationships/slideLayout" Target="../slideLayouts/slideLayout990.xml"/><Relationship Id="rId80" Type="http://schemas.openxmlformats.org/officeDocument/2006/relationships/slideLayout" Target="../slideLayouts/slideLayout936.xml"/><Relationship Id="rId176" Type="http://schemas.openxmlformats.org/officeDocument/2006/relationships/slideLayout" Target="../slideLayouts/slideLayout1032.xml"/><Relationship Id="rId341" Type="http://schemas.openxmlformats.org/officeDocument/2006/relationships/slideLayout" Target="../slideLayouts/slideLayout1197.xml"/><Relationship Id="rId383" Type="http://schemas.openxmlformats.org/officeDocument/2006/relationships/slideLayout" Target="../slideLayouts/slideLayout1239.xml"/><Relationship Id="rId439" Type="http://schemas.openxmlformats.org/officeDocument/2006/relationships/slideLayout" Target="../slideLayouts/slideLayout1295.xml"/><Relationship Id="rId201" Type="http://schemas.openxmlformats.org/officeDocument/2006/relationships/slideLayout" Target="../slideLayouts/slideLayout1057.xml"/><Relationship Id="rId243" Type="http://schemas.openxmlformats.org/officeDocument/2006/relationships/slideLayout" Target="../slideLayouts/slideLayout1099.xml"/><Relationship Id="rId285" Type="http://schemas.openxmlformats.org/officeDocument/2006/relationships/slideLayout" Target="../slideLayouts/slideLayout1141.xml"/><Relationship Id="rId450" Type="http://schemas.openxmlformats.org/officeDocument/2006/relationships/slideLayout" Target="../slideLayouts/slideLayout1306.xml"/><Relationship Id="rId38" Type="http://schemas.openxmlformats.org/officeDocument/2006/relationships/slideLayout" Target="../slideLayouts/slideLayout894.xml"/><Relationship Id="rId103" Type="http://schemas.openxmlformats.org/officeDocument/2006/relationships/slideLayout" Target="../slideLayouts/slideLayout959.xml"/><Relationship Id="rId310" Type="http://schemas.openxmlformats.org/officeDocument/2006/relationships/slideLayout" Target="../slideLayouts/slideLayout1166.xml"/><Relationship Id="rId91" Type="http://schemas.openxmlformats.org/officeDocument/2006/relationships/slideLayout" Target="../slideLayouts/slideLayout947.xml"/><Relationship Id="rId145" Type="http://schemas.openxmlformats.org/officeDocument/2006/relationships/slideLayout" Target="../slideLayouts/slideLayout1001.xml"/><Relationship Id="rId187" Type="http://schemas.openxmlformats.org/officeDocument/2006/relationships/slideLayout" Target="../slideLayouts/slideLayout1043.xml"/><Relationship Id="rId352" Type="http://schemas.openxmlformats.org/officeDocument/2006/relationships/slideLayout" Target="../slideLayouts/slideLayout1208.xml"/><Relationship Id="rId394" Type="http://schemas.openxmlformats.org/officeDocument/2006/relationships/slideLayout" Target="../slideLayouts/slideLayout1250.xml"/><Relationship Id="rId408" Type="http://schemas.openxmlformats.org/officeDocument/2006/relationships/slideLayout" Target="../slideLayouts/slideLayout1264.xml"/><Relationship Id="rId212" Type="http://schemas.openxmlformats.org/officeDocument/2006/relationships/slideLayout" Target="../slideLayouts/slideLayout1068.xml"/><Relationship Id="rId254" Type="http://schemas.openxmlformats.org/officeDocument/2006/relationships/slideLayout" Target="../slideLayouts/slideLayout1110.xml"/><Relationship Id="rId49" Type="http://schemas.openxmlformats.org/officeDocument/2006/relationships/slideLayout" Target="../slideLayouts/slideLayout905.xml"/><Relationship Id="rId114" Type="http://schemas.openxmlformats.org/officeDocument/2006/relationships/slideLayout" Target="../slideLayouts/slideLayout970.xml"/><Relationship Id="rId296" Type="http://schemas.openxmlformats.org/officeDocument/2006/relationships/slideLayout" Target="../slideLayouts/slideLayout1152.xml"/><Relationship Id="rId60" Type="http://schemas.openxmlformats.org/officeDocument/2006/relationships/slideLayout" Target="../slideLayouts/slideLayout916.xml"/><Relationship Id="rId156" Type="http://schemas.openxmlformats.org/officeDocument/2006/relationships/slideLayout" Target="../slideLayouts/slideLayout1012.xml"/><Relationship Id="rId198" Type="http://schemas.openxmlformats.org/officeDocument/2006/relationships/slideLayout" Target="../slideLayouts/slideLayout1054.xml"/><Relationship Id="rId321" Type="http://schemas.openxmlformats.org/officeDocument/2006/relationships/slideLayout" Target="../slideLayouts/slideLayout1177.xml"/><Relationship Id="rId363" Type="http://schemas.openxmlformats.org/officeDocument/2006/relationships/slideLayout" Target="../slideLayouts/slideLayout1219.xml"/><Relationship Id="rId419" Type="http://schemas.openxmlformats.org/officeDocument/2006/relationships/slideLayout" Target="../slideLayouts/slideLayout1275.xml"/><Relationship Id="rId223" Type="http://schemas.openxmlformats.org/officeDocument/2006/relationships/slideLayout" Target="../slideLayouts/slideLayout1079.xml"/><Relationship Id="rId430" Type="http://schemas.openxmlformats.org/officeDocument/2006/relationships/slideLayout" Target="../slideLayouts/slideLayout1286.xml"/><Relationship Id="rId18" Type="http://schemas.openxmlformats.org/officeDocument/2006/relationships/slideLayout" Target="../slideLayouts/slideLayout874.xml"/><Relationship Id="rId265" Type="http://schemas.openxmlformats.org/officeDocument/2006/relationships/slideLayout" Target="../slideLayouts/slideLayout1121.xml"/><Relationship Id="rId125" Type="http://schemas.openxmlformats.org/officeDocument/2006/relationships/slideLayout" Target="../slideLayouts/slideLayout981.xml"/><Relationship Id="rId167" Type="http://schemas.openxmlformats.org/officeDocument/2006/relationships/slideLayout" Target="../slideLayouts/slideLayout1023.xml"/><Relationship Id="rId332" Type="http://schemas.openxmlformats.org/officeDocument/2006/relationships/slideLayout" Target="../slideLayouts/slideLayout1188.xml"/><Relationship Id="rId374" Type="http://schemas.openxmlformats.org/officeDocument/2006/relationships/slideLayout" Target="../slideLayouts/slideLayout1230.xml"/><Relationship Id="rId71" Type="http://schemas.openxmlformats.org/officeDocument/2006/relationships/slideLayout" Target="../slideLayouts/slideLayout927.xml"/><Relationship Id="rId234" Type="http://schemas.openxmlformats.org/officeDocument/2006/relationships/slideLayout" Target="../slideLayouts/slideLayout1090.xml"/><Relationship Id="rId2" Type="http://schemas.openxmlformats.org/officeDocument/2006/relationships/slideLayout" Target="../slideLayouts/slideLayout858.xml"/><Relationship Id="rId29" Type="http://schemas.openxmlformats.org/officeDocument/2006/relationships/slideLayout" Target="../slideLayouts/slideLayout885.xml"/><Relationship Id="rId255" Type="http://schemas.openxmlformats.org/officeDocument/2006/relationships/slideLayout" Target="../slideLayouts/slideLayout1111.xml"/><Relationship Id="rId276" Type="http://schemas.openxmlformats.org/officeDocument/2006/relationships/slideLayout" Target="../slideLayouts/slideLayout1132.xml"/><Relationship Id="rId297" Type="http://schemas.openxmlformats.org/officeDocument/2006/relationships/slideLayout" Target="../slideLayouts/slideLayout1153.xml"/><Relationship Id="rId441" Type="http://schemas.openxmlformats.org/officeDocument/2006/relationships/slideLayout" Target="../slideLayouts/slideLayout1297.xml"/><Relationship Id="rId40" Type="http://schemas.openxmlformats.org/officeDocument/2006/relationships/slideLayout" Target="../slideLayouts/slideLayout896.xml"/><Relationship Id="rId115" Type="http://schemas.openxmlformats.org/officeDocument/2006/relationships/slideLayout" Target="../slideLayouts/slideLayout971.xml"/><Relationship Id="rId136" Type="http://schemas.openxmlformats.org/officeDocument/2006/relationships/slideLayout" Target="../slideLayouts/slideLayout992.xml"/><Relationship Id="rId157" Type="http://schemas.openxmlformats.org/officeDocument/2006/relationships/slideLayout" Target="../slideLayouts/slideLayout1013.xml"/><Relationship Id="rId178" Type="http://schemas.openxmlformats.org/officeDocument/2006/relationships/slideLayout" Target="../slideLayouts/slideLayout1034.xml"/><Relationship Id="rId301" Type="http://schemas.openxmlformats.org/officeDocument/2006/relationships/slideLayout" Target="../slideLayouts/slideLayout1157.xml"/><Relationship Id="rId322" Type="http://schemas.openxmlformats.org/officeDocument/2006/relationships/slideLayout" Target="../slideLayouts/slideLayout1178.xml"/><Relationship Id="rId343" Type="http://schemas.openxmlformats.org/officeDocument/2006/relationships/slideLayout" Target="../slideLayouts/slideLayout1199.xml"/><Relationship Id="rId364" Type="http://schemas.openxmlformats.org/officeDocument/2006/relationships/slideLayout" Target="../slideLayouts/slideLayout1220.xml"/><Relationship Id="rId61" Type="http://schemas.openxmlformats.org/officeDocument/2006/relationships/slideLayout" Target="../slideLayouts/slideLayout917.xml"/><Relationship Id="rId82" Type="http://schemas.openxmlformats.org/officeDocument/2006/relationships/slideLayout" Target="../slideLayouts/slideLayout938.xml"/><Relationship Id="rId199" Type="http://schemas.openxmlformats.org/officeDocument/2006/relationships/slideLayout" Target="../slideLayouts/slideLayout1055.xml"/><Relationship Id="rId203" Type="http://schemas.openxmlformats.org/officeDocument/2006/relationships/slideLayout" Target="../slideLayouts/slideLayout1059.xml"/><Relationship Id="rId385" Type="http://schemas.openxmlformats.org/officeDocument/2006/relationships/slideLayout" Target="../slideLayouts/slideLayout1241.xml"/><Relationship Id="rId19" Type="http://schemas.openxmlformats.org/officeDocument/2006/relationships/slideLayout" Target="../slideLayouts/slideLayout875.xml"/><Relationship Id="rId224" Type="http://schemas.openxmlformats.org/officeDocument/2006/relationships/slideLayout" Target="../slideLayouts/slideLayout1080.xml"/><Relationship Id="rId245" Type="http://schemas.openxmlformats.org/officeDocument/2006/relationships/slideLayout" Target="../slideLayouts/slideLayout1101.xml"/><Relationship Id="rId266" Type="http://schemas.openxmlformats.org/officeDocument/2006/relationships/slideLayout" Target="../slideLayouts/slideLayout1122.xml"/><Relationship Id="rId287" Type="http://schemas.openxmlformats.org/officeDocument/2006/relationships/slideLayout" Target="../slideLayouts/slideLayout1143.xml"/><Relationship Id="rId410" Type="http://schemas.openxmlformats.org/officeDocument/2006/relationships/slideLayout" Target="../slideLayouts/slideLayout1266.xml"/><Relationship Id="rId431" Type="http://schemas.openxmlformats.org/officeDocument/2006/relationships/slideLayout" Target="../slideLayouts/slideLayout1287.xml"/><Relationship Id="rId452" Type="http://schemas.openxmlformats.org/officeDocument/2006/relationships/slideLayout" Target="../slideLayouts/slideLayout1308.xml"/><Relationship Id="rId30" Type="http://schemas.openxmlformats.org/officeDocument/2006/relationships/slideLayout" Target="../slideLayouts/slideLayout886.xml"/><Relationship Id="rId105" Type="http://schemas.openxmlformats.org/officeDocument/2006/relationships/slideLayout" Target="../slideLayouts/slideLayout961.xml"/><Relationship Id="rId126" Type="http://schemas.openxmlformats.org/officeDocument/2006/relationships/slideLayout" Target="../slideLayouts/slideLayout982.xml"/><Relationship Id="rId147" Type="http://schemas.openxmlformats.org/officeDocument/2006/relationships/slideLayout" Target="../slideLayouts/slideLayout1003.xml"/><Relationship Id="rId168" Type="http://schemas.openxmlformats.org/officeDocument/2006/relationships/slideLayout" Target="../slideLayouts/slideLayout1024.xml"/><Relationship Id="rId312" Type="http://schemas.openxmlformats.org/officeDocument/2006/relationships/slideLayout" Target="../slideLayouts/slideLayout1168.xml"/><Relationship Id="rId333" Type="http://schemas.openxmlformats.org/officeDocument/2006/relationships/slideLayout" Target="../slideLayouts/slideLayout1189.xml"/><Relationship Id="rId354" Type="http://schemas.openxmlformats.org/officeDocument/2006/relationships/slideLayout" Target="../slideLayouts/slideLayout1210.xml"/><Relationship Id="rId51" Type="http://schemas.openxmlformats.org/officeDocument/2006/relationships/slideLayout" Target="../slideLayouts/slideLayout907.xml"/><Relationship Id="rId72" Type="http://schemas.openxmlformats.org/officeDocument/2006/relationships/slideLayout" Target="../slideLayouts/slideLayout928.xml"/><Relationship Id="rId93" Type="http://schemas.openxmlformats.org/officeDocument/2006/relationships/slideLayout" Target="../slideLayouts/slideLayout949.xml"/><Relationship Id="rId189" Type="http://schemas.openxmlformats.org/officeDocument/2006/relationships/slideLayout" Target="../slideLayouts/slideLayout1045.xml"/><Relationship Id="rId375" Type="http://schemas.openxmlformats.org/officeDocument/2006/relationships/slideLayout" Target="../slideLayouts/slideLayout1231.xml"/><Relationship Id="rId396" Type="http://schemas.openxmlformats.org/officeDocument/2006/relationships/slideLayout" Target="../slideLayouts/slideLayout1252.xml"/><Relationship Id="rId3" Type="http://schemas.openxmlformats.org/officeDocument/2006/relationships/slideLayout" Target="../slideLayouts/slideLayout859.xml"/><Relationship Id="rId214" Type="http://schemas.openxmlformats.org/officeDocument/2006/relationships/slideLayout" Target="../slideLayouts/slideLayout1070.xml"/><Relationship Id="rId235" Type="http://schemas.openxmlformats.org/officeDocument/2006/relationships/slideLayout" Target="../slideLayouts/slideLayout1091.xml"/><Relationship Id="rId256" Type="http://schemas.openxmlformats.org/officeDocument/2006/relationships/slideLayout" Target="../slideLayouts/slideLayout1112.xml"/><Relationship Id="rId277" Type="http://schemas.openxmlformats.org/officeDocument/2006/relationships/slideLayout" Target="../slideLayouts/slideLayout1133.xml"/><Relationship Id="rId298" Type="http://schemas.openxmlformats.org/officeDocument/2006/relationships/slideLayout" Target="../slideLayouts/slideLayout1154.xml"/><Relationship Id="rId400" Type="http://schemas.openxmlformats.org/officeDocument/2006/relationships/slideLayout" Target="../slideLayouts/slideLayout1256.xml"/><Relationship Id="rId421" Type="http://schemas.openxmlformats.org/officeDocument/2006/relationships/slideLayout" Target="../slideLayouts/slideLayout1277.xml"/><Relationship Id="rId442" Type="http://schemas.openxmlformats.org/officeDocument/2006/relationships/slideLayout" Target="../slideLayouts/slideLayout1298.xml"/><Relationship Id="rId116" Type="http://schemas.openxmlformats.org/officeDocument/2006/relationships/slideLayout" Target="../slideLayouts/slideLayout972.xml"/><Relationship Id="rId137" Type="http://schemas.openxmlformats.org/officeDocument/2006/relationships/slideLayout" Target="../slideLayouts/slideLayout993.xml"/><Relationship Id="rId158" Type="http://schemas.openxmlformats.org/officeDocument/2006/relationships/slideLayout" Target="../slideLayouts/slideLayout1014.xml"/><Relationship Id="rId302" Type="http://schemas.openxmlformats.org/officeDocument/2006/relationships/slideLayout" Target="../slideLayouts/slideLayout1158.xml"/><Relationship Id="rId323" Type="http://schemas.openxmlformats.org/officeDocument/2006/relationships/slideLayout" Target="../slideLayouts/slideLayout1179.xml"/><Relationship Id="rId344" Type="http://schemas.openxmlformats.org/officeDocument/2006/relationships/slideLayout" Target="../slideLayouts/slideLayout1200.xml"/><Relationship Id="rId20" Type="http://schemas.openxmlformats.org/officeDocument/2006/relationships/slideLayout" Target="../slideLayouts/slideLayout876.xml"/><Relationship Id="rId41" Type="http://schemas.openxmlformats.org/officeDocument/2006/relationships/slideLayout" Target="../slideLayouts/slideLayout897.xml"/><Relationship Id="rId62" Type="http://schemas.openxmlformats.org/officeDocument/2006/relationships/slideLayout" Target="../slideLayouts/slideLayout918.xml"/><Relationship Id="rId83" Type="http://schemas.openxmlformats.org/officeDocument/2006/relationships/slideLayout" Target="../slideLayouts/slideLayout939.xml"/><Relationship Id="rId179" Type="http://schemas.openxmlformats.org/officeDocument/2006/relationships/slideLayout" Target="../slideLayouts/slideLayout1035.xml"/><Relationship Id="rId365" Type="http://schemas.openxmlformats.org/officeDocument/2006/relationships/slideLayout" Target="../slideLayouts/slideLayout1221.xml"/><Relationship Id="rId386" Type="http://schemas.openxmlformats.org/officeDocument/2006/relationships/slideLayout" Target="../slideLayouts/slideLayout1242.xml"/><Relationship Id="rId190" Type="http://schemas.openxmlformats.org/officeDocument/2006/relationships/slideLayout" Target="../slideLayouts/slideLayout1046.xml"/><Relationship Id="rId204" Type="http://schemas.openxmlformats.org/officeDocument/2006/relationships/slideLayout" Target="../slideLayouts/slideLayout1060.xml"/><Relationship Id="rId225" Type="http://schemas.openxmlformats.org/officeDocument/2006/relationships/slideLayout" Target="../slideLayouts/slideLayout1081.xml"/><Relationship Id="rId246" Type="http://schemas.openxmlformats.org/officeDocument/2006/relationships/slideLayout" Target="../slideLayouts/slideLayout1102.xml"/><Relationship Id="rId267" Type="http://schemas.openxmlformats.org/officeDocument/2006/relationships/slideLayout" Target="../slideLayouts/slideLayout1123.xml"/><Relationship Id="rId288" Type="http://schemas.openxmlformats.org/officeDocument/2006/relationships/slideLayout" Target="../slideLayouts/slideLayout1144.xml"/><Relationship Id="rId411" Type="http://schemas.openxmlformats.org/officeDocument/2006/relationships/slideLayout" Target="../slideLayouts/slideLayout1267.xml"/><Relationship Id="rId432" Type="http://schemas.openxmlformats.org/officeDocument/2006/relationships/slideLayout" Target="../slideLayouts/slideLayout1288.xml"/><Relationship Id="rId453" Type="http://schemas.openxmlformats.org/officeDocument/2006/relationships/slideLayout" Target="../slideLayouts/slideLayout1309.xml"/><Relationship Id="rId106" Type="http://schemas.openxmlformats.org/officeDocument/2006/relationships/slideLayout" Target="../slideLayouts/slideLayout962.xml"/><Relationship Id="rId127" Type="http://schemas.openxmlformats.org/officeDocument/2006/relationships/slideLayout" Target="../slideLayouts/slideLayout983.xml"/><Relationship Id="rId313" Type="http://schemas.openxmlformats.org/officeDocument/2006/relationships/slideLayout" Target="../slideLayouts/slideLayout1169.xml"/><Relationship Id="rId10" Type="http://schemas.openxmlformats.org/officeDocument/2006/relationships/slideLayout" Target="../slideLayouts/slideLayout866.xml"/><Relationship Id="rId31" Type="http://schemas.openxmlformats.org/officeDocument/2006/relationships/slideLayout" Target="../slideLayouts/slideLayout887.xml"/><Relationship Id="rId52" Type="http://schemas.openxmlformats.org/officeDocument/2006/relationships/slideLayout" Target="../slideLayouts/slideLayout908.xml"/><Relationship Id="rId73" Type="http://schemas.openxmlformats.org/officeDocument/2006/relationships/slideLayout" Target="../slideLayouts/slideLayout929.xml"/><Relationship Id="rId94" Type="http://schemas.openxmlformats.org/officeDocument/2006/relationships/slideLayout" Target="../slideLayouts/slideLayout950.xml"/><Relationship Id="rId148" Type="http://schemas.openxmlformats.org/officeDocument/2006/relationships/slideLayout" Target="../slideLayouts/slideLayout1004.xml"/><Relationship Id="rId169" Type="http://schemas.openxmlformats.org/officeDocument/2006/relationships/slideLayout" Target="../slideLayouts/slideLayout1025.xml"/><Relationship Id="rId334" Type="http://schemas.openxmlformats.org/officeDocument/2006/relationships/slideLayout" Target="../slideLayouts/slideLayout1190.xml"/><Relationship Id="rId355" Type="http://schemas.openxmlformats.org/officeDocument/2006/relationships/slideLayout" Target="../slideLayouts/slideLayout1211.xml"/><Relationship Id="rId376" Type="http://schemas.openxmlformats.org/officeDocument/2006/relationships/slideLayout" Target="../slideLayouts/slideLayout1232.xml"/><Relationship Id="rId397" Type="http://schemas.openxmlformats.org/officeDocument/2006/relationships/slideLayout" Target="../slideLayouts/slideLayout1253.xml"/><Relationship Id="rId4" Type="http://schemas.openxmlformats.org/officeDocument/2006/relationships/slideLayout" Target="../slideLayouts/slideLayout860.xml"/><Relationship Id="rId180" Type="http://schemas.openxmlformats.org/officeDocument/2006/relationships/slideLayout" Target="../slideLayouts/slideLayout1036.xml"/><Relationship Id="rId215" Type="http://schemas.openxmlformats.org/officeDocument/2006/relationships/slideLayout" Target="../slideLayouts/slideLayout1071.xml"/><Relationship Id="rId236" Type="http://schemas.openxmlformats.org/officeDocument/2006/relationships/slideLayout" Target="../slideLayouts/slideLayout1092.xml"/><Relationship Id="rId257" Type="http://schemas.openxmlformats.org/officeDocument/2006/relationships/slideLayout" Target="../slideLayouts/slideLayout1113.xml"/><Relationship Id="rId278" Type="http://schemas.openxmlformats.org/officeDocument/2006/relationships/slideLayout" Target="../slideLayouts/slideLayout1134.xml"/><Relationship Id="rId401" Type="http://schemas.openxmlformats.org/officeDocument/2006/relationships/slideLayout" Target="../slideLayouts/slideLayout1257.xml"/><Relationship Id="rId422" Type="http://schemas.openxmlformats.org/officeDocument/2006/relationships/slideLayout" Target="../slideLayouts/slideLayout1278.xml"/><Relationship Id="rId443" Type="http://schemas.openxmlformats.org/officeDocument/2006/relationships/slideLayout" Target="../slideLayouts/slideLayout1299.xml"/><Relationship Id="rId303" Type="http://schemas.openxmlformats.org/officeDocument/2006/relationships/slideLayout" Target="../slideLayouts/slideLayout1159.xml"/><Relationship Id="rId42" Type="http://schemas.openxmlformats.org/officeDocument/2006/relationships/slideLayout" Target="../slideLayouts/slideLayout898.xml"/><Relationship Id="rId84" Type="http://schemas.openxmlformats.org/officeDocument/2006/relationships/slideLayout" Target="../slideLayouts/slideLayout940.xml"/><Relationship Id="rId138" Type="http://schemas.openxmlformats.org/officeDocument/2006/relationships/slideLayout" Target="../slideLayouts/slideLayout994.xml"/><Relationship Id="rId345" Type="http://schemas.openxmlformats.org/officeDocument/2006/relationships/slideLayout" Target="../slideLayouts/slideLayout1201.xml"/><Relationship Id="rId387" Type="http://schemas.openxmlformats.org/officeDocument/2006/relationships/slideLayout" Target="../slideLayouts/slideLayout1243.xml"/><Relationship Id="rId191" Type="http://schemas.openxmlformats.org/officeDocument/2006/relationships/slideLayout" Target="../slideLayouts/slideLayout1047.xml"/><Relationship Id="rId205" Type="http://schemas.openxmlformats.org/officeDocument/2006/relationships/slideLayout" Target="../slideLayouts/slideLayout1061.xml"/><Relationship Id="rId247" Type="http://schemas.openxmlformats.org/officeDocument/2006/relationships/slideLayout" Target="../slideLayouts/slideLayout1103.xml"/><Relationship Id="rId412" Type="http://schemas.openxmlformats.org/officeDocument/2006/relationships/slideLayout" Target="../slideLayouts/slideLayout1268.xml"/><Relationship Id="rId107" Type="http://schemas.openxmlformats.org/officeDocument/2006/relationships/slideLayout" Target="../slideLayouts/slideLayout963.xml"/><Relationship Id="rId289" Type="http://schemas.openxmlformats.org/officeDocument/2006/relationships/slideLayout" Target="../slideLayouts/slideLayout1145.xml"/><Relationship Id="rId454" Type="http://schemas.openxmlformats.org/officeDocument/2006/relationships/slideLayout" Target="../slideLayouts/slideLayout1310.xml"/><Relationship Id="rId11" Type="http://schemas.openxmlformats.org/officeDocument/2006/relationships/slideLayout" Target="../slideLayouts/slideLayout867.xml"/><Relationship Id="rId53" Type="http://schemas.openxmlformats.org/officeDocument/2006/relationships/slideLayout" Target="../slideLayouts/slideLayout909.xml"/><Relationship Id="rId149" Type="http://schemas.openxmlformats.org/officeDocument/2006/relationships/slideLayout" Target="../slideLayouts/slideLayout1005.xml"/><Relationship Id="rId314" Type="http://schemas.openxmlformats.org/officeDocument/2006/relationships/slideLayout" Target="../slideLayouts/slideLayout1170.xml"/><Relationship Id="rId356" Type="http://schemas.openxmlformats.org/officeDocument/2006/relationships/slideLayout" Target="../slideLayouts/slideLayout1212.xml"/><Relationship Id="rId398" Type="http://schemas.openxmlformats.org/officeDocument/2006/relationships/slideLayout" Target="../slideLayouts/slideLayout1254.xml"/><Relationship Id="rId95" Type="http://schemas.openxmlformats.org/officeDocument/2006/relationships/slideLayout" Target="../slideLayouts/slideLayout951.xml"/><Relationship Id="rId160" Type="http://schemas.openxmlformats.org/officeDocument/2006/relationships/slideLayout" Target="../slideLayouts/slideLayout1016.xml"/><Relationship Id="rId216" Type="http://schemas.openxmlformats.org/officeDocument/2006/relationships/slideLayout" Target="../slideLayouts/slideLayout1072.xml"/><Relationship Id="rId423" Type="http://schemas.openxmlformats.org/officeDocument/2006/relationships/slideLayout" Target="../slideLayouts/slideLayout1279.xml"/><Relationship Id="rId258" Type="http://schemas.openxmlformats.org/officeDocument/2006/relationships/slideLayout" Target="../slideLayouts/slideLayout1114.xml"/><Relationship Id="rId22" Type="http://schemas.openxmlformats.org/officeDocument/2006/relationships/slideLayout" Target="../slideLayouts/slideLayout878.xml"/><Relationship Id="rId64" Type="http://schemas.openxmlformats.org/officeDocument/2006/relationships/slideLayout" Target="../slideLayouts/slideLayout920.xml"/><Relationship Id="rId118" Type="http://schemas.openxmlformats.org/officeDocument/2006/relationships/slideLayout" Target="../slideLayouts/slideLayout974.xml"/><Relationship Id="rId325" Type="http://schemas.openxmlformats.org/officeDocument/2006/relationships/slideLayout" Target="../slideLayouts/slideLayout1181.xml"/><Relationship Id="rId367" Type="http://schemas.openxmlformats.org/officeDocument/2006/relationships/slideLayout" Target="../slideLayouts/slideLayout1223.xml"/><Relationship Id="rId171" Type="http://schemas.openxmlformats.org/officeDocument/2006/relationships/slideLayout" Target="../slideLayouts/slideLayout1027.xml"/><Relationship Id="rId227" Type="http://schemas.openxmlformats.org/officeDocument/2006/relationships/slideLayout" Target="../slideLayouts/slideLayout1083.xml"/><Relationship Id="rId269" Type="http://schemas.openxmlformats.org/officeDocument/2006/relationships/slideLayout" Target="../slideLayouts/slideLayout1125.xml"/><Relationship Id="rId434" Type="http://schemas.openxmlformats.org/officeDocument/2006/relationships/slideLayout" Target="../slideLayouts/slideLayout1290.xml"/><Relationship Id="rId33" Type="http://schemas.openxmlformats.org/officeDocument/2006/relationships/slideLayout" Target="../slideLayouts/slideLayout889.xml"/><Relationship Id="rId129" Type="http://schemas.openxmlformats.org/officeDocument/2006/relationships/slideLayout" Target="../slideLayouts/slideLayout985.xml"/><Relationship Id="rId280" Type="http://schemas.openxmlformats.org/officeDocument/2006/relationships/slideLayout" Target="../slideLayouts/slideLayout1136.xml"/><Relationship Id="rId336" Type="http://schemas.openxmlformats.org/officeDocument/2006/relationships/slideLayout" Target="../slideLayouts/slideLayout1192.xml"/><Relationship Id="rId75" Type="http://schemas.openxmlformats.org/officeDocument/2006/relationships/slideLayout" Target="../slideLayouts/slideLayout931.xml"/><Relationship Id="rId140" Type="http://schemas.openxmlformats.org/officeDocument/2006/relationships/slideLayout" Target="../slideLayouts/slideLayout996.xml"/><Relationship Id="rId182" Type="http://schemas.openxmlformats.org/officeDocument/2006/relationships/slideLayout" Target="../slideLayouts/slideLayout1038.xml"/><Relationship Id="rId378" Type="http://schemas.openxmlformats.org/officeDocument/2006/relationships/slideLayout" Target="../slideLayouts/slideLayout1234.xml"/><Relationship Id="rId403" Type="http://schemas.openxmlformats.org/officeDocument/2006/relationships/slideLayout" Target="../slideLayouts/slideLayout1259.xml"/><Relationship Id="rId6" Type="http://schemas.openxmlformats.org/officeDocument/2006/relationships/slideLayout" Target="../slideLayouts/slideLayout862.xml"/><Relationship Id="rId238" Type="http://schemas.openxmlformats.org/officeDocument/2006/relationships/slideLayout" Target="../slideLayouts/slideLayout1094.xml"/><Relationship Id="rId445" Type="http://schemas.openxmlformats.org/officeDocument/2006/relationships/slideLayout" Target="../slideLayouts/slideLayout1301.xml"/><Relationship Id="rId291" Type="http://schemas.openxmlformats.org/officeDocument/2006/relationships/slideLayout" Target="../slideLayouts/slideLayout1147.xml"/><Relationship Id="rId305" Type="http://schemas.openxmlformats.org/officeDocument/2006/relationships/slideLayout" Target="../slideLayouts/slideLayout1161.xml"/><Relationship Id="rId347" Type="http://schemas.openxmlformats.org/officeDocument/2006/relationships/slideLayout" Target="../slideLayouts/slideLayout1203.xml"/><Relationship Id="rId44" Type="http://schemas.openxmlformats.org/officeDocument/2006/relationships/slideLayout" Target="../slideLayouts/slideLayout900.xml"/><Relationship Id="rId86" Type="http://schemas.openxmlformats.org/officeDocument/2006/relationships/slideLayout" Target="../slideLayouts/slideLayout942.xml"/><Relationship Id="rId151" Type="http://schemas.openxmlformats.org/officeDocument/2006/relationships/slideLayout" Target="../slideLayouts/slideLayout1007.xml"/><Relationship Id="rId389" Type="http://schemas.openxmlformats.org/officeDocument/2006/relationships/slideLayout" Target="../slideLayouts/slideLayout1245.xml"/><Relationship Id="rId193" Type="http://schemas.openxmlformats.org/officeDocument/2006/relationships/slideLayout" Target="../slideLayouts/slideLayout1049.xml"/><Relationship Id="rId207" Type="http://schemas.openxmlformats.org/officeDocument/2006/relationships/slideLayout" Target="../slideLayouts/slideLayout1063.xml"/><Relationship Id="rId249" Type="http://schemas.openxmlformats.org/officeDocument/2006/relationships/slideLayout" Target="../slideLayouts/slideLayout1105.xml"/><Relationship Id="rId414" Type="http://schemas.openxmlformats.org/officeDocument/2006/relationships/slideLayout" Target="../slideLayouts/slideLayout1270.xml"/><Relationship Id="rId456" Type="http://schemas.openxmlformats.org/officeDocument/2006/relationships/slideLayout" Target="../slideLayouts/slideLayout1312.xml"/><Relationship Id="rId13" Type="http://schemas.openxmlformats.org/officeDocument/2006/relationships/slideLayout" Target="../slideLayouts/slideLayout869.xml"/><Relationship Id="rId109" Type="http://schemas.openxmlformats.org/officeDocument/2006/relationships/slideLayout" Target="../slideLayouts/slideLayout965.xml"/><Relationship Id="rId260" Type="http://schemas.openxmlformats.org/officeDocument/2006/relationships/slideLayout" Target="../slideLayouts/slideLayout1116.xml"/><Relationship Id="rId316" Type="http://schemas.openxmlformats.org/officeDocument/2006/relationships/slideLayout" Target="../slideLayouts/slideLayout1172.xml"/><Relationship Id="rId55" Type="http://schemas.openxmlformats.org/officeDocument/2006/relationships/slideLayout" Target="../slideLayouts/slideLayout911.xml"/><Relationship Id="rId97" Type="http://schemas.openxmlformats.org/officeDocument/2006/relationships/slideLayout" Target="../slideLayouts/slideLayout953.xml"/><Relationship Id="rId120" Type="http://schemas.openxmlformats.org/officeDocument/2006/relationships/slideLayout" Target="../slideLayouts/slideLayout976.xml"/><Relationship Id="rId358" Type="http://schemas.openxmlformats.org/officeDocument/2006/relationships/slideLayout" Target="../slideLayouts/slideLayout1214.xml"/><Relationship Id="rId162" Type="http://schemas.openxmlformats.org/officeDocument/2006/relationships/slideLayout" Target="../slideLayouts/slideLayout1018.xml"/><Relationship Id="rId218" Type="http://schemas.openxmlformats.org/officeDocument/2006/relationships/slideLayout" Target="../slideLayouts/slideLayout1074.xml"/><Relationship Id="rId425" Type="http://schemas.openxmlformats.org/officeDocument/2006/relationships/slideLayout" Target="../slideLayouts/slideLayout1281.xml"/><Relationship Id="rId271" Type="http://schemas.openxmlformats.org/officeDocument/2006/relationships/slideLayout" Target="../slideLayouts/slideLayout1127.xml"/><Relationship Id="rId24" Type="http://schemas.openxmlformats.org/officeDocument/2006/relationships/slideLayout" Target="../slideLayouts/slideLayout880.xml"/><Relationship Id="rId66" Type="http://schemas.openxmlformats.org/officeDocument/2006/relationships/slideLayout" Target="../slideLayouts/slideLayout922.xml"/><Relationship Id="rId131" Type="http://schemas.openxmlformats.org/officeDocument/2006/relationships/slideLayout" Target="../slideLayouts/slideLayout987.xml"/><Relationship Id="rId327" Type="http://schemas.openxmlformats.org/officeDocument/2006/relationships/slideLayout" Target="../slideLayouts/slideLayout1183.xml"/><Relationship Id="rId369" Type="http://schemas.openxmlformats.org/officeDocument/2006/relationships/slideLayout" Target="../slideLayouts/slideLayout1225.xml"/><Relationship Id="rId173" Type="http://schemas.openxmlformats.org/officeDocument/2006/relationships/slideLayout" Target="../slideLayouts/slideLayout1029.xml"/><Relationship Id="rId229" Type="http://schemas.openxmlformats.org/officeDocument/2006/relationships/slideLayout" Target="../slideLayouts/slideLayout1085.xml"/><Relationship Id="rId380" Type="http://schemas.openxmlformats.org/officeDocument/2006/relationships/slideLayout" Target="../slideLayouts/slideLayout1236.xml"/><Relationship Id="rId436" Type="http://schemas.openxmlformats.org/officeDocument/2006/relationships/slideLayout" Target="../slideLayouts/slideLayout1292.xml"/><Relationship Id="rId240" Type="http://schemas.openxmlformats.org/officeDocument/2006/relationships/slideLayout" Target="../slideLayouts/slideLayout1096.xml"/><Relationship Id="rId35" Type="http://schemas.openxmlformats.org/officeDocument/2006/relationships/slideLayout" Target="../slideLayouts/slideLayout891.xml"/><Relationship Id="rId77" Type="http://schemas.openxmlformats.org/officeDocument/2006/relationships/slideLayout" Target="../slideLayouts/slideLayout933.xml"/><Relationship Id="rId100" Type="http://schemas.openxmlformats.org/officeDocument/2006/relationships/slideLayout" Target="../slideLayouts/slideLayout956.xml"/><Relationship Id="rId282" Type="http://schemas.openxmlformats.org/officeDocument/2006/relationships/slideLayout" Target="../slideLayouts/slideLayout1138.xml"/><Relationship Id="rId338" Type="http://schemas.openxmlformats.org/officeDocument/2006/relationships/slideLayout" Target="../slideLayouts/slideLayout1194.xml"/><Relationship Id="rId8" Type="http://schemas.openxmlformats.org/officeDocument/2006/relationships/slideLayout" Target="../slideLayouts/slideLayout864.xml"/><Relationship Id="rId142" Type="http://schemas.openxmlformats.org/officeDocument/2006/relationships/slideLayout" Target="../slideLayouts/slideLayout998.xml"/><Relationship Id="rId184" Type="http://schemas.openxmlformats.org/officeDocument/2006/relationships/slideLayout" Target="../slideLayouts/slideLayout1040.xml"/><Relationship Id="rId391" Type="http://schemas.openxmlformats.org/officeDocument/2006/relationships/slideLayout" Target="../slideLayouts/slideLayout1247.xml"/><Relationship Id="rId405" Type="http://schemas.openxmlformats.org/officeDocument/2006/relationships/slideLayout" Target="../slideLayouts/slideLayout1261.xml"/><Relationship Id="rId447" Type="http://schemas.openxmlformats.org/officeDocument/2006/relationships/slideLayout" Target="../slideLayouts/slideLayout1303.xml"/><Relationship Id="rId251" Type="http://schemas.openxmlformats.org/officeDocument/2006/relationships/slideLayout" Target="../slideLayouts/slideLayout1107.xml"/><Relationship Id="rId46" Type="http://schemas.openxmlformats.org/officeDocument/2006/relationships/slideLayout" Target="../slideLayouts/slideLayout902.xml"/><Relationship Id="rId293" Type="http://schemas.openxmlformats.org/officeDocument/2006/relationships/slideLayout" Target="../slideLayouts/slideLayout1149.xml"/><Relationship Id="rId307" Type="http://schemas.openxmlformats.org/officeDocument/2006/relationships/slideLayout" Target="../slideLayouts/slideLayout1163.xml"/><Relationship Id="rId349" Type="http://schemas.openxmlformats.org/officeDocument/2006/relationships/slideLayout" Target="../slideLayouts/slideLayout1205.xml"/><Relationship Id="rId88" Type="http://schemas.openxmlformats.org/officeDocument/2006/relationships/slideLayout" Target="../slideLayouts/slideLayout944.xml"/><Relationship Id="rId111" Type="http://schemas.openxmlformats.org/officeDocument/2006/relationships/slideLayout" Target="../slideLayouts/slideLayout967.xml"/><Relationship Id="rId153" Type="http://schemas.openxmlformats.org/officeDocument/2006/relationships/slideLayout" Target="../slideLayouts/slideLayout1009.xml"/><Relationship Id="rId195" Type="http://schemas.openxmlformats.org/officeDocument/2006/relationships/slideLayout" Target="../slideLayouts/slideLayout1051.xml"/><Relationship Id="rId209" Type="http://schemas.openxmlformats.org/officeDocument/2006/relationships/slideLayout" Target="../slideLayouts/slideLayout1065.xml"/><Relationship Id="rId360" Type="http://schemas.openxmlformats.org/officeDocument/2006/relationships/slideLayout" Target="../slideLayouts/slideLayout1216.xml"/><Relationship Id="rId416" Type="http://schemas.openxmlformats.org/officeDocument/2006/relationships/slideLayout" Target="../slideLayouts/slideLayout1272.xml"/><Relationship Id="rId220" Type="http://schemas.openxmlformats.org/officeDocument/2006/relationships/slideLayout" Target="../slideLayouts/slideLayout1076.xml"/><Relationship Id="rId15" Type="http://schemas.openxmlformats.org/officeDocument/2006/relationships/slideLayout" Target="../slideLayouts/slideLayout871.xml"/><Relationship Id="rId57" Type="http://schemas.openxmlformats.org/officeDocument/2006/relationships/slideLayout" Target="../slideLayouts/slideLayout913.xml"/><Relationship Id="rId262" Type="http://schemas.openxmlformats.org/officeDocument/2006/relationships/slideLayout" Target="../slideLayouts/slideLayout1118.xml"/><Relationship Id="rId318" Type="http://schemas.openxmlformats.org/officeDocument/2006/relationships/slideLayout" Target="../slideLayouts/slideLayout1174.xml"/><Relationship Id="rId99" Type="http://schemas.openxmlformats.org/officeDocument/2006/relationships/slideLayout" Target="../slideLayouts/slideLayout955.xml"/><Relationship Id="rId122" Type="http://schemas.openxmlformats.org/officeDocument/2006/relationships/slideLayout" Target="../slideLayouts/slideLayout978.xml"/><Relationship Id="rId164" Type="http://schemas.openxmlformats.org/officeDocument/2006/relationships/slideLayout" Target="../slideLayouts/slideLayout1020.xml"/><Relationship Id="rId371" Type="http://schemas.openxmlformats.org/officeDocument/2006/relationships/slideLayout" Target="../slideLayouts/slideLayout1227.xml"/><Relationship Id="rId427" Type="http://schemas.openxmlformats.org/officeDocument/2006/relationships/slideLayout" Target="../slideLayouts/slideLayout1283.xml"/><Relationship Id="rId26" Type="http://schemas.openxmlformats.org/officeDocument/2006/relationships/slideLayout" Target="../slideLayouts/slideLayout882.xml"/><Relationship Id="rId231" Type="http://schemas.openxmlformats.org/officeDocument/2006/relationships/slideLayout" Target="../slideLayouts/slideLayout1087.xml"/><Relationship Id="rId273" Type="http://schemas.openxmlformats.org/officeDocument/2006/relationships/slideLayout" Target="../slideLayouts/slideLayout1129.xml"/><Relationship Id="rId329" Type="http://schemas.openxmlformats.org/officeDocument/2006/relationships/slideLayout" Target="../slideLayouts/slideLayout1185.xml"/><Relationship Id="rId68" Type="http://schemas.openxmlformats.org/officeDocument/2006/relationships/slideLayout" Target="../slideLayouts/slideLayout924.xml"/><Relationship Id="rId133" Type="http://schemas.openxmlformats.org/officeDocument/2006/relationships/slideLayout" Target="../slideLayouts/slideLayout989.xml"/><Relationship Id="rId175" Type="http://schemas.openxmlformats.org/officeDocument/2006/relationships/slideLayout" Target="../slideLayouts/slideLayout1031.xml"/><Relationship Id="rId340" Type="http://schemas.openxmlformats.org/officeDocument/2006/relationships/slideLayout" Target="../slideLayouts/slideLayout1196.xml"/><Relationship Id="rId200" Type="http://schemas.openxmlformats.org/officeDocument/2006/relationships/slideLayout" Target="../slideLayouts/slideLayout1056.xml"/><Relationship Id="rId382" Type="http://schemas.openxmlformats.org/officeDocument/2006/relationships/slideLayout" Target="../slideLayouts/slideLayout1238.xml"/><Relationship Id="rId438" Type="http://schemas.openxmlformats.org/officeDocument/2006/relationships/slideLayout" Target="../slideLayouts/slideLayout1294.xml"/><Relationship Id="rId242" Type="http://schemas.openxmlformats.org/officeDocument/2006/relationships/slideLayout" Target="../slideLayouts/slideLayout1098.xml"/><Relationship Id="rId284" Type="http://schemas.openxmlformats.org/officeDocument/2006/relationships/slideLayout" Target="../slideLayouts/slideLayout1140.xml"/><Relationship Id="rId37" Type="http://schemas.openxmlformats.org/officeDocument/2006/relationships/slideLayout" Target="../slideLayouts/slideLayout893.xml"/><Relationship Id="rId79" Type="http://schemas.openxmlformats.org/officeDocument/2006/relationships/slideLayout" Target="../slideLayouts/slideLayout935.xml"/><Relationship Id="rId102" Type="http://schemas.openxmlformats.org/officeDocument/2006/relationships/slideLayout" Target="../slideLayouts/slideLayout958.xml"/><Relationship Id="rId144" Type="http://schemas.openxmlformats.org/officeDocument/2006/relationships/slideLayout" Target="../slideLayouts/slideLayout1000.xml"/><Relationship Id="rId90" Type="http://schemas.openxmlformats.org/officeDocument/2006/relationships/slideLayout" Target="../slideLayouts/slideLayout946.xml"/><Relationship Id="rId186" Type="http://schemas.openxmlformats.org/officeDocument/2006/relationships/slideLayout" Target="../slideLayouts/slideLayout1042.xml"/><Relationship Id="rId351" Type="http://schemas.openxmlformats.org/officeDocument/2006/relationships/slideLayout" Target="../slideLayouts/slideLayout1207.xml"/><Relationship Id="rId393" Type="http://schemas.openxmlformats.org/officeDocument/2006/relationships/slideLayout" Target="../slideLayouts/slideLayout1249.xml"/><Relationship Id="rId407" Type="http://schemas.openxmlformats.org/officeDocument/2006/relationships/slideLayout" Target="../slideLayouts/slideLayout1263.xml"/><Relationship Id="rId449" Type="http://schemas.openxmlformats.org/officeDocument/2006/relationships/slideLayout" Target="../slideLayouts/slideLayout1305.xml"/><Relationship Id="rId211" Type="http://schemas.openxmlformats.org/officeDocument/2006/relationships/slideLayout" Target="../slideLayouts/slideLayout1067.xml"/><Relationship Id="rId253" Type="http://schemas.openxmlformats.org/officeDocument/2006/relationships/slideLayout" Target="../slideLayouts/slideLayout1109.xml"/><Relationship Id="rId295" Type="http://schemas.openxmlformats.org/officeDocument/2006/relationships/slideLayout" Target="../slideLayouts/slideLayout1151.xml"/><Relationship Id="rId309" Type="http://schemas.openxmlformats.org/officeDocument/2006/relationships/slideLayout" Target="../slideLayouts/slideLayout1165.xml"/><Relationship Id="rId48" Type="http://schemas.openxmlformats.org/officeDocument/2006/relationships/slideLayout" Target="../slideLayouts/slideLayout904.xml"/><Relationship Id="rId113" Type="http://schemas.openxmlformats.org/officeDocument/2006/relationships/slideLayout" Target="../slideLayouts/slideLayout969.xml"/><Relationship Id="rId320" Type="http://schemas.openxmlformats.org/officeDocument/2006/relationships/slideLayout" Target="../slideLayouts/slideLayout1176.xml"/><Relationship Id="rId155" Type="http://schemas.openxmlformats.org/officeDocument/2006/relationships/slideLayout" Target="../slideLayouts/slideLayout1011.xml"/><Relationship Id="rId197" Type="http://schemas.openxmlformats.org/officeDocument/2006/relationships/slideLayout" Target="../slideLayouts/slideLayout1053.xml"/><Relationship Id="rId362" Type="http://schemas.openxmlformats.org/officeDocument/2006/relationships/slideLayout" Target="../slideLayouts/slideLayout1218.xml"/><Relationship Id="rId418" Type="http://schemas.openxmlformats.org/officeDocument/2006/relationships/slideLayout" Target="../slideLayouts/slideLayout1274.xml"/><Relationship Id="rId222" Type="http://schemas.openxmlformats.org/officeDocument/2006/relationships/slideLayout" Target="../slideLayouts/slideLayout1078.xml"/><Relationship Id="rId264" Type="http://schemas.openxmlformats.org/officeDocument/2006/relationships/slideLayout" Target="../slideLayouts/slideLayout1120.xml"/><Relationship Id="rId17" Type="http://schemas.openxmlformats.org/officeDocument/2006/relationships/slideLayout" Target="../slideLayouts/slideLayout873.xml"/><Relationship Id="rId59" Type="http://schemas.openxmlformats.org/officeDocument/2006/relationships/slideLayout" Target="../slideLayouts/slideLayout915.xml"/><Relationship Id="rId124" Type="http://schemas.openxmlformats.org/officeDocument/2006/relationships/slideLayout" Target="../slideLayouts/slideLayout980.xml"/><Relationship Id="rId70" Type="http://schemas.openxmlformats.org/officeDocument/2006/relationships/slideLayout" Target="../slideLayouts/slideLayout926.xml"/><Relationship Id="rId166" Type="http://schemas.openxmlformats.org/officeDocument/2006/relationships/slideLayout" Target="../slideLayouts/slideLayout1022.xml"/><Relationship Id="rId331" Type="http://schemas.openxmlformats.org/officeDocument/2006/relationships/slideLayout" Target="../slideLayouts/slideLayout1187.xml"/><Relationship Id="rId373" Type="http://schemas.openxmlformats.org/officeDocument/2006/relationships/slideLayout" Target="../slideLayouts/slideLayout1229.xml"/><Relationship Id="rId429" Type="http://schemas.openxmlformats.org/officeDocument/2006/relationships/slideLayout" Target="../slideLayouts/slideLayout1285.xml"/><Relationship Id="rId1" Type="http://schemas.openxmlformats.org/officeDocument/2006/relationships/slideLayout" Target="../slideLayouts/slideLayout857.xml"/><Relationship Id="rId233" Type="http://schemas.openxmlformats.org/officeDocument/2006/relationships/slideLayout" Target="../slideLayouts/slideLayout1089.xml"/><Relationship Id="rId440" Type="http://schemas.openxmlformats.org/officeDocument/2006/relationships/slideLayout" Target="../slideLayouts/slideLayout1296.xml"/><Relationship Id="rId28" Type="http://schemas.openxmlformats.org/officeDocument/2006/relationships/slideLayout" Target="../slideLayouts/slideLayout884.xml"/><Relationship Id="rId275" Type="http://schemas.openxmlformats.org/officeDocument/2006/relationships/slideLayout" Target="../slideLayouts/slideLayout1131.xml"/><Relationship Id="rId300" Type="http://schemas.openxmlformats.org/officeDocument/2006/relationships/slideLayout" Target="../slideLayouts/slideLayout1156.xml"/><Relationship Id="rId81" Type="http://schemas.openxmlformats.org/officeDocument/2006/relationships/slideLayout" Target="../slideLayouts/slideLayout937.xml"/><Relationship Id="rId135" Type="http://schemas.openxmlformats.org/officeDocument/2006/relationships/slideLayout" Target="../slideLayouts/slideLayout991.xml"/><Relationship Id="rId177" Type="http://schemas.openxmlformats.org/officeDocument/2006/relationships/slideLayout" Target="../slideLayouts/slideLayout1033.xml"/><Relationship Id="rId342" Type="http://schemas.openxmlformats.org/officeDocument/2006/relationships/slideLayout" Target="../slideLayouts/slideLayout1198.xml"/><Relationship Id="rId384" Type="http://schemas.openxmlformats.org/officeDocument/2006/relationships/slideLayout" Target="../slideLayouts/slideLayout1240.xml"/><Relationship Id="rId202" Type="http://schemas.openxmlformats.org/officeDocument/2006/relationships/slideLayout" Target="../slideLayouts/slideLayout1058.xml"/><Relationship Id="rId244" Type="http://schemas.openxmlformats.org/officeDocument/2006/relationships/slideLayout" Target="../slideLayouts/slideLayout1100.xml"/><Relationship Id="rId39" Type="http://schemas.openxmlformats.org/officeDocument/2006/relationships/slideLayout" Target="../slideLayouts/slideLayout895.xml"/><Relationship Id="rId286" Type="http://schemas.openxmlformats.org/officeDocument/2006/relationships/slideLayout" Target="../slideLayouts/slideLayout1142.xml"/><Relationship Id="rId451" Type="http://schemas.openxmlformats.org/officeDocument/2006/relationships/slideLayout" Target="../slideLayouts/slideLayout1307.xml"/><Relationship Id="rId50" Type="http://schemas.openxmlformats.org/officeDocument/2006/relationships/slideLayout" Target="../slideLayouts/slideLayout906.xml"/><Relationship Id="rId104" Type="http://schemas.openxmlformats.org/officeDocument/2006/relationships/slideLayout" Target="../slideLayouts/slideLayout960.xml"/><Relationship Id="rId146" Type="http://schemas.openxmlformats.org/officeDocument/2006/relationships/slideLayout" Target="../slideLayouts/slideLayout1002.xml"/><Relationship Id="rId188" Type="http://schemas.openxmlformats.org/officeDocument/2006/relationships/slideLayout" Target="../slideLayouts/slideLayout1044.xml"/><Relationship Id="rId311" Type="http://schemas.openxmlformats.org/officeDocument/2006/relationships/slideLayout" Target="../slideLayouts/slideLayout1167.xml"/><Relationship Id="rId353" Type="http://schemas.openxmlformats.org/officeDocument/2006/relationships/slideLayout" Target="../slideLayouts/slideLayout1209.xml"/><Relationship Id="rId395" Type="http://schemas.openxmlformats.org/officeDocument/2006/relationships/slideLayout" Target="../slideLayouts/slideLayout1251.xml"/><Relationship Id="rId409" Type="http://schemas.openxmlformats.org/officeDocument/2006/relationships/slideLayout" Target="../slideLayouts/slideLayout1265.xml"/><Relationship Id="rId92" Type="http://schemas.openxmlformats.org/officeDocument/2006/relationships/slideLayout" Target="../slideLayouts/slideLayout948.xml"/><Relationship Id="rId213" Type="http://schemas.openxmlformats.org/officeDocument/2006/relationships/slideLayout" Target="../slideLayouts/slideLayout1069.xml"/><Relationship Id="rId420" Type="http://schemas.openxmlformats.org/officeDocument/2006/relationships/slideLayout" Target="../slideLayouts/slideLayout1276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29.xml"/><Relationship Id="rId299" Type="http://schemas.openxmlformats.org/officeDocument/2006/relationships/slideLayout" Target="../slideLayouts/slideLayout1611.xml"/><Relationship Id="rId21" Type="http://schemas.openxmlformats.org/officeDocument/2006/relationships/slideLayout" Target="../slideLayouts/slideLayout1333.xml"/><Relationship Id="rId63" Type="http://schemas.openxmlformats.org/officeDocument/2006/relationships/slideLayout" Target="../slideLayouts/slideLayout1375.xml"/><Relationship Id="rId159" Type="http://schemas.openxmlformats.org/officeDocument/2006/relationships/slideLayout" Target="../slideLayouts/slideLayout1471.xml"/><Relationship Id="rId324" Type="http://schemas.openxmlformats.org/officeDocument/2006/relationships/slideLayout" Target="../slideLayouts/slideLayout1636.xml"/><Relationship Id="rId366" Type="http://schemas.openxmlformats.org/officeDocument/2006/relationships/slideLayout" Target="../slideLayouts/slideLayout1678.xml"/><Relationship Id="rId170" Type="http://schemas.openxmlformats.org/officeDocument/2006/relationships/slideLayout" Target="../slideLayouts/slideLayout1482.xml"/><Relationship Id="rId226" Type="http://schemas.openxmlformats.org/officeDocument/2006/relationships/slideLayout" Target="../slideLayouts/slideLayout1538.xml"/><Relationship Id="rId433" Type="http://schemas.openxmlformats.org/officeDocument/2006/relationships/slideLayout" Target="../slideLayouts/slideLayout1745.xml"/><Relationship Id="rId268" Type="http://schemas.openxmlformats.org/officeDocument/2006/relationships/slideLayout" Target="../slideLayouts/slideLayout1580.xml"/><Relationship Id="rId32" Type="http://schemas.openxmlformats.org/officeDocument/2006/relationships/slideLayout" Target="../slideLayouts/slideLayout1344.xml"/><Relationship Id="rId74" Type="http://schemas.openxmlformats.org/officeDocument/2006/relationships/slideLayout" Target="../slideLayouts/slideLayout1386.xml"/><Relationship Id="rId128" Type="http://schemas.openxmlformats.org/officeDocument/2006/relationships/slideLayout" Target="../slideLayouts/slideLayout1440.xml"/><Relationship Id="rId335" Type="http://schemas.openxmlformats.org/officeDocument/2006/relationships/slideLayout" Target="../slideLayouts/slideLayout1647.xml"/><Relationship Id="rId377" Type="http://schemas.openxmlformats.org/officeDocument/2006/relationships/slideLayout" Target="../slideLayouts/slideLayout1689.xml"/><Relationship Id="rId5" Type="http://schemas.openxmlformats.org/officeDocument/2006/relationships/slideLayout" Target="../slideLayouts/slideLayout1317.xml"/><Relationship Id="rId181" Type="http://schemas.openxmlformats.org/officeDocument/2006/relationships/slideLayout" Target="../slideLayouts/slideLayout1493.xml"/><Relationship Id="rId237" Type="http://schemas.openxmlformats.org/officeDocument/2006/relationships/slideLayout" Target="../slideLayouts/slideLayout1549.xml"/><Relationship Id="rId402" Type="http://schemas.openxmlformats.org/officeDocument/2006/relationships/slideLayout" Target="../slideLayouts/slideLayout1714.xml"/><Relationship Id="rId279" Type="http://schemas.openxmlformats.org/officeDocument/2006/relationships/slideLayout" Target="../slideLayouts/slideLayout1591.xml"/><Relationship Id="rId444" Type="http://schemas.openxmlformats.org/officeDocument/2006/relationships/slideLayout" Target="../slideLayouts/slideLayout1756.xml"/><Relationship Id="rId43" Type="http://schemas.openxmlformats.org/officeDocument/2006/relationships/slideLayout" Target="../slideLayouts/slideLayout1355.xml"/><Relationship Id="rId139" Type="http://schemas.openxmlformats.org/officeDocument/2006/relationships/slideLayout" Target="../slideLayouts/slideLayout1451.xml"/><Relationship Id="rId290" Type="http://schemas.openxmlformats.org/officeDocument/2006/relationships/slideLayout" Target="../slideLayouts/slideLayout1602.xml"/><Relationship Id="rId304" Type="http://schemas.openxmlformats.org/officeDocument/2006/relationships/slideLayout" Target="../slideLayouts/slideLayout1616.xml"/><Relationship Id="rId346" Type="http://schemas.openxmlformats.org/officeDocument/2006/relationships/slideLayout" Target="../slideLayouts/slideLayout1658.xml"/><Relationship Id="rId388" Type="http://schemas.openxmlformats.org/officeDocument/2006/relationships/slideLayout" Target="../slideLayouts/slideLayout1700.xml"/><Relationship Id="rId85" Type="http://schemas.openxmlformats.org/officeDocument/2006/relationships/slideLayout" Target="../slideLayouts/slideLayout1397.xml"/><Relationship Id="rId150" Type="http://schemas.openxmlformats.org/officeDocument/2006/relationships/slideLayout" Target="../slideLayouts/slideLayout1462.xml"/><Relationship Id="rId192" Type="http://schemas.openxmlformats.org/officeDocument/2006/relationships/slideLayout" Target="../slideLayouts/slideLayout1504.xml"/><Relationship Id="rId206" Type="http://schemas.openxmlformats.org/officeDocument/2006/relationships/slideLayout" Target="../slideLayouts/slideLayout1518.xml"/><Relationship Id="rId413" Type="http://schemas.openxmlformats.org/officeDocument/2006/relationships/slideLayout" Target="../slideLayouts/slideLayout1725.xml"/><Relationship Id="rId248" Type="http://schemas.openxmlformats.org/officeDocument/2006/relationships/slideLayout" Target="../slideLayouts/slideLayout1560.xml"/><Relationship Id="rId455" Type="http://schemas.openxmlformats.org/officeDocument/2006/relationships/slideLayout" Target="../slideLayouts/slideLayout1767.xml"/><Relationship Id="rId12" Type="http://schemas.openxmlformats.org/officeDocument/2006/relationships/slideLayout" Target="../slideLayouts/slideLayout1324.xml"/><Relationship Id="rId108" Type="http://schemas.openxmlformats.org/officeDocument/2006/relationships/slideLayout" Target="../slideLayouts/slideLayout1420.xml"/><Relationship Id="rId315" Type="http://schemas.openxmlformats.org/officeDocument/2006/relationships/slideLayout" Target="../slideLayouts/slideLayout1627.xml"/><Relationship Id="rId357" Type="http://schemas.openxmlformats.org/officeDocument/2006/relationships/slideLayout" Target="../slideLayouts/slideLayout1669.xml"/><Relationship Id="rId54" Type="http://schemas.openxmlformats.org/officeDocument/2006/relationships/slideLayout" Target="../slideLayouts/slideLayout1366.xml"/><Relationship Id="rId96" Type="http://schemas.openxmlformats.org/officeDocument/2006/relationships/slideLayout" Target="../slideLayouts/slideLayout1408.xml"/><Relationship Id="rId161" Type="http://schemas.openxmlformats.org/officeDocument/2006/relationships/slideLayout" Target="../slideLayouts/slideLayout1473.xml"/><Relationship Id="rId217" Type="http://schemas.openxmlformats.org/officeDocument/2006/relationships/slideLayout" Target="../slideLayouts/slideLayout1529.xml"/><Relationship Id="rId399" Type="http://schemas.openxmlformats.org/officeDocument/2006/relationships/slideLayout" Target="../slideLayouts/slideLayout1711.xml"/><Relationship Id="rId259" Type="http://schemas.openxmlformats.org/officeDocument/2006/relationships/slideLayout" Target="../slideLayouts/slideLayout1571.xml"/><Relationship Id="rId424" Type="http://schemas.openxmlformats.org/officeDocument/2006/relationships/slideLayout" Target="../slideLayouts/slideLayout1736.xml"/><Relationship Id="rId23" Type="http://schemas.openxmlformats.org/officeDocument/2006/relationships/slideLayout" Target="../slideLayouts/slideLayout1335.xml"/><Relationship Id="rId119" Type="http://schemas.openxmlformats.org/officeDocument/2006/relationships/slideLayout" Target="../slideLayouts/slideLayout1431.xml"/><Relationship Id="rId270" Type="http://schemas.openxmlformats.org/officeDocument/2006/relationships/slideLayout" Target="../slideLayouts/slideLayout1582.xml"/><Relationship Id="rId326" Type="http://schemas.openxmlformats.org/officeDocument/2006/relationships/slideLayout" Target="../slideLayouts/slideLayout1638.xml"/><Relationship Id="rId65" Type="http://schemas.openxmlformats.org/officeDocument/2006/relationships/slideLayout" Target="../slideLayouts/slideLayout1377.xml"/><Relationship Id="rId130" Type="http://schemas.openxmlformats.org/officeDocument/2006/relationships/slideLayout" Target="../slideLayouts/slideLayout1442.xml"/><Relationship Id="rId368" Type="http://schemas.openxmlformats.org/officeDocument/2006/relationships/slideLayout" Target="../slideLayouts/slideLayout1680.xml"/><Relationship Id="rId172" Type="http://schemas.openxmlformats.org/officeDocument/2006/relationships/slideLayout" Target="../slideLayouts/slideLayout1484.xml"/><Relationship Id="rId228" Type="http://schemas.openxmlformats.org/officeDocument/2006/relationships/slideLayout" Target="../slideLayouts/slideLayout1540.xml"/><Relationship Id="rId435" Type="http://schemas.openxmlformats.org/officeDocument/2006/relationships/slideLayout" Target="../slideLayouts/slideLayout1747.xml"/><Relationship Id="rId281" Type="http://schemas.openxmlformats.org/officeDocument/2006/relationships/slideLayout" Target="../slideLayouts/slideLayout1593.xml"/><Relationship Id="rId337" Type="http://schemas.openxmlformats.org/officeDocument/2006/relationships/slideLayout" Target="../slideLayouts/slideLayout1649.xml"/><Relationship Id="rId34" Type="http://schemas.openxmlformats.org/officeDocument/2006/relationships/slideLayout" Target="../slideLayouts/slideLayout1346.xml"/><Relationship Id="rId76" Type="http://schemas.openxmlformats.org/officeDocument/2006/relationships/slideLayout" Target="../slideLayouts/slideLayout1388.xml"/><Relationship Id="rId141" Type="http://schemas.openxmlformats.org/officeDocument/2006/relationships/slideLayout" Target="../slideLayouts/slideLayout1453.xml"/><Relationship Id="rId379" Type="http://schemas.openxmlformats.org/officeDocument/2006/relationships/slideLayout" Target="../slideLayouts/slideLayout1691.xml"/><Relationship Id="rId7" Type="http://schemas.openxmlformats.org/officeDocument/2006/relationships/slideLayout" Target="../slideLayouts/slideLayout1319.xml"/><Relationship Id="rId183" Type="http://schemas.openxmlformats.org/officeDocument/2006/relationships/slideLayout" Target="../slideLayouts/slideLayout1495.xml"/><Relationship Id="rId239" Type="http://schemas.openxmlformats.org/officeDocument/2006/relationships/slideLayout" Target="../slideLayouts/slideLayout1551.xml"/><Relationship Id="rId390" Type="http://schemas.openxmlformats.org/officeDocument/2006/relationships/slideLayout" Target="../slideLayouts/slideLayout1702.xml"/><Relationship Id="rId404" Type="http://schemas.openxmlformats.org/officeDocument/2006/relationships/slideLayout" Target="../slideLayouts/slideLayout1716.xml"/><Relationship Id="rId446" Type="http://schemas.openxmlformats.org/officeDocument/2006/relationships/slideLayout" Target="../slideLayouts/slideLayout1758.xml"/><Relationship Id="rId250" Type="http://schemas.openxmlformats.org/officeDocument/2006/relationships/slideLayout" Target="../slideLayouts/slideLayout1562.xml"/><Relationship Id="rId292" Type="http://schemas.openxmlformats.org/officeDocument/2006/relationships/slideLayout" Target="../slideLayouts/slideLayout1604.xml"/><Relationship Id="rId306" Type="http://schemas.openxmlformats.org/officeDocument/2006/relationships/slideLayout" Target="../slideLayouts/slideLayout1618.xml"/><Relationship Id="rId45" Type="http://schemas.openxmlformats.org/officeDocument/2006/relationships/slideLayout" Target="../slideLayouts/slideLayout1357.xml"/><Relationship Id="rId87" Type="http://schemas.openxmlformats.org/officeDocument/2006/relationships/slideLayout" Target="../slideLayouts/slideLayout1399.xml"/><Relationship Id="rId110" Type="http://schemas.openxmlformats.org/officeDocument/2006/relationships/slideLayout" Target="../slideLayouts/slideLayout1422.xml"/><Relationship Id="rId348" Type="http://schemas.openxmlformats.org/officeDocument/2006/relationships/slideLayout" Target="../slideLayouts/slideLayout1660.xml"/><Relationship Id="rId152" Type="http://schemas.openxmlformats.org/officeDocument/2006/relationships/slideLayout" Target="../slideLayouts/slideLayout1464.xml"/><Relationship Id="rId194" Type="http://schemas.openxmlformats.org/officeDocument/2006/relationships/slideLayout" Target="../slideLayouts/slideLayout1506.xml"/><Relationship Id="rId208" Type="http://schemas.openxmlformats.org/officeDocument/2006/relationships/slideLayout" Target="../slideLayouts/slideLayout1520.xml"/><Relationship Id="rId415" Type="http://schemas.openxmlformats.org/officeDocument/2006/relationships/slideLayout" Target="../slideLayouts/slideLayout1727.xml"/><Relationship Id="rId261" Type="http://schemas.openxmlformats.org/officeDocument/2006/relationships/slideLayout" Target="../slideLayouts/slideLayout1573.xml"/><Relationship Id="rId14" Type="http://schemas.openxmlformats.org/officeDocument/2006/relationships/slideLayout" Target="../slideLayouts/slideLayout1326.xml"/><Relationship Id="rId56" Type="http://schemas.openxmlformats.org/officeDocument/2006/relationships/slideLayout" Target="../slideLayouts/slideLayout1368.xml"/><Relationship Id="rId317" Type="http://schemas.openxmlformats.org/officeDocument/2006/relationships/slideLayout" Target="../slideLayouts/slideLayout1629.xml"/><Relationship Id="rId359" Type="http://schemas.openxmlformats.org/officeDocument/2006/relationships/slideLayout" Target="../slideLayouts/slideLayout1671.xml"/><Relationship Id="rId98" Type="http://schemas.openxmlformats.org/officeDocument/2006/relationships/slideLayout" Target="../slideLayouts/slideLayout1410.xml"/><Relationship Id="rId121" Type="http://schemas.openxmlformats.org/officeDocument/2006/relationships/slideLayout" Target="../slideLayouts/slideLayout1433.xml"/><Relationship Id="rId163" Type="http://schemas.openxmlformats.org/officeDocument/2006/relationships/slideLayout" Target="../slideLayouts/slideLayout1475.xml"/><Relationship Id="rId219" Type="http://schemas.openxmlformats.org/officeDocument/2006/relationships/slideLayout" Target="../slideLayouts/slideLayout1531.xml"/><Relationship Id="rId370" Type="http://schemas.openxmlformats.org/officeDocument/2006/relationships/slideLayout" Target="../slideLayouts/slideLayout1682.xml"/><Relationship Id="rId426" Type="http://schemas.openxmlformats.org/officeDocument/2006/relationships/slideLayout" Target="../slideLayouts/slideLayout1738.xml"/><Relationship Id="rId230" Type="http://schemas.openxmlformats.org/officeDocument/2006/relationships/slideLayout" Target="../slideLayouts/slideLayout1542.xml"/><Relationship Id="rId25" Type="http://schemas.openxmlformats.org/officeDocument/2006/relationships/slideLayout" Target="../slideLayouts/slideLayout1337.xml"/><Relationship Id="rId67" Type="http://schemas.openxmlformats.org/officeDocument/2006/relationships/slideLayout" Target="../slideLayouts/slideLayout1379.xml"/><Relationship Id="rId272" Type="http://schemas.openxmlformats.org/officeDocument/2006/relationships/slideLayout" Target="../slideLayouts/slideLayout1584.xml"/><Relationship Id="rId328" Type="http://schemas.openxmlformats.org/officeDocument/2006/relationships/slideLayout" Target="../slideLayouts/slideLayout1640.xml"/><Relationship Id="rId132" Type="http://schemas.openxmlformats.org/officeDocument/2006/relationships/slideLayout" Target="../slideLayouts/slideLayout1444.xml"/><Relationship Id="rId174" Type="http://schemas.openxmlformats.org/officeDocument/2006/relationships/slideLayout" Target="../slideLayouts/slideLayout1486.xml"/><Relationship Id="rId381" Type="http://schemas.openxmlformats.org/officeDocument/2006/relationships/slideLayout" Target="../slideLayouts/slideLayout1693.xml"/><Relationship Id="rId241" Type="http://schemas.openxmlformats.org/officeDocument/2006/relationships/slideLayout" Target="../slideLayouts/slideLayout1553.xml"/><Relationship Id="rId437" Type="http://schemas.openxmlformats.org/officeDocument/2006/relationships/slideLayout" Target="../slideLayouts/slideLayout1749.xml"/><Relationship Id="rId36" Type="http://schemas.openxmlformats.org/officeDocument/2006/relationships/slideLayout" Target="../slideLayouts/slideLayout1348.xml"/><Relationship Id="rId283" Type="http://schemas.openxmlformats.org/officeDocument/2006/relationships/slideLayout" Target="../slideLayouts/slideLayout1595.xml"/><Relationship Id="rId339" Type="http://schemas.openxmlformats.org/officeDocument/2006/relationships/slideLayout" Target="../slideLayouts/slideLayout1651.xml"/><Relationship Id="rId78" Type="http://schemas.openxmlformats.org/officeDocument/2006/relationships/slideLayout" Target="../slideLayouts/slideLayout1390.xml"/><Relationship Id="rId101" Type="http://schemas.openxmlformats.org/officeDocument/2006/relationships/slideLayout" Target="../slideLayouts/slideLayout1413.xml"/><Relationship Id="rId143" Type="http://schemas.openxmlformats.org/officeDocument/2006/relationships/slideLayout" Target="../slideLayouts/slideLayout1455.xml"/><Relationship Id="rId185" Type="http://schemas.openxmlformats.org/officeDocument/2006/relationships/slideLayout" Target="../slideLayouts/slideLayout1497.xml"/><Relationship Id="rId350" Type="http://schemas.openxmlformats.org/officeDocument/2006/relationships/slideLayout" Target="../slideLayouts/slideLayout1662.xml"/><Relationship Id="rId406" Type="http://schemas.openxmlformats.org/officeDocument/2006/relationships/slideLayout" Target="../slideLayouts/slideLayout1718.xml"/><Relationship Id="rId9" Type="http://schemas.openxmlformats.org/officeDocument/2006/relationships/slideLayout" Target="../slideLayouts/slideLayout1321.xml"/><Relationship Id="rId210" Type="http://schemas.openxmlformats.org/officeDocument/2006/relationships/slideLayout" Target="../slideLayouts/slideLayout1522.xml"/><Relationship Id="rId392" Type="http://schemas.openxmlformats.org/officeDocument/2006/relationships/slideLayout" Target="../slideLayouts/slideLayout1704.xml"/><Relationship Id="rId448" Type="http://schemas.openxmlformats.org/officeDocument/2006/relationships/slideLayout" Target="../slideLayouts/slideLayout1760.xml"/><Relationship Id="rId252" Type="http://schemas.openxmlformats.org/officeDocument/2006/relationships/slideLayout" Target="../slideLayouts/slideLayout1564.xml"/><Relationship Id="rId294" Type="http://schemas.openxmlformats.org/officeDocument/2006/relationships/slideLayout" Target="../slideLayouts/slideLayout1606.xml"/><Relationship Id="rId308" Type="http://schemas.openxmlformats.org/officeDocument/2006/relationships/slideLayout" Target="../slideLayouts/slideLayout1620.xml"/><Relationship Id="rId47" Type="http://schemas.openxmlformats.org/officeDocument/2006/relationships/slideLayout" Target="../slideLayouts/slideLayout1359.xml"/><Relationship Id="rId89" Type="http://schemas.openxmlformats.org/officeDocument/2006/relationships/slideLayout" Target="../slideLayouts/slideLayout1401.xml"/><Relationship Id="rId112" Type="http://schemas.openxmlformats.org/officeDocument/2006/relationships/slideLayout" Target="../slideLayouts/slideLayout1424.xml"/><Relationship Id="rId154" Type="http://schemas.openxmlformats.org/officeDocument/2006/relationships/slideLayout" Target="../slideLayouts/slideLayout1466.xml"/><Relationship Id="rId361" Type="http://schemas.openxmlformats.org/officeDocument/2006/relationships/slideLayout" Target="../slideLayouts/slideLayout1673.xml"/><Relationship Id="rId196" Type="http://schemas.openxmlformats.org/officeDocument/2006/relationships/slideLayout" Target="../slideLayouts/slideLayout1508.xml"/><Relationship Id="rId417" Type="http://schemas.openxmlformats.org/officeDocument/2006/relationships/slideLayout" Target="../slideLayouts/slideLayout1729.xml"/><Relationship Id="rId16" Type="http://schemas.openxmlformats.org/officeDocument/2006/relationships/slideLayout" Target="../slideLayouts/slideLayout1328.xml"/><Relationship Id="rId221" Type="http://schemas.openxmlformats.org/officeDocument/2006/relationships/slideLayout" Target="../slideLayouts/slideLayout1533.xml"/><Relationship Id="rId263" Type="http://schemas.openxmlformats.org/officeDocument/2006/relationships/slideLayout" Target="../slideLayouts/slideLayout1575.xml"/><Relationship Id="rId319" Type="http://schemas.openxmlformats.org/officeDocument/2006/relationships/slideLayout" Target="../slideLayouts/slideLayout1631.xml"/><Relationship Id="rId58" Type="http://schemas.openxmlformats.org/officeDocument/2006/relationships/slideLayout" Target="../slideLayouts/slideLayout1370.xml"/><Relationship Id="rId123" Type="http://schemas.openxmlformats.org/officeDocument/2006/relationships/slideLayout" Target="../slideLayouts/slideLayout1435.xml"/><Relationship Id="rId330" Type="http://schemas.openxmlformats.org/officeDocument/2006/relationships/slideLayout" Target="../slideLayouts/slideLayout1642.xml"/><Relationship Id="rId165" Type="http://schemas.openxmlformats.org/officeDocument/2006/relationships/slideLayout" Target="../slideLayouts/slideLayout1477.xml"/><Relationship Id="rId372" Type="http://schemas.openxmlformats.org/officeDocument/2006/relationships/slideLayout" Target="../slideLayouts/slideLayout1684.xml"/><Relationship Id="rId428" Type="http://schemas.openxmlformats.org/officeDocument/2006/relationships/slideLayout" Target="../slideLayouts/slideLayout1740.xml"/><Relationship Id="rId232" Type="http://schemas.openxmlformats.org/officeDocument/2006/relationships/slideLayout" Target="../slideLayouts/slideLayout1544.xml"/><Relationship Id="rId274" Type="http://schemas.openxmlformats.org/officeDocument/2006/relationships/slideLayout" Target="../slideLayouts/slideLayout1586.xml"/><Relationship Id="rId27" Type="http://schemas.openxmlformats.org/officeDocument/2006/relationships/slideLayout" Target="../slideLayouts/slideLayout1339.xml"/><Relationship Id="rId69" Type="http://schemas.openxmlformats.org/officeDocument/2006/relationships/slideLayout" Target="../slideLayouts/slideLayout1381.xml"/><Relationship Id="rId134" Type="http://schemas.openxmlformats.org/officeDocument/2006/relationships/slideLayout" Target="../slideLayouts/slideLayout1446.xml"/><Relationship Id="rId80" Type="http://schemas.openxmlformats.org/officeDocument/2006/relationships/slideLayout" Target="../slideLayouts/slideLayout1392.xml"/><Relationship Id="rId176" Type="http://schemas.openxmlformats.org/officeDocument/2006/relationships/slideLayout" Target="../slideLayouts/slideLayout1488.xml"/><Relationship Id="rId341" Type="http://schemas.openxmlformats.org/officeDocument/2006/relationships/slideLayout" Target="../slideLayouts/slideLayout1653.xml"/><Relationship Id="rId383" Type="http://schemas.openxmlformats.org/officeDocument/2006/relationships/slideLayout" Target="../slideLayouts/slideLayout1695.xml"/><Relationship Id="rId439" Type="http://schemas.openxmlformats.org/officeDocument/2006/relationships/slideLayout" Target="../slideLayouts/slideLayout1751.xml"/><Relationship Id="rId201" Type="http://schemas.openxmlformats.org/officeDocument/2006/relationships/slideLayout" Target="../slideLayouts/slideLayout1513.xml"/><Relationship Id="rId243" Type="http://schemas.openxmlformats.org/officeDocument/2006/relationships/slideLayout" Target="../slideLayouts/slideLayout1555.xml"/><Relationship Id="rId285" Type="http://schemas.openxmlformats.org/officeDocument/2006/relationships/slideLayout" Target="../slideLayouts/slideLayout1597.xml"/><Relationship Id="rId450" Type="http://schemas.openxmlformats.org/officeDocument/2006/relationships/slideLayout" Target="../slideLayouts/slideLayout1762.xml"/><Relationship Id="rId38" Type="http://schemas.openxmlformats.org/officeDocument/2006/relationships/slideLayout" Target="../slideLayouts/slideLayout1350.xml"/><Relationship Id="rId103" Type="http://schemas.openxmlformats.org/officeDocument/2006/relationships/slideLayout" Target="../slideLayouts/slideLayout1415.xml"/><Relationship Id="rId310" Type="http://schemas.openxmlformats.org/officeDocument/2006/relationships/slideLayout" Target="../slideLayouts/slideLayout1622.xml"/><Relationship Id="rId91" Type="http://schemas.openxmlformats.org/officeDocument/2006/relationships/slideLayout" Target="../slideLayouts/slideLayout1403.xml"/><Relationship Id="rId145" Type="http://schemas.openxmlformats.org/officeDocument/2006/relationships/slideLayout" Target="../slideLayouts/slideLayout1457.xml"/><Relationship Id="rId187" Type="http://schemas.openxmlformats.org/officeDocument/2006/relationships/slideLayout" Target="../slideLayouts/slideLayout1499.xml"/><Relationship Id="rId352" Type="http://schemas.openxmlformats.org/officeDocument/2006/relationships/slideLayout" Target="../slideLayouts/slideLayout1664.xml"/><Relationship Id="rId394" Type="http://schemas.openxmlformats.org/officeDocument/2006/relationships/slideLayout" Target="../slideLayouts/slideLayout1706.xml"/><Relationship Id="rId408" Type="http://schemas.openxmlformats.org/officeDocument/2006/relationships/slideLayout" Target="../slideLayouts/slideLayout1720.xml"/><Relationship Id="rId212" Type="http://schemas.openxmlformats.org/officeDocument/2006/relationships/slideLayout" Target="../slideLayouts/slideLayout1524.xml"/><Relationship Id="rId254" Type="http://schemas.openxmlformats.org/officeDocument/2006/relationships/slideLayout" Target="../slideLayouts/slideLayout1566.xml"/><Relationship Id="rId49" Type="http://schemas.openxmlformats.org/officeDocument/2006/relationships/slideLayout" Target="../slideLayouts/slideLayout1361.xml"/><Relationship Id="rId114" Type="http://schemas.openxmlformats.org/officeDocument/2006/relationships/slideLayout" Target="../slideLayouts/slideLayout1426.xml"/><Relationship Id="rId296" Type="http://schemas.openxmlformats.org/officeDocument/2006/relationships/slideLayout" Target="../slideLayouts/slideLayout1608.xml"/><Relationship Id="rId60" Type="http://schemas.openxmlformats.org/officeDocument/2006/relationships/slideLayout" Target="../slideLayouts/slideLayout1372.xml"/><Relationship Id="rId156" Type="http://schemas.openxmlformats.org/officeDocument/2006/relationships/slideLayout" Target="../slideLayouts/slideLayout1468.xml"/><Relationship Id="rId198" Type="http://schemas.openxmlformats.org/officeDocument/2006/relationships/slideLayout" Target="../slideLayouts/slideLayout1510.xml"/><Relationship Id="rId321" Type="http://schemas.openxmlformats.org/officeDocument/2006/relationships/slideLayout" Target="../slideLayouts/slideLayout1633.xml"/><Relationship Id="rId363" Type="http://schemas.openxmlformats.org/officeDocument/2006/relationships/slideLayout" Target="../slideLayouts/slideLayout1675.xml"/><Relationship Id="rId419" Type="http://schemas.openxmlformats.org/officeDocument/2006/relationships/slideLayout" Target="../slideLayouts/slideLayout1731.xml"/><Relationship Id="rId223" Type="http://schemas.openxmlformats.org/officeDocument/2006/relationships/slideLayout" Target="../slideLayouts/slideLayout1535.xml"/><Relationship Id="rId430" Type="http://schemas.openxmlformats.org/officeDocument/2006/relationships/slideLayout" Target="../slideLayouts/slideLayout1742.xml"/><Relationship Id="rId18" Type="http://schemas.openxmlformats.org/officeDocument/2006/relationships/slideLayout" Target="../slideLayouts/slideLayout1330.xml"/><Relationship Id="rId265" Type="http://schemas.openxmlformats.org/officeDocument/2006/relationships/slideLayout" Target="../slideLayouts/slideLayout1577.xml"/><Relationship Id="rId125" Type="http://schemas.openxmlformats.org/officeDocument/2006/relationships/slideLayout" Target="../slideLayouts/slideLayout1437.xml"/><Relationship Id="rId167" Type="http://schemas.openxmlformats.org/officeDocument/2006/relationships/slideLayout" Target="../slideLayouts/slideLayout1479.xml"/><Relationship Id="rId332" Type="http://schemas.openxmlformats.org/officeDocument/2006/relationships/slideLayout" Target="../slideLayouts/slideLayout1644.xml"/><Relationship Id="rId374" Type="http://schemas.openxmlformats.org/officeDocument/2006/relationships/slideLayout" Target="../slideLayouts/slideLayout1686.xml"/><Relationship Id="rId71" Type="http://schemas.openxmlformats.org/officeDocument/2006/relationships/slideLayout" Target="../slideLayouts/slideLayout1383.xml"/><Relationship Id="rId92" Type="http://schemas.openxmlformats.org/officeDocument/2006/relationships/slideLayout" Target="../slideLayouts/slideLayout1404.xml"/><Relationship Id="rId213" Type="http://schemas.openxmlformats.org/officeDocument/2006/relationships/slideLayout" Target="../slideLayouts/slideLayout1525.xml"/><Relationship Id="rId234" Type="http://schemas.openxmlformats.org/officeDocument/2006/relationships/slideLayout" Target="../slideLayouts/slideLayout1546.xml"/><Relationship Id="rId420" Type="http://schemas.openxmlformats.org/officeDocument/2006/relationships/slideLayout" Target="../slideLayouts/slideLayout1732.xml"/><Relationship Id="rId2" Type="http://schemas.openxmlformats.org/officeDocument/2006/relationships/slideLayout" Target="../slideLayouts/slideLayout1314.xml"/><Relationship Id="rId29" Type="http://schemas.openxmlformats.org/officeDocument/2006/relationships/slideLayout" Target="../slideLayouts/slideLayout1341.xml"/><Relationship Id="rId255" Type="http://schemas.openxmlformats.org/officeDocument/2006/relationships/slideLayout" Target="../slideLayouts/slideLayout1567.xml"/><Relationship Id="rId276" Type="http://schemas.openxmlformats.org/officeDocument/2006/relationships/slideLayout" Target="../slideLayouts/slideLayout1588.xml"/><Relationship Id="rId297" Type="http://schemas.openxmlformats.org/officeDocument/2006/relationships/slideLayout" Target="../slideLayouts/slideLayout1609.xml"/><Relationship Id="rId441" Type="http://schemas.openxmlformats.org/officeDocument/2006/relationships/slideLayout" Target="../slideLayouts/slideLayout1753.xml"/><Relationship Id="rId40" Type="http://schemas.openxmlformats.org/officeDocument/2006/relationships/slideLayout" Target="../slideLayouts/slideLayout1352.xml"/><Relationship Id="rId115" Type="http://schemas.openxmlformats.org/officeDocument/2006/relationships/slideLayout" Target="../slideLayouts/slideLayout1427.xml"/><Relationship Id="rId136" Type="http://schemas.openxmlformats.org/officeDocument/2006/relationships/slideLayout" Target="../slideLayouts/slideLayout1448.xml"/><Relationship Id="rId157" Type="http://schemas.openxmlformats.org/officeDocument/2006/relationships/slideLayout" Target="../slideLayouts/slideLayout1469.xml"/><Relationship Id="rId178" Type="http://schemas.openxmlformats.org/officeDocument/2006/relationships/slideLayout" Target="../slideLayouts/slideLayout1490.xml"/><Relationship Id="rId301" Type="http://schemas.openxmlformats.org/officeDocument/2006/relationships/slideLayout" Target="../slideLayouts/slideLayout1613.xml"/><Relationship Id="rId322" Type="http://schemas.openxmlformats.org/officeDocument/2006/relationships/slideLayout" Target="../slideLayouts/slideLayout1634.xml"/><Relationship Id="rId343" Type="http://schemas.openxmlformats.org/officeDocument/2006/relationships/slideLayout" Target="../slideLayouts/slideLayout1655.xml"/><Relationship Id="rId364" Type="http://schemas.openxmlformats.org/officeDocument/2006/relationships/slideLayout" Target="../slideLayouts/slideLayout1676.xml"/><Relationship Id="rId61" Type="http://schemas.openxmlformats.org/officeDocument/2006/relationships/slideLayout" Target="../slideLayouts/slideLayout1373.xml"/><Relationship Id="rId82" Type="http://schemas.openxmlformats.org/officeDocument/2006/relationships/slideLayout" Target="../slideLayouts/slideLayout1394.xml"/><Relationship Id="rId199" Type="http://schemas.openxmlformats.org/officeDocument/2006/relationships/slideLayout" Target="../slideLayouts/slideLayout1511.xml"/><Relationship Id="rId203" Type="http://schemas.openxmlformats.org/officeDocument/2006/relationships/slideLayout" Target="../slideLayouts/slideLayout1515.xml"/><Relationship Id="rId385" Type="http://schemas.openxmlformats.org/officeDocument/2006/relationships/slideLayout" Target="../slideLayouts/slideLayout1697.xml"/><Relationship Id="rId19" Type="http://schemas.openxmlformats.org/officeDocument/2006/relationships/slideLayout" Target="../slideLayouts/slideLayout1331.xml"/><Relationship Id="rId224" Type="http://schemas.openxmlformats.org/officeDocument/2006/relationships/slideLayout" Target="../slideLayouts/slideLayout1536.xml"/><Relationship Id="rId245" Type="http://schemas.openxmlformats.org/officeDocument/2006/relationships/slideLayout" Target="../slideLayouts/slideLayout1557.xml"/><Relationship Id="rId266" Type="http://schemas.openxmlformats.org/officeDocument/2006/relationships/slideLayout" Target="../slideLayouts/slideLayout1578.xml"/><Relationship Id="rId287" Type="http://schemas.openxmlformats.org/officeDocument/2006/relationships/slideLayout" Target="../slideLayouts/slideLayout1599.xml"/><Relationship Id="rId410" Type="http://schemas.openxmlformats.org/officeDocument/2006/relationships/slideLayout" Target="../slideLayouts/slideLayout1722.xml"/><Relationship Id="rId431" Type="http://schemas.openxmlformats.org/officeDocument/2006/relationships/slideLayout" Target="../slideLayouts/slideLayout1743.xml"/><Relationship Id="rId452" Type="http://schemas.openxmlformats.org/officeDocument/2006/relationships/slideLayout" Target="../slideLayouts/slideLayout1764.xml"/><Relationship Id="rId30" Type="http://schemas.openxmlformats.org/officeDocument/2006/relationships/slideLayout" Target="../slideLayouts/slideLayout1342.xml"/><Relationship Id="rId105" Type="http://schemas.openxmlformats.org/officeDocument/2006/relationships/slideLayout" Target="../slideLayouts/slideLayout1417.xml"/><Relationship Id="rId126" Type="http://schemas.openxmlformats.org/officeDocument/2006/relationships/slideLayout" Target="../slideLayouts/slideLayout1438.xml"/><Relationship Id="rId147" Type="http://schemas.openxmlformats.org/officeDocument/2006/relationships/slideLayout" Target="../slideLayouts/slideLayout1459.xml"/><Relationship Id="rId168" Type="http://schemas.openxmlformats.org/officeDocument/2006/relationships/slideLayout" Target="../slideLayouts/slideLayout1480.xml"/><Relationship Id="rId312" Type="http://schemas.openxmlformats.org/officeDocument/2006/relationships/slideLayout" Target="../slideLayouts/slideLayout1624.xml"/><Relationship Id="rId333" Type="http://schemas.openxmlformats.org/officeDocument/2006/relationships/slideLayout" Target="../slideLayouts/slideLayout1645.xml"/><Relationship Id="rId354" Type="http://schemas.openxmlformats.org/officeDocument/2006/relationships/slideLayout" Target="../slideLayouts/slideLayout1666.xml"/><Relationship Id="rId51" Type="http://schemas.openxmlformats.org/officeDocument/2006/relationships/slideLayout" Target="../slideLayouts/slideLayout1363.xml"/><Relationship Id="rId72" Type="http://schemas.openxmlformats.org/officeDocument/2006/relationships/slideLayout" Target="../slideLayouts/slideLayout1384.xml"/><Relationship Id="rId93" Type="http://schemas.openxmlformats.org/officeDocument/2006/relationships/slideLayout" Target="../slideLayouts/slideLayout1405.xml"/><Relationship Id="rId189" Type="http://schemas.openxmlformats.org/officeDocument/2006/relationships/slideLayout" Target="../slideLayouts/slideLayout1501.xml"/><Relationship Id="rId375" Type="http://schemas.openxmlformats.org/officeDocument/2006/relationships/slideLayout" Target="../slideLayouts/slideLayout1687.xml"/><Relationship Id="rId396" Type="http://schemas.openxmlformats.org/officeDocument/2006/relationships/slideLayout" Target="../slideLayouts/slideLayout1708.xml"/><Relationship Id="rId3" Type="http://schemas.openxmlformats.org/officeDocument/2006/relationships/slideLayout" Target="../slideLayouts/slideLayout1315.xml"/><Relationship Id="rId214" Type="http://schemas.openxmlformats.org/officeDocument/2006/relationships/slideLayout" Target="../slideLayouts/slideLayout1526.xml"/><Relationship Id="rId235" Type="http://schemas.openxmlformats.org/officeDocument/2006/relationships/slideLayout" Target="../slideLayouts/slideLayout1547.xml"/><Relationship Id="rId256" Type="http://schemas.openxmlformats.org/officeDocument/2006/relationships/slideLayout" Target="../slideLayouts/slideLayout1568.xml"/><Relationship Id="rId277" Type="http://schemas.openxmlformats.org/officeDocument/2006/relationships/slideLayout" Target="../slideLayouts/slideLayout1589.xml"/><Relationship Id="rId298" Type="http://schemas.openxmlformats.org/officeDocument/2006/relationships/slideLayout" Target="../slideLayouts/slideLayout1610.xml"/><Relationship Id="rId400" Type="http://schemas.openxmlformats.org/officeDocument/2006/relationships/slideLayout" Target="../slideLayouts/slideLayout1712.xml"/><Relationship Id="rId421" Type="http://schemas.openxmlformats.org/officeDocument/2006/relationships/slideLayout" Target="../slideLayouts/slideLayout1733.xml"/><Relationship Id="rId442" Type="http://schemas.openxmlformats.org/officeDocument/2006/relationships/slideLayout" Target="../slideLayouts/slideLayout1754.xml"/><Relationship Id="rId116" Type="http://schemas.openxmlformats.org/officeDocument/2006/relationships/slideLayout" Target="../slideLayouts/slideLayout1428.xml"/><Relationship Id="rId137" Type="http://schemas.openxmlformats.org/officeDocument/2006/relationships/slideLayout" Target="../slideLayouts/slideLayout1449.xml"/><Relationship Id="rId158" Type="http://schemas.openxmlformats.org/officeDocument/2006/relationships/slideLayout" Target="../slideLayouts/slideLayout1470.xml"/><Relationship Id="rId302" Type="http://schemas.openxmlformats.org/officeDocument/2006/relationships/slideLayout" Target="../slideLayouts/slideLayout1614.xml"/><Relationship Id="rId323" Type="http://schemas.openxmlformats.org/officeDocument/2006/relationships/slideLayout" Target="../slideLayouts/slideLayout1635.xml"/><Relationship Id="rId344" Type="http://schemas.openxmlformats.org/officeDocument/2006/relationships/slideLayout" Target="../slideLayouts/slideLayout1656.xml"/><Relationship Id="rId20" Type="http://schemas.openxmlformats.org/officeDocument/2006/relationships/slideLayout" Target="../slideLayouts/slideLayout1332.xml"/><Relationship Id="rId41" Type="http://schemas.openxmlformats.org/officeDocument/2006/relationships/slideLayout" Target="../slideLayouts/slideLayout1353.xml"/><Relationship Id="rId62" Type="http://schemas.openxmlformats.org/officeDocument/2006/relationships/slideLayout" Target="../slideLayouts/slideLayout1374.xml"/><Relationship Id="rId83" Type="http://schemas.openxmlformats.org/officeDocument/2006/relationships/slideLayout" Target="../slideLayouts/slideLayout1395.xml"/><Relationship Id="rId179" Type="http://schemas.openxmlformats.org/officeDocument/2006/relationships/slideLayout" Target="../slideLayouts/slideLayout1491.xml"/><Relationship Id="rId365" Type="http://schemas.openxmlformats.org/officeDocument/2006/relationships/slideLayout" Target="../slideLayouts/slideLayout1677.xml"/><Relationship Id="rId386" Type="http://schemas.openxmlformats.org/officeDocument/2006/relationships/slideLayout" Target="../slideLayouts/slideLayout1698.xml"/><Relationship Id="rId190" Type="http://schemas.openxmlformats.org/officeDocument/2006/relationships/slideLayout" Target="../slideLayouts/slideLayout1502.xml"/><Relationship Id="rId204" Type="http://schemas.openxmlformats.org/officeDocument/2006/relationships/slideLayout" Target="../slideLayouts/slideLayout1516.xml"/><Relationship Id="rId225" Type="http://schemas.openxmlformats.org/officeDocument/2006/relationships/slideLayout" Target="../slideLayouts/slideLayout1537.xml"/><Relationship Id="rId246" Type="http://schemas.openxmlformats.org/officeDocument/2006/relationships/slideLayout" Target="../slideLayouts/slideLayout1558.xml"/><Relationship Id="rId267" Type="http://schemas.openxmlformats.org/officeDocument/2006/relationships/slideLayout" Target="../slideLayouts/slideLayout1579.xml"/><Relationship Id="rId288" Type="http://schemas.openxmlformats.org/officeDocument/2006/relationships/slideLayout" Target="../slideLayouts/slideLayout1600.xml"/><Relationship Id="rId411" Type="http://schemas.openxmlformats.org/officeDocument/2006/relationships/slideLayout" Target="../slideLayouts/slideLayout1723.xml"/><Relationship Id="rId432" Type="http://schemas.openxmlformats.org/officeDocument/2006/relationships/slideLayout" Target="../slideLayouts/slideLayout1744.xml"/><Relationship Id="rId453" Type="http://schemas.openxmlformats.org/officeDocument/2006/relationships/slideLayout" Target="../slideLayouts/slideLayout1765.xml"/><Relationship Id="rId106" Type="http://schemas.openxmlformats.org/officeDocument/2006/relationships/slideLayout" Target="../slideLayouts/slideLayout1418.xml"/><Relationship Id="rId127" Type="http://schemas.openxmlformats.org/officeDocument/2006/relationships/slideLayout" Target="../slideLayouts/slideLayout1439.xml"/><Relationship Id="rId313" Type="http://schemas.openxmlformats.org/officeDocument/2006/relationships/slideLayout" Target="../slideLayouts/slideLayout1625.xml"/><Relationship Id="rId10" Type="http://schemas.openxmlformats.org/officeDocument/2006/relationships/slideLayout" Target="../slideLayouts/slideLayout1322.xml"/><Relationship Id="rId31" Type="http://schemas.openxmlformats.org/officeDocument/2006/relationships/slideLayout" Target="../slideLayouts/slideLayout1343.xml"/><Relationship Id="rId52" Type="http://schemas.openxmlformats.org/officeDocument/2006/relationships/slideLayout" Target="../slideLayouts/slideLayout1364.xml"/><Relationship Id="rId73" Type="http://schemas.openxmlformats.org/officeDocument/2006/relationships/slideLayout" Target="../slideLayouts/slideLayout1385.xml"/><Relationship Id="rId94" Type="http://schemas.openxmlformats.org/officeDocument/2006/relationships/slideLayout" Target="../slideLayouts/slideLayout1406.xml"/><Relationship Id="rId148" Type="http://schemas.openxmlformats.org/officeDocument/2006/relationships/slideLayout" Target="../slideLayouts/slideLayout1460.xml"/><Relationship Id="rId169" Type="http://schemas.openxmlformats.org/officeDocument/2006/relationships/slideLayout" Target="../slideLayouts/slideLayout1481.xml"/><Relationship Id="rId334" Type="http://schemas.openxmlformats.org/officeDocument/2006/relationships/slideLayout" Target="../slideLayouts/slideLayout1646.xml"/><Relationship Id="rId355" Type="http://schemas.openxmlformats.org/officeDocument/2006/relationships/slideLayout" Target="../slideLayouts/slideLayout1667.xml"/><Relationship Id="rId376" Type="http://schemas.openxmlformats.org/officeDocument/2006/relationships/slideLayout" Target="../slideLayouts/slideLayout1688.xml"/><Relationship Id="rId397" Type="http://schemas.openxmlformats.org/officeDocument/2006/relationships/slideLayout" Target="../slideLayouts/slideLayout1709.xml"/><Relationship Id="rId4" Type="http://schemas.openxmlformats.org/officeDocument/2006/relationships/slideLayout" Target="../slideLayouts/slideLayout1316.xml"/><Relationship Id="rId180" Type="http://schemas.openxmlformats.org/officeDocument/2006/relationships/slideLayout" Target="../slideLayouts/slideLayout1492.xml"/><Relationship Id="rId215" Type="http://schemas.openxmlformats.org/officeDocument/2006/relationships/slideLayout" Target="../slideLayouts/slideLayout1527.xml"/><Relationship Id="rId236" Type="http://schemas.openxmlformats.org/officeDocument/2006/relationships/slideLayout" Target="../slideLayouts/slideLayout1548.xml"/><Relationship Id="rId257" Type="http://schemas.openxmlformats.org/officeDocument/2006/relationships/slideLayout" Target="../slideLayouts/slideLayout1569.xml"/><Relationship Id="rId278" Type="http://schemas.openxmlformats.org/officeDocument/2006/relationships/slideLayout" Target="../slideLayouts/slideLayout1590.xml"/><Relationship Id="rId401" Type="http://schemas.openxmlformats.org/officeDocument/2006/relationships/slideLayout" Target="../slideLayouts/slideLayout1713.xml"/><Relationship Id="rId422" Type="http://schemas.openxmlformats.org/officeDocument/2006/relationships/slideLayout" Target="../slideLayouts/slideLayout1734.xml"/><Relationship Id="rId443" Type="http://schemas.openxmlformats.org/officeDocument/2006/relationships/slideLayout" Target="../slideLayouts/slideLayout1755.xml"/><Relationship Id="rId303" Type="http://schemas.openxmlformats.org/officeDocument/2006/relationships/slideLayout" Target="../slideLayouts/slideLayout1615.xml"/><Relationship Id="rId42" Type="http://schemas.openxmlformats.org/officeDocument/2006/relationships/slideLayout" Target="../slideLayouts/slideLayout1354.xml"/><Relationship Id="rId84" Type="http://schemas.openxmlformats.org/officeDocument/2006/relationships/slideLayout" Target="../slideLayouts/slideLayout1396.xml"/><Relationship Id="rId138" Type="http://schemas.openxmlformats.org/officeDocument/2006/relationships/slideLayout" Target="../slideLayouts/slideLayout1450.xml"/><Relationship Id="rId345" Type="http://schemas.openxmlformats.org/officeDocument/2006/relationships/slideLayout" Target="../slideLayouts/slideLayout1657.xml"/><Relationship Id="rId387" Type="http://schemas.openxmlformats.org/officeDocument/2006/relationships/slideLayout" Target="../slideLayouts/slideLayout1699.xml"/><Relationship Id="rId191" Type="http://schemas.openxmlformats.org/officeDocument/2006/relationships/slideLayout" Target="../slideLayouts/slideLayout1503.xml"/><Relationship Id="rId205" Type="http://schemas.openxmlformats.org/officeDocument/2006/relationships/slideLayout" Target="../slideLayouts/slideLayout1517.xml"/><Relationship Id="rId247" Type="http://schemas.openxmlformats.org/officeDocument/2006/relationships/slideLayout" Target="../slideLayouts/slideLayout1559.xml"/><Relationship Id="rId412" Type="http://schemas.openxmlformats.org/officeDocument/2006/relationships/slideLayout" Target="../slideLayouts/slideLayout1724.xml"/><Relationship Id="rId107" Type="http://schemas.openxmlformats.org/officeDocument/2006/relationships/slideLayout" Target="../slideLayouts/slideLayout1419.xml"/><Relationship Id="rId289" Type="http://schemas.openxmlformats.org/officeDocument/2006/relationships/slideLayout" Target="../slideLayouts/slideLayout1601.xml"/><Relationship Id="rId454" Type="http://schemas.openxmlformats.org/officeDocument/2006/relationships/slideLayout" Target="../slideLayouts/slideLayout1766.xml"/><Relationship Id="rId11" Type="http://schemas.openxmlformats.org/officeDocument/2006/relationships/slideLayout" Target="../slideLayouts/slideLayout1323.xml"/><Relationship Id="rId53" Type="http://schemas.openxmlformats.org/officeDocument/2006/relationships/slideLayout" Target="../slideLayouts/slideLayout1365.xml"/><Relationship Id="rId149" Type="http://schemas.openxmlformats.org/officeDocument/2006/relationships/slideLayout" Target="../slideLayouts/slideLayout1461.xml"/><Relationship Id="rId314" Type="http://schemas.openxmlformats.org/officeDocument/2006/relationships/slideLayout" Target="../slideLayouts/slideLayout1626.xml"/><Relationship Id="rId356" Type="http://schemas.openxmlformats.org/officeDocument/2006/relationships/slideLayout" Target="../slideLayouts/slideLayout1668.xml"/><Relationship Id="rId398" Type="http://schemas.openxmlformats.org/officeDocument/2006/relationships/slideLayout" Target="../slideLayouts/slideLayout1710.xml"/><Relationship Id="rId95" Type="http://schemas.openxmlformats.org/officeDocument/2006/relationships/slideLayout" Target="../slideLayouts/slideLayout1407.xml"/><Relationship Id="rId160" Type="http://schemas.openxmlformats.org/officeDocument/2006/relationships/slideLayout" Target="../slideLayouts/slideLayout1472.xml"/><Relationship Id="rId216" Type="http://schemas.openxmlformats.org/officeDocument/2006/relationships/slideLayout" Target="../slideLayouts/slideLayout1528.xml"/><Relationship Id="rId423" Type="http://schemas.openxmlformats.org/officeDocument/2006/relationships/slideLayout" Target="../slideLayouts/slideLayout1735.xml"/><Relationship Id="rId258" Type="http://schemas.openxmlformats.org/officeDocument/2006/relationships/slideLayout" Target="../slideLayouts/slideLayout1570.xml"/><Relationship Id="rId22" Type="http://schemas.openxmlformats.org/officeDocument/2006/relationships/slideLayout" Target="../slideLayouts/slideLayout1334.xml"/><Relationship Id="rId64" Type="http://schemas.openxmlformats.org/officeDocument/2006/relationships/slideLayout" Target="../slideLayouts/slideLayout1376.xml"/><Relationship Id="rId118" Type="http://schemas.openxmlformats.org/officeDocument/2006/relationships/slideLayout" Target="../slideLayouts/slideLayout1430.xml"/><Relationship Id="rId325" Type="http://schemas.openxmlformats.org/officeDocument/2006/relationships/slideLayout" Target="../slideLayouts/slideLayout1637.xml"/><Relationship Id="rId367" Type="http://schemas.openxmlformats.org/officeDocument/2006/relationships/slideLayout" Target="../slideLayouts/slideLayout1679.xml"/><Relationship Id="rId171" Type="http://schemas.openxmlformats.org/officeDocument/2006/relationships/slideLayout" Target="../slideLayouts/slideLayout1483.xml"/><Relationship Id="rId227" Type="http://schemas.openxmlformats.org/officeDocument/2006/relationships/slideLayout" Target="../slideLayouts/slideLayout1539.xml"/><Relationship Id="rId269" Type="http://schemas.openxmlformats.org/officeDocument/2006/relationships/slideLayout" Target="../slideLayouts/slideLayout1581.xml"/><Relationship Id="rId434" Type="http://schemas.openxmlformats.org/officeDocument/2006/relationships/slideLayout" Target="../slideLayouts/slideLayout1746.xml"/><Relationship Id="rId33" Type="http://schemas.openxmlformats.org/officeDocument/2006/relationships/slideLayout" Target="../slideLayouts/slideLayout1345.xml"/><Relationship Id="rId129" Type="http://schemas.openxmlformats.org/officeDocument/2006/relationships/slideLayout" Target="../slideLayouts/slideLayout1441.xml"/><Relationship Id="rId280" Type="http://schemas.openxmlformats.org/officeDocument/2006/relationships/slideLayout" Target="../slideLayouts/slideLayout1592.xml"/><Relationship Id="rId336" Type="http://schemas.openxmlformats.org/officeDocument/2006/relationships/slideLayout" Target="../slideLayouts/slideLayout1648.xml"/><Relationship Id="rId75" Type="http://schemas.openxmlformats.org/officeDocument/2006/relationships/slideLayout" Target="../slideLayouts/slideLayout1387.xml"/><Relationship Id="rId140" Type="http://schemas.openxmlformats.org/officeDocument/2006/relationships/slideLayout" Target="../slideLayouts/slideLayout1452.xml"/><Relationship Id="rId182" Type="http://schemas.openxmlformats.org/officeDocument/2006/relationships/slideLayout" Target="../slideLayouts/slideLayout1494.xml"/><Relationship Id="rId378" Type="http://schemas.openxmlformats.org/officeDocument/2006/relationships/slideLayout" Target="../slideLayouts/slideLayout1690.xml"/><Relationship Id="rId403" Type="http://schemas.openxmlformats.org/officeDocument/2006/relationships/slideLayout" Target="../slideLayouts/slideLayout1715.xml"/><Relationship Id="rId6" Type="http://schemas.openxmlformats.org/officeDocument/2006/relationships/slideLayout" Target="../slideLayouts/slideLayout1318.xml"/><Relationship Id="rId238" Type="http://schemas.openxmlformats.org/officeDocument/2006/relationships/slideLayout" Target="../slideLayouts/slideLayout1550.xml"/><Relationship Id="rId445" Type="http://schemas.openxmlformats.org/officeDocument/2006/relationships/slideLayout" Target="../slideLayouts/slideLayout1757.xml"/><Relationship Id="rId291" Type="http://schemas.openxmlformats.org/officeDocument/2006/relationships/slideLayout" Target="../slideLayouts/slideLayout1603.xml"/><Relationship Id="rId305" Type="http://schemas.openxmlformats.org/officeDocument/2006/relationships/slideLayout" Target="../slideLayouts/slideLayout1617.xml"/><Relationship Id="rId347" Type="http://schemas.openxmlformats.org/officeDocument/2006/relationships/slideLayout" Target="../slideLayouts/slideLayout1659.xml"/><Relationship Id="rId44" Type="http://schemas.openxmlformats.org/officeDocument/2006/relationships/slideLayout" Target="../slideLayouts/slideLayout1356.xml"/><Relationship Id="rId86" Type="http://schemas.openxmlformats.org/officeDocument/2006/relationships/slideLayout" Target="../slideLayouts/slideLayout1398.xml"/><Relationship Id="rId151" Type="http://schemas.openxmlformats.org/officeDocument/2006/relationships/slideLayout" Target="../slideLayouts/slideLayout1463.xml"/><Relationship Id="rId389" Type="http://schemas.openxmlformats.org/officeDocument/2006/relationships/slideLayout" Target="../slideLayouts/slideLayout1701.xml"/><Relationship Id="rId193" Type="http://schemas.openxmlformats.org/officeDocument/2006/relationships/slideLayout" Target="../slideLayouts/slideLayout1505.xml"/><Relationship Id="rId207" Type="http://schemas.openxmlformats.org/officeDocument/2006/relationships/slideLayout" Target="../slideLayouts/slideLayout1519.xml"/><Relationship Id="rId249" Type="http://schemas.openxmlformats.org/officeDocument/2006/relationships/slideLayout" Target="../slideLayouts/slideLayout1561.xml"/><Relationship Id="rId414" Type="http://schemas.openxmlformats.org/officeDocument/2006/relationships/slideLayout" Target="../slideLayouts/slideLayout1726.xml"/><Relationship Id="rId456" Type="http://schemas.openxmlformats.org/officeDocument/2006/relationships/theme" Target="../theme/theme4.xml"/><Relationship Id="rId13" Type="http://schemas.openxmlformats.org/officeDocument/2006/relationships/slideLayout" Target="../slideLayouts/slideLayout1325.xml"/><Relationship Id="rId109" Type="http://schemas.openxmlformats.org/officeDocument/2006/relationships/slideLayout" Target="../slideLayouts/slideLayout1421.xml"/><Relationship Id="rId260" Type="http://schemas.openxmlformats.org/officeDocument/2006/relationships/slideLayout" Target="../slideLayouts/slideLayout1572.xml"/><Relationship Id="rId316" Type="http://schemas.openxmlformats.org/officeDocument/2006/relationships/slideLayout" Target="../slideLayouts/slideLayout1628.xml"/><Relationship Id="rId55" Type="http://schemas.openxmlformats.org/officeDocument/2006/relationships/slideLayout" Target="../slideLayouts/slideLayout1367.xml"/><Relationship Id="rId97" Type="http://schemas.openxmlformats.org/officeDocument/2006/relationships/slideLayout" Target="../slideLayouts/slideLayout1409.xml"/><Relationship Id="rId120" Type="http://schemas.openxmlformats.org/officeDocument/2006/relationships/slideLayout" Target="../slideLayouts/slideLayout1432.xml"/><Relationship Id="rId358" Type="http://schemas.openxmlformats.org/officeDocument/2006/relationships/slideLayout" Target="../slideLayouts/slideLayout1670.xml"/><Relationship Id="rId162" Type="http://schemas.openxmlformats.org/officeDocument/2006/relationships/slideLayout" Target="../slideLayouts/slideLayout1474.xml"/><Relationship Id="rId218" Type="http://schemas.openxmlformats.org/officeDocument/2006/relationships/slideLayout" Target="../slideLayouts/slideLayout1530.xml"/><Relationship Id="rId425" Type="http://schemas.openxmlformats.org/officeDocument/2006/relationships/slideLayout" Target="../slideLayouts/slideLayout1737.xml"/><Relationship Id="rId271" Type="http://schemas.openxmlformats.org/officeDocument/2006/relationships/slideLayout" Target="../slideLayouts/slideLayout1583.xml"/><Relationship Id="rId24" Type="http://schemas.openxmlformats.org/officeDocument/2006/relationships/slideLayout" Target="../slideLayouts/slideLayout1336.xml"/><Relationship Id="rId66" Type="http://schemas.openxmlformats.org/officeDocument/2006/relationships/slideLayout" Target="../slideLayouts/slideLayout1378.xml"/><Relationship Id="rId131" Type="http://schemas.openxmlformats.org/officeDocument/2006/relationships/slideLayout" Target="../slideLayouts/slideLayout1443.xml"/><Relationship Id="rId327" Type="http://schemas.openxmlformats.org/officeDocument/2006/relationships/slideLayout" Target="../slideLayouts/slideLayout1639.xml"/><Relationship Id="rId369" Type="http://schemas.openxmlformats.org/officeDocument/2006/relationships/slideLayout" Target="../slideLayouts/slideLayout1681.xml"/><Relationship Id="rId173" Type="http://schemas.openxmlformats.org/officeDocument/2006/relationships/slideLayout" Target="../slideLayouts/slideLayout1485.xml"/><Relationship Id="rId229" Type="http://schemas.openxmlformats.org/officeDocument/2006/relationships/slideLayout" Target="../slideLayouts/slideLayout1541.xml"/><Relationship Id="rId380" Type="http://schemas.openxmlformats.org/officeDocument/2006/relationships/slideLayout" Target="../slideLayouts/slideLayout1692.xml"/><Relationship Id="rId436" Type="http://schemas.openxmlformats.org/officeDocument/2006/relationships/slideLayout" Target="../slideLayouts/slideLayout1748.xml"/><Relationship Id="rId240" Type="http://schemas.openxmlformats.org/officeDocument/2006/relationships/slideLayout" Target="../slideLayouts/slideLayout1552.xml"/><Relationship Id="rId35" Type="http://schemas.openxmlformats.org/officeDocument/2006/relationships/slideLayout" Target="../slideLayouts/slideLayout1347.xml"/><Relationship Id="rId77" Type="http://schemas.openxmlformats.org/officeDocument/2006/relationships/slideLayout" Target="../slideLayouts/slideLayout1389.xml"/><Relationship Id="rId100" Type="http://schemas.openxmlformats.org/officeDocument/2006/relationships/slideLayout" Target="../slideLayouts/slideLayout1412.xml"/><Relationship Id="rId282" Type="http://schemas.openxmlformats.org/officeDocument/2006/relationships/slideLayout" Target="../slideLayouts/slideLayout1594.xml"/><Relationship Id="rId338" Type="http://schemas.openxmlformats.org/officeDocument/2006/relationships/slideLayout" Target="../slideLayouts/slideLayout1650.xml"/><Relationship Id="rId8" Type="http://schemas.openxmlformats.org/officeDocument/2006/relationships/slideLayout" Target="../slideLayouts/slideLayout1320.xml"/><Relationship Id="rId142" Type="http://schemas.openxmlformats.org/officeDocument/2006/relationships/slideLayout" Target="../slideLayouts/slideLayout1454.xml"/><Relationship Id="rId184" Type="http://schemas.openxmlformats.org/officeDocument/2006/relationships/slideLayout" Target="../slideLayouts/slideLayout1496.xml"/><Relationship Id="rId391" Type="http://schemas.openxmlformats.org/officeDocument/2006/relationships/slideLayout" Target="../slideLayouts/slideLayout1703.xml"/><Relationship Id="rId405" Type="http://schemas.openxmlformats.org/officeDocument/2006/relationships/slideLayout" Target="../slideLayouts/slideLayout1717.xml"/><Relationship Id="rId447" Type="http://schemas.openxmlformats.org/officeDocument/2006/relationships/slideLayout" Target="../slideLayouts/slideLayout1759.xml"/><Relationship Id="rId251" Type="http://schemas.openxmlformats.org/officeDocument/2006/relationships/slideLayout" Target="../slideLayouts/slideLayout1563.xml"/><Relationship Id="rId46" Type="http://schemas.openxmlformats.org/officeDocument/2006/relationships/slideLayout" Target="../slideLayouts/slideLayout1358.xml"/><Relationship Id="rId293" Type="http://schemas.openxmlformats.org/officeDocument/2006/relationships/slideLayout" Target="../slideLayouts/slideLayout1605.xml"/><Relationship Id="rId307" Type="http://schemas.openxmlformats.org/officeDocument/2006/relationships/slideLayout" Target="../slideLayouts/slideLayout1619.xml"/><Relationship Id="rId349" Type="http://schemas.openxmlformats.org/officeDocument/2006/relationships/slideLayout" Target="../slideLayouts/slideLayout1661.xml"/><Relationship Id="rId88" Type="http://schemas.openxmlformats.org/officeDocument/2006/relationships/slideLayout" Target="../slideLayouts/slideLayout1400.xml"/><Relationship Id="rId111" Type="http://schemas.openxmlformats.org/officeDocument/2006/relationships/slideLayout" Target="../slideLayouts/slideLayout1423.xml"/><Relationship Id="rId153" Type="http://schemas.openxmlformats.org/officeDocument/2006/relationships/slideLayout" Target="../slideLayouts/slideLayout1465.xml"/><Relationship Id="rId195" Type="http://schemas.openxmlformats.org/officeDocument/2006/relationships/slideLayout" Target="../slideLayouts/slideLayout1507.xml"/><Relationship Id="rId209" Type="http://schemas.openxmlformats.org/officeDocument/2006/relationships/slideLayout" Target="../slideLayouts/slideLayout1521.xml"/><Relationship Id="rId360" Type="http://schemas.openxmlformats.org/officeDocument/2006/relationships/slideLayout" Target="../slideLayouts/slideLayout1672.xml"/><Relationship Id="rId416" Type="http://schemas.openxmlformats.org/officeDocument/2006/relationships/slideLayout" Target="../slideLayouts/slideLayout1728.xml"/><Relationship Id="rId220" Type="http://schemas.openxmlformats.org/officeDocument/2006/relationships/slideLayout" Target="../slideLayouts/slideLayout1532.xml"/><Relationship Id="rId15" Type="http://schemas.openxmlformats.org/officeDocument/2006/relationships/slideLayout" Target="../slideLayouts/slideLayout1327.xml"/><Relationship Id="rId57" Type="http://schemas.openxmlformats.org/officeDocument/2006/relationships/slideLayout" Target="../slideLayouts/slideLayout1369.xml"/><Relationship Id="rId262" Type="http://schemas.openxmlformats.org/officeDocument/2006/relationships/slideLayout" Target="../slideLayouts/slideLayout1574.xml"/><Relationship Id="rId318" Type="http://schemas.openxmlformats.org/officeDocument/2006/relationships/slideLayout" Target="../slideLayouts/slideLayout1630.xml"/><Relationship Id="rId99" Type="http://schemas.openxmlformats.org/officeDocument/2006/relationships/slideLayout" Target="../slideLayouts/slideLayout1411.xml"/><Relationship Id="rId122" Type="http://schemas.openxmlformats.org/officeDocument/2006/relationships/slideLayout" Target="../slideLayouts/slideLayout1434.xml"/><Relationship Id="rId164" Type="http://schemas.openxmlformats.org/officeDocument/2006/relationships/slideLayout" Target="../slideLayouts/slideLayout1476.xml"/><Relationship Id="rId371" Type="http://schemas.openxmlformats.org/officeDocument/2006/relationships/slideLayout" Target="../slideLayouts/slideLayout1683.xml"/><Relationship Id="rId427" Type="http://schemas.openxmlformats.org/officeDocument/2006/relationships/slideLayout" Target="../slideLayouts/slideLayout1739.xml"/><Relationship Id="rId26" Type="http://schemas.openxmlformats.org/officeDocument/2006/relationships/slideLayout" Target="../slideLayouts/slideLayout1338.xml"/><Relationship Id="rId231" Type="http://schemas.openxmlformats.org/officeDocument/2006/relationships/slideLayout" Target="../slideLayouts/slideLayout1543.xml"/><Relationship Id="rId273" Type="http://schemas.openxmlformats.org/officeDocument/2006/relationships/slideLayout" Target="../slideLayouts/slideLayout1585.xml"/><Relationship Id="rId329" Type="http://schemas.openxmlformats.org/officeDocument/2006/relationships/slideLayout" Target="../slideLayouts/slideLayout1641.xml"/><Relationship Id="rId68" Type="http://schemas.openxmlformats.org/officeDocument/2006/relationships/slideLayout" Target="../slideLayouts/slideLayout1380.xml"/><Relationship Id="rId133" Type="http://schemas.openxmlformats.org/officeDocument/2006/relationships/slideLayout" Target="../slideLayouts/slideLayout1445.xml"/><Relationship Id="rId175" Type="http://schemas.openxmlformats.org/officeDocument/2006/relationships/slideLayout" Target="../slideLayouts/slideLayout1487.xml"/><Relationship Id="rId340" Type="http://schemas.openxmlformats.org/officeDocument/2006/relationships/slideLayout" Target="../slideLayouts/slideLayout1652.xml"/><Relationship Id="rId200" Type="http://schemas.openxmlformats.org/officeDocument/2006/relationships/slideLayout" Target="../slideLayouts/slideLayout1512.xml"/><Relationship Id="rId382" Type="http://schemas.openxmlformats.org/officeDocument/2006/relationships/slideLayout" Target="../slideLayouts/slideLayout1694.xml"/><Relationship Id="rId438" Type="http://schemas.openxmlformats.org/officeDocument/2006/relationships/slideLayout" Target="../slideLayouts/slideLayout1750.xml"/><Relationship Id="rId242" Type="http://schemas.openxmlformats.org/officeDocument/2006/relationships/slideLayout" Target="../slideLayouts/slideLayout1554.xml"/><Relationship Id="rId284" Type="http://schemas.openxmlformats.org/officeDocument/2006/relationships/slideLayout" Target="../slideLayouts/slideLayout1596.xml"/><Relationship Id="rId37" Type="http://schemas.openxmlformats.org/officeDocument/2006/relationships/slideLayout" Target="../slideLayouts/slideLayout1349.xml"/><Relationship Id="rId79" Type="http://schemas.openxmlformats.org/officeDocument/2006/relationships/slideLayout" Target="../slideLayouts/slideLayout1391.xml"/><Relationship Id="rId102" Type="http://schemas.openxmlformats.org/officeDocument/2006/relationships/slideLayout" Target="../slideLayouts/slideLayout1414.xml"/><Relationship Id="rId144" Type="http://schemas.openxmlformats.org/officeDocument/2006/relationships/slideLayout" Target="../slideLayouts/slideLayout1456.xml"/><Relationship Id="rId90" Type="http://schemas.openxmlformats.org/officeDocument/2006/relationships/slideLayout" Target="../slideLayouts/slideLayout1402.xml"/><Relationship Id="rId186" Type="http://schemas.openxmlformats.org/officeDocument/2006/relationships/slideLayout" Target="../slideLayouts/slideLayout1498.xml"/><Relationship Id="rId351" Type="http://schemas.openxmlformats.org/officeDocument/2006/relationships/slideLayout" Target="../slideLayouts/slideLayout1663.xml"/><Relationship Id="rId393" Type="http://schemas.openxmlformats.org/officeDocument/2006/relationships/slideLayout" Target="../slideLayouts/slideLayout1705.xml"/><Relationship Id="rId407" Type="http://schemas.openxmlformats.org/officeDocument/2006/relationships/slideLayout" Target="../slideLayouts/slideLayout1719.xml"/><Relationship Id="rId449" Type="http://schemas.openxmlformats.org/officeDocument/2006/relationships/slideLayout" Target="../slideLayouts/slideLayout1761.xml"/><Relationship Id="rId211" Type="http://schemas.openxmlformats.org/officeDocument/2006/relationships/slideLayout" Target="../slideLayouts/slideLayout1523.xml"/><Relationship Id="rId253" Type="http://schemas.openxmlformats.org/officeDocument/2006/relationships/slideLayout" Target="../slideLayouts/slideLayout1565.xml"/><Relationship Id="rId295" Type="http://schemas.openxmlformats.org/officeDocument/2006/relationships/slideLayout" Target="../slideLayouts/slideLayout1607.xml"/><Relationship Id="rId309" Type="http://schemas.openxmlformats.org/officeDocument/2006/relationships/slideLayout" Target="../slideLayouts/slideLayout1621.xml"/><Relationship Id="rId48" Type="http://schemas.openxmlformats.org/officeDocument/2006/relationships/slideLayout" Target="../slideLayouts/slideLayout1360.xml"/><Relationship Id="rId113" Type="http://schemas.openxmlformats.org/officeDocument/2006/relationships/slideLayout" Target="../slideLayouts/slideLayout1425.xml"/><Relationship Id="rId320" Type="http://schemas.openxmlformats.org/officeDocument/2006/relationships/slideLayout" Target="../slideLayouts/slideLayout1632.xml"/><Relationship Id="rId155" Type="http://schemas.openxmlformats.org/officeDocument/2006/relationships/slideLayout" Target="../slideLayouts/slideLayout1467.xml"/><Relationship Id="rId197" Type="http://schemas.openxmlformats.org/officeDocument/2006/relationships/slideLayout" Target="../slideLayouts/slideLayout1509.xml"/><Relationship Id="rId362" Type="http://schemas.openxmlformats.org/officeDocument/2006/relationships/slideLayout" Target="../slideLayouts/slideLayout1674.xml"/><Relationship Id="rId418" Type="http://schemas.openxmlformats.org/officeDocument/2006/relationships/slideLayout" Target="../slideLayouts/slideLayout1730.xml"/><Relationship Id="rId222" Type="http://schemas.openxmlformats.org/officeDocument/2006/relationships/slideLayout" Target="../slideLayouts/slideLayout1534.xml"/><Relationship Id="rId264" Type="http://schemas.openxmlformats.org/officeDocument/2006/relationships/slideLayout" Target="../slideLayouts/slideLayout1576.xml"/><Relationship Id="rId17" Type="http://schemas.openxmlformats.org/officeDocument/2006/relationships/slideLayout" Target="../slideLayouts/slideLayout1329.xml"/><Relationship Id="rId59" Type="http://schemas.openxmlformats.org/officeDocument/2006/relationships/slideLayout" Target="../slideLayouts/slideLayout1371.xml"/><Relationship Id="rId124" Type="http://schemas.openxmlformats.org/officeDocument/2006/relationships/slideLayout" Target="../slideLayouts/slideLayout1436.xml"/><Relationship Id="rId70" Type="http://schemas.openxmlformats.org/officeDocument/2006/relationships/slideLayout" Target="../slideLayouts/slideLayout1382.xml"/><Relationship Id="rId166" Type="http://schemas.openxmlformats.org/officeDocument/2006/relationships/slideLayout" Target="../slideLayouts/slideLayout1478.xml"/><Relationship Id="rId331" Type="http://schemas.openxmlformats.org/officeDocument/2006/relationships/slideLayout" Target="../slideLayouts/slideLayout1643.xml"/><Relationship Id="rId373" Type="http://schemas.openxmlformats.org/officeDocument/2006/relationships/slideLayout" Target="../slideLayouts/slideLayout1685.xml"/><Relationship Id="rId429" Type="http://schemas.openxmlformats.org/officeDocument/2006/relationships/slideLayout" Target="../slideLayouts/slideLayout1741.xml"/><Relationship Id="rId1" Type="http://schemas.openxmlformats.org/officeDocument/2006/relationships/slideLayout" Target="../slideLayouts/slideLayout1313.xml"/><Relationship Id="rId233" Type="http://schemas.openxmlformats.org/officeDocument/2006/relationships/slideLayout" Target="../slideLayouts/slideLayout1545.xml"/><Relationship Id="rId440" Type="http://schemas.openxmlformats.org/officeDocument/2006/relationships/slideLayout" Target="../slideLayouts/slideLayout1752.xml"/><Relationship Id="rId28" Type="http://schemas.openxmlformats.org/officeDocument/2006/relationships/slideLayout" Target="../slideLayouts/slideLayout1340.xml"/><Relationship Id="rId275" Type="http://schemas.openxmlformats.org/officeDocument/2006/relationships/slideLayout" Target="../slideLayouts/slideLayout1587.xml"/><Relationship Id="rId300" Type="http://schemas.openxmlformats.org/officeDocument/2006/relationships/slideLayout" Target="../slideLayouts/slideLayout1612.xml"/><Relationship Id="rId81" Type="http://schemas.openxmlformats.org/officeDocument/2006/relationships/slideLayout" Target="../slideLayouts/slideLayout1393.xml"/><Relationship Id="rId135" Type="http://schemas.openxmlformats.org/officeDocument/2006/relationships/slideLayout" Target="../slideLayouts/slideLayout1447.xml"/><Relationship Id="rId177" Type="http://schemas.openxmlformats.org/officeDocument/2006/relationships/slideLayout" Target="../slideLayouts/slideLayout1489.xml"/><Relationship Id="rId342" Type="http://schemas.openxmlformats.org/officeDocument/2006/relationships/slideLayout" Target="../slideLayouts/slideLayout1654.xml"/><Relationship Id="rId384" Type="http://schemas.openxmlformats.org/officeDocument/2006/relationships/slideLayout" Target="../slideLayouts/slideLayout1696.xml"/><Relationship Id="rId202" Type="http://schemas.openxmlformats.org/officeDocument/2006/relationships/slideLayout" Target="../slideLayouts/slideLayout1514.xml"/><Relationship Id="rId244" Type="http://schemas.openxmlformats.org/officeDocument/2006/relationships/slideLayout" Target="../slideLayouts/slideLayout1556.xml"/><Relationship Id="rId39" Type="http://schemas.openxmlformats.org/officeDocument/2006/relationships/slideLayout" Target="../slideLayouts/slideLayout1351.xml"/><Relationship Id="rId286" Type="http://schemas.openxmlformats.org/officeDocument/2006/relationships/slideLayout" Target="../slideLayouts/slideLayout1598.xml"/><Relationship Id="rId451" Type="http://schemas.openxmlformats.org/officeDocument/2006/relationships/slideLayout" Target="../slideLayouts/slideLayout1763.xml"/><Relationship Id="rId50" Type="http://schemas.openxmlformats.org/officeDocument/2006/relationships/slideLayout" Target="../slideLayouts/slideLayout1362.xml"/><Relationship Id="rId104" Type="http://schemas.openxmlformats.org/officeDocument/2006/relationships/slideLayout" Target="../slideLayouts/slideLayout1416.xml"/><Relationship Id="rId146" Type="http://schemas.openxmlformats.org/officeDocument/2006/relationships/slideLayout" Target="../slideLayouts/slideLayout1458.xml"/><Relationship Id="rId188" Type="http://schemas.openxmlformats.org/officeDocument/2006/relationships/slideLayout" Target="../slideLayouts/slideLayout1500.xml"/><Relationship Id="rId311" Type="http://schemas.openxmlformats.org/officeDocument/2006/relationships/slideLayout" Target="../slideLayouts/slideLayout1623.xml"/><Relationship Id="rId353" Type="http://schemas.openxmlformats.org/officeDocument/2006/relationships/slideLayout" Target="../slideLayouts/slideLayout1665.xml"/><Relationship Id="rId395" Type="http://schemas.openxmlformats.org/officeDocument/2006/relationships/slideLayout" Target="../slideLayouts/slideLayout1707.xml"/><Relationship Id="rId409" Type="http://schemas.openxmlformats.org/officeDocument/2006/relationships/slideLayout" Target="../slideLayouts/slideLayout1721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884.xml"/><Relationship Id="rId671" Type="http://schemas.openxmlformats.org/officeDocument/2006/relationships/slideLayout" Target="../slideLayouts/slideLayout2438.xml"/><Relationship Id="rId769" Type="http://schemas.openxmlformats.org/officeDocument/2006/relationships/slideLayout" Target="../slideLayouts/slideLayout2536.xml"/><Relationship Id="rId21" Type="http://schemas.openxmlformats.org/officeDocument/2006/relationships/slideLayout" Target="../slideLayouts/slideLayout1788.xml"/><Relationship Id="rId324" Type="http://schemas.openxmlformats.org/officeDocument/2006/relationships/slideLayout" Target="../slideLayouts/slideLayout2091.xml"/><Relationship Id="rId531" Type="http://schemas.openxmlformats.org/officeDocument/2006/relationships/slideLayout" Target="../slideLayouts/slideLayout2298.xml"/><Relationship Id="rId629" Type="http://schemas.openxmlformats.org/officeDocument/2006/relationships/slideLayout" Target="../slideLayouts/slideLayout2396.xml"/><Relationship Id="rId170" Type="http://schemas.openxmlformats.org/officeDocument/2006/relationships/slideLayout" Target="../slideLayouts/slideLayout1937.xml"/><Relationship Id="rId836" Type="http://schemas.openxmlformats.org/officeDocument/2006/relationships/slideLayout" Target="../slideLayouts/slideLayout2603.xml"/><Relationship Id="rId268" Type="http://schemas.openxmlformats.org/officeDocument/2006/relationships/slideLayout" Target="../slideLayouts/slideLayout2035.xml"/><Relationship Id="rId475" Type="http://schemas.openxmlformats.org/officeDocument/2006/relationships/slideLayout" Target="../slideLayouts/slideLayout2242.xml"/><Relationship Id="rId682" Type="http://schemas.openxmlformats.org/officeDocument/2006/relationships/slideLayout" Target="../slideLayouts/slideLayout2449.xml"/><Relationship Id="rId32" Type="http://schemas.openxmlformats.org/officeDocument/2006/relationships/slideLayout" Target="../slideLayouts/slideLayout1799.xml"/><Relationship Id="rId128" Type="http://schemas.openxmlformats.org/officeDocument/2006/relationships/slideLayout" Target="../slideLayouts/slideLayout1895.xml"/><Relationship Id="rId335" Type="http://schemas.openxmlformats.org/officeDocument/2006/relationships/slideLayout" Target="../slideLayouts/slideLayout2102.xml"/><Relationship Id="rId542" Type="http://schemas.openxmlformats.org/officeDocument/2006/relationships/slideLayout" Target="../slideLayouts/slideLayout2309.xml"/><Relationship Id="rId181" Type="http://schemas.openxmlformats.org/officeDocument/2006/relationships/slideLayout" Target="../slideLayouts/slideLayout1948.xml"/><Relationship Id="rId402" Type="http://schemas.openxmlformats.org/officeDocument/2006/relationships/slideLayout" Target="../slideLayouts/slideLayout2169.xml"/><Relationship Id="rId847" Type="http://schemas.openxmlformats.org/officeDocument/2006/relationships/slideLayout" Target="../slideLayouts/slideLayout2614.xml"/><Relationship Id="rId279" Type="http://schemas.openxmlformats.org/officeDocument/2006/relationships/slideLayout" Target="../slideLayouts/slideLayout2046.xml"/><Relationship Id="rId486" Type="http://schemas.openxmlformats.org/officeDocument/2006/relationships/slideLayout" Target="../slideLayouts/slideLayout2253.xml"/><Relationship Id="rId693" Type="http://schemas.openxmlformats.org/officeDocument/2006/relationships/slideLayout" Target="../slideLayouts/slideLayout2460.xml"/><Relationship Id="rId707" Type="http://schemas.openxmlformats.org/officeDocument/2006/relationships/slideLayout" Target="../slideLayouts/slideLayout2474.xml"/><Relationship Id="rId43" Type="http://schemas.openxmlformats.org/officeDocument/2006/relationships/slideLayout" Target="../slideLayouts/slideLayout1810.xml"/><Relationship Id="rId139" Type="http://schemas.openxmlformats.org/officeDocument/2006/relationships/slideLayout" Target="../slideLayouts/slideLayout1906.xml"/><Relationship Id="rId346" Type="http://schemas.openxmlformats.org/officeDocument/2006/relationships/slideLayout" Target="../slideLayouts/slideLayout2113.xml"/><Relationship Id="rId553" Type="http://schemas.openxmlformats.org/officeDocument/2006/relationships/slideLayout" Target="../slideLayouts/slideLayout2320.xml"/><Relationship Id="rId760" Type="http://schemas.openxmlformats.org/officeDocument/2006/relationships/slideLayout" Target="../slideLayouts/slideLayout2527.xml"/><Relationship Id="rId192" Type="http://schemas.openxmlformats.org/officeDocument/2006/relationships/slideLayout" Target="../slideLayouts/slideLayout1959.xml"/><Relationship Id="rId206" Type="http://schemas.openxmlformats.org/officeDocument/2006/relationships/slideLayout" Target="../slideLayouts/slideLayout1973.xml"/><Relationship Id="rId413" Type="http://schemas.openxmlformats.org/officeDocument/2006/relationships/slideLayout" Target="../slideLayouts/slideLayout2180.xml"/><Relationship Id="rId858" Type="http://schemas.openxmlformats.org/officeDocument/2006/relationships/slideLayout" Target="../slideLayouts/slideLayout2625.xml"/><Relationship Id="rId497" Type="http://schemas.openxmlformats.org/officeDocument/2006/relationships/slideLayout" Target="../slideLayouts/slideLayout2264.xml"/><Relationship Id="rId620" Type="http://schemas.openxmlformats.org/officeDocument/2006/relationships/slideLayout" Target="../slideLayouts/slideLayout2387.xml"/><Relationship Id="rId718" Type="http://schemas.openxmlformats.org/officeDocument/2006/relationships/slideLayout" Target="../slideLayouts/slideLayout2485.xml"/><Relationship Id="rId357" Type="http://schemas.openxmlformats.org/officeDocument/2006/relationships/slideLayout" Target="../slideLayouts/slideLayout2124.xml"/><Relationship Id="rId54" Type="http://schemas.openxmlformats.org/officeDocument/2006/relationships/slideLayout" Target="../slideLayouts/slideLayout1821.xml"/><Relationship Id="rId217" Type="http://schemas.openxmlformats.org/officeDocument/2006/relationships/slideLayout" Target="../slideLayouts/slideLayout1984.xml"/><Relationship Id="rId564" Type="http://schemas.openxmlformats.org/officeDocument/2006/relationships/slideLayout" Target="../slideLayouts/slideLayout2331.xml"/><Relationship Id="rId771" Type="http://schemas.openxmlformats.org/officeDocument/2006/relationships/slideLayout" Target="../slideLayouts/slideLayout2538.xml"/><Relationship Id="rId869" Type="http://schemas.openxmlformats.org/officeDocument/2006/relationships/slideLayout" Target="../slideLayouts/slideLayout2636.xml"/><Relationship Id="rId424" Type="http://schemas.openxmlformats.org/officeDocument/2006/relationships/slideLayout" Target="../slideLayouts/slideLayout2191.xml"/><Relationship Id="rId631" Type="http://schemas.openxmlformats.org/officeDocument/2006/relationships/slideLayout" Target="../slideLayouts/slideLayout2398.xml"/><Relationship Id="rId729" Type="http://schemas.openxmlformats.org/officeDocument/2006/relationships/slideLayout" Target="../slideLayouts/slideLayout2496.xml"/><Relationship Id="rId270" Type="http://schemas.openxmlformats.org/officeDocument/2006/relationships/slideLayout" Target="../slideLayouts/slideLayout2037.xml"/><Relationship Id="rId65" Type="http://schemas.openxmlformats.org/officeDocument/2006/relationships/slideLayout" Target="../slideLayouts/slideLayout1832.xml"/><Relationship Id="rId130" Type="http://schemas.openxmlformats.org/officeDocument/2006/relationships/slideLayout" Target="../slideLayouts/slideLayout1897.xml"/><Relationship Id="rId368" Type="http://schemas.openxmlformats.org/officeDocument/2006/relationships/slideLayout" Target="../slideLayouts/slideLayout2135.xml"/><Relationship Id="rId575" Type="http://schemas.openxmlformats.org/officeDocument/2006/relationships/slideLayout" Target="../slideLayouts/slideLayout2342.xml"/><Relationship Id="rId782" Type="http://schemas.openxmlformats.org/officeDocument/2006/relationships/slideLayout" Target="../slideLayouts/slideLayout2549.xml"/><Relationship Id="rId228" Type="http://schemas.openxmlformats.org/officeDocument/2006/relationships/slideLayout" Target="../slideLayouts/slideLayout1995.xml"/><Relationship Id="rId435" Type="http://schemas.openxmlformats.org/officeDocument/2006/relationships/slideLayout" Target="../slideLayouts/slideLayout2202.xml"/><Relationship Id="rId642" Type="http://schemas.openxmlformats.org/officeDocument/2006/relationships/slideLayout" Target="../slideLayouts/slideLayout2409.xml"/><Relationship Id="rId281" Type="http://schemas.openxmlformats.org/officeDocument/2006/relationships/slideLayout" Target="../slideLayouts/slideLayout2048.xml"/><Relationship Id="rId502" Type="http://schemas.openxmlformats.org/officeDocument/2006/relationships/slideLayout" Target="../slideLayouts/slideLayout2269.xml"/><Relationship Id="rId76" Type="http://schemas.openxmlformats.org/officeDocument/2006/relationships/slideLayout" Target="../slideLayouts/slideLayout1843.xml"/><Relationship Id="rId141" Type="http://schemas.openxmlformats.org/officeDocument/2006/relationships/slideLayout" Target="../slideLayouts/slideLayout1908.xml"/><Relationship Id="rId379" Type="http://schemas.openxmlformats.org/officeDocument/2006/relationships/slideLayout" Target="../slideLayouts/slideLayout2146.xml"/><Relationship Id="rId586" Type="http://schemas.openxmlformats.org/officeDocument/2006/relationships/slideLayout" Target="../slideLayouts/slideLayout2353.xml"/><Relationship Id="rId793" Type="http://schemas.openxmlformats.org/officeDocument/2006/relationships/slideLayout" Target="../slideLayouts/slideLayout2560.xml"/><Relationship Id="rId807" Type="http://schemas.openxmlformats.org/officeDocument/2006/relationships/slideLayout" Target="../slideLayouts/slideLayout2574.xml"/><Relationship Id="rId7" Type="http://schemas.openxmlformats.org/officeDocument/2006/relationships/slideLayout" Target="../slideLayouts/slideLayout1774.xml"/><Relationship Id="rId239" Type="http://schemas.openxmlformats.org/officeDocument/2006/relationships/slideLayout" Target="../slideLayouts/slideLayout2006.xml"/><Relationship Id="rId446" Type="http://schemas.openxmlformats.org/officeDocument/2006/relationships/slideLayout" Target="../slideLayouts/slideLayout2213.xml"/><Relationship Id="rId653" Type="http://schemas.openxmlformats.org/officeDocument/2006/relationships/slideLayout" Target="../slideLayouts/slideLayout2420.xml"/><Relationship Id="rId292" Type="http://schemas.openxmlformats.org/officeDocument/2006/relationships/slideLayout" Target="../slideLayouts/slideLayout2059.xml"/><Relationship Id="rId306" Type="http://schemas.openxmlformats.org/officeDocument/2006/relationships/slideLayout" Target="../slideLayouts/slideLayout2073.xml"/><Relationship Id="rId860" Type="http://schemas.openxmlformats.org/officeDocument/2006/relationships/slideLayout" Target="../slideLayouts/slideLayout2627.xml"/><Relationship Id="rId87" Type="http://schemas.openxmlformats.org/officeDocument/2006/relationships/slideLayout" Target="../slideLayouts/slideLayout1854.xml"/><Relationship Id="rId513" Type="http://schemas.openxmlformats.org/officeDocument/2006/relationships/slideLayout" Target="../slideLayouts/slideLayout2280.xml"/><Relationship Id="rId597" Type="http://schemas.openxmlformats.org/officeDocument/2006/relationships/slideLayout" Target="../slideLayouts/slideLayout2364.xml"/><Relationship Id="rId720" Type="http://schemas.openxmlformats.org/officeDocument/2006/relationships/slideLayout" Target="../slideLayouts/slideLayout2487.xml"/><Relationship Id="rId818" Type="http://schemas.openxmlformats.org/officeDocument/2006/relationships/slideLayout" Target="../slideLayouts/slideLayout2585.xml"/><Relationship Id="rId152" Type="http://schemas.openxmlformats.org/officeDocument/2006/relationships/slideLayout" Target="../slideLayouts/slideLayout1919.xml"/><Relationship Id="rId457" Type="http://schemas.openxmlformats.org/officeDocument/2006/relationships/slideLayout" Target="../slideLayouts/slideLayout2224.xml"/><Relationship Id="rId664" Type="http://schemas.openxmlformats.org/officeDocument/2006/relationships/slideLayout" Target="../slideLayouts/slideLayout2431.xml"/><Relationship Id="rId871" Type="http://schemas.openxmlformats.org/officeDocument/2006/relationships/slideLayout" Target="../slideLayouts/slideLayout2638.xml"/><Relationship Id="rId14" Type="http://schemas.openxmlformats.org/officeDocument/2006/relationships/slideLayout" Target="../slideLayouts/slideLayout1781.xml"/><Relationship Id="rId317" Type="http://schemas.openxmlformats.org/officeDocument/2006/relationships/slideLayout" Target="../slideLayouts/slideLayout2084.xml"/><Relationship Id="rId524" Type="http://schemas.openxmlformats.org/officeDocument/2006/relationships/slideLayout" Target="../slideLayouts/slideLayout2291.xml"/><Relationship Id="rId731" Type="http://schemas.openxmlformats.org/officeDocument/2006/relationships/slideLayout" Target="../slideLayouts/slideLayout2498.xml"/><Relationship Id="rId98" Type="http://schemas.openxmlformats.org/officeDocument/2006/relationships/slideLayout" Target="../slideLayouts/slideLayout1865.xml"/><Relationship Id="rId163" Type="http://schemas.openxmlformats.org/officeDocument/2006/relationships/slideLayout" Target="../slideLayouts/slideLayout1930.xml"/><Relationship Id="rId370" Type="http://schemas.openxmlformats.org/officeDocument/2006/relationships/slideLayout" Target="../slideLayouts/slideLayout2137.xml"/><Relationship Id="rId829" Type="http://schemas.openxmlformats.org/officeDocument/2006/relationships/slideLayout" Target="../slideLayouts/slideLayout2596.xml"/><Relationship Id="rId230" Type="http://schemas.openxmlformats.org/officeDocument/2006/relationships/slideLayout" Target="../slideLayouts/slideLayout1997.xml"/><Relationship Id="rId468" Type="http://schemas.openxmlformats.org/officeDocument/2006/relationships/slideLayout" Target="../slideLayouts/slideLayout2235.xml"/><Relationship Id="rId675" Type="http://schemas.openxmlformats.org/officeDocument/2006/relationships/slideLayout" Target="../slideLayouts/slideLayout2442.xml"/><Relationship Id="rId882" Type="http://schemas.openxmlformats.org/officeDocument/2006/relationships/slideLayout" Target="../slideLayouts/slideLayout2649.xml"/><Relationship Id="rId25" Type="http://schemas.openxmlformats.org/officeDocument/2006/relationships/slideLayout" Target="../slideLayouts/slideLayout1792.xml"/><Relationship Id="rId328" Type="http://schemas.openxmlformats.org/officeDocument/2006/relationships/slideLayout" Target="../slideLayouts/slideLayout2095.xml"/><Relationship Id="rId535" Type="http://schemas.openxmlformats.org/officeDocument/2006/relationships/slideLayout" Target="../slideLayouts/slideLayout2302.xml"/><Relationship Id="rId742" Type="http://schemas.openxmlformats.org/officeDocument/2006/relationships/slideLayout" Target="../slideLayouts/slideLayout2509.xml"/><Relationship Id="rId174" Type="http://schemas.openxmlformats.org/officeDocument/2006/relationships/slideLayout" Target="../slideLayouts/slideLayout1941.xml"/><Relationship Id="rId381" Type="http://schemas.openxmlformats.org/officeDocument/2006/relationships/slideLayout" Target="../slideLayouts/slideLayout2148.xml"/><Relationship Id="rId602" Type="http://schemas.openxmlformats.org/officeDocument/2006/relationships/slideLayout" Target="../slideLayouts/slideLayout2369.xml"/><Relationship Id="rId241" Type="http://schemas.openxmlformats.org/officeDocument/2006/relationships/slideLayout" Target="../slideLayouts/slideLayout2008.xml"/><Relationship Id="rId479" Type="http://schemas.openxmlformats.org/officeDocument/2006/relationships/slideLayout" Target="../slideLayouts/slideLayout2246.xml"/><Relationship Id="rId686" Type="http://schemas.openxmlformats.org/officeDocument/2006/relationships/slideLayout" Target="../slideLayouts/slideLayout2453.xml"/><Relationship Id="rId36" Type="http://schemas.openxmlformats.org/officeDocument/2006/relationships/slideLayout" Target="../slideLayouts/slideLayout1803.xml"/><Relationship Id="rId339" Type="http://schemas.openxmlformats.org/officeDocument/2006/relationships/slideLayout" Target="../slideLayouts/slideLayout2106.xml"/><Relationship Id="rId546" Type="http://schemas.openxmlformats.org/officeDocument/2006/relationships/slideLayout" Target="../slideLayouts/slideLayout2313.xml"/><Relationship Id="rId753" Type="http://schemas.openxmlformats.org/officeDocument/2006/relationships/slideLayout" Target="../slideLayouts/slideLayout2520.xml"/><Relationship Id="rId101" Type="http://schemas.openxmlformats.org/officeDocument/2006/relationships/slideLayout" Target="../slideLayouts/slideLayout1868.xml"/><Relationship Id="rId185" Type="http://schemas.openxmlformats.org/officeDocument/2006/relationships/slideLayout" Target="../slideLayouts/slideLayout1952.xml"/><Relationship Id="rId406" Type="http://schemas.openxmlformats.org/officeDocument/2006/relationships/slideLayout" Target="../slideLayouts/slideLayout2173.xml"/><Relationship Id="rId392" Type="http://schemas.openxmlformats.org/officeDocument/2006/relationships/slideLayout" Target="../slideLayouts/slideLayout2159.xml"/><Relationship Id="rId613" Type="http://schemas.openxmlformats.org/officeDocument/2006/relationships/slideLayout" Target="../slideLayouts/slideLayout2380.xml"/><Relationship Id="rId697" Type="http://schemas.openxmlformats.org/officeDocument/2006/relationships/slideLayout" Target="../slideLayouts/slideLayout2464.xml"/><Relationship Id="rId820" Type="http://schemas.openxmlformats.org/officeDocument/2006/relationships/slideLayout" Target="../slideLayouts/slideLayout2587.xml"/><Relationship Id="rId252" Type="http://schemas.openxmlformats.org/officeDocument/2006/relationships/slideLayout" Target="../slideLayouts/slideLayout2019.xml"/><Relationship Id="rId47" Type="http://schemas.openxmlformats.org/officeDocument/2006/relationships/slideLayout" Target="../slideLayouts/slideLayout1814.xml"/><Relationship Id="rId112" Type="http://schemas.openxmlformats.org/officeDocument/2006/relationships/slideLayout" Target="../slideLayouts/slideLayout1879.xml"/><Relationship Id="rId557" Type="http://schemas.openxmlformats.org/officeDocument/2006/relationships/slideLayout" Target="../slideLayouts/slideLayout2324.xml"/><Relationship Id="rId764" Type="http://schemas.openxmlformats.org/officeDocument/2006/relationships/slideLayout" Target="../slideLayouts/slideLayout2531.xml"/><Relationship Id="rId196" Type="http://schemas.openxmlformats.org/officeDocument/2006/relationships/slideLayout" Target="../slideLayouts/slideLayout1963.xml"/><Relationship Id="rId417" Type="http://schemas.openxmlformats.org/officeDocument/2006/relationships/slideLayout" Target="../slideLayouts/slideLayout2184.xml"/><Relationship Id="rId624" Type="http://schemas.openxmlformats.org/officeDocument/2006/relationships/slideLayout" Target="../slideLayouts/slideLayout2391.xml"/><Relationship Id="rId831" Type="http://schemas.openxmlformats.org/officeDocument/2006/relationships/slideLayout" Target="../slideLayouts/slideLayout2598.xml"/><Relationship Id="rId263" Type="http://schemas.openxmlformats.org/officeDocument/2006/relationships/slideLayout" Target="../slideLayouts/slideLayout2030.xml"/><Relationship Id="rId470" Type="http://schemas.openxmlformats.org/officeDocument/2006/relationships/slideLayout" Target="../slideLayouts/slideLayout2237.xml"/><Relationship Id="rId58" Type="http://schemas.openxmlformats.org/officeDocument/2006/relationships/slideLayout" Target="../slideLayouts/slideLayout1825.xml"/><Relationship Id="rId123" Type="http://schemas.openxmlformats.org/officeDocument/2006/relationships/slideLayout" Target="../slideLayouts/slideLayout1890.xml"/><Relationship Id="rId330" Type="http://schemas.openxmlformats.org/officeDocument/2006/relationships/slideLayout" Target="../slideLayouts/slideLayout2097.xml"/><Relationship Id="rId568" Type="http://schemas.openxmlformats.org/officeDocument/2006/relationships/slideLayout" Target="../slideLayouts/slideLayout2335.xml"/><Relationship Id="rId775" Type="http://schemas.openxmlformats.org/officeDocument/2006/relationships/slideLayout" Target="../slideLayouts/slideLayout2542.xml"/><Relationship Id="rId428" Type="http://schemas.openxmlformats.org/officeDocument/2006/relationships/slideLayout" Target="../slideLayouts/slideLayout2195.xml"/><Relationship Id="rId635" Type="http://schemas.openxmlformats.org/officeDocument/2006/relationships/slideLayout" Target="../slideLayouts/slideLayout2402.xml"/><Relationship Id="rId842" Type="http://schemas.openxmlformats.org/officeDocument/2006/relationships/slideLayout" Target="../slideLayouts/slideLayout2609.xml"/><Relationship Id="rId274" Type="http://schemas.openxmlformats.org/officeDocument/2006/relationships/slideLayout" Target="../slideLayouts/slideLayout2041.xml"/><Relationship Id="rId481" Type="http://schemas.openxmlformats.org/officeDocument/2006/relationships/slideLayout" Target="../slideLayouts/slideLayout2248.xml"/><Relationship Id="rId702" Type="http://schemas.openxmlformats.org/officeDocument/2006/relationships/slideLayout" Target="../slideLayouts/slideLayout2469.xml"/><Relationship Id="rId69" Type="http://schemas.openxmlformats.org/officeDocument/2006/relationships/slideLayout" Target="../slideLayouts/slideLayout1836.xml"/><Relationship Id="rId134" Type="http://schemas.openxmlformats.org/officeDocument/2006/relationships/slideLayout" Target="../slideLayouts/slideLayout1901.xml"/><Relationship Id="rId579" Type="http://schemas.openxmlformats.org/officeDocument/2006/relationships/slideLayout" Target="../slideLayouts/slideLayout2346.xml"/><Relationship Id="rId786" Type="http://schemas.openxmlformats.org/officeDocument/2006/relationships/slideLayout" Target="../slideLayouts/slideLayout2553.xml"/><Relationship Id="rId341" Type="http://schemas.openxmlformats.org/officeDocument/2006/relationships/slideLayout" Target="../slideLayouts/slideLayout2108.xml"/><Relationship Id="rId439" Type="http://schemas.openxmlformats.org/officeDocument/2006/relationships/slideLayout" Target="../slideLayouts/slideLayout2206.xml"/><Relationship Id="rId646" Type="http://schemas.openxmlformats.org/officeDocument/2006/relationships/slideLayout" Target="../slideLayouts/slideLayout2413.xml"/><Relationship Id="rId201" Type="http://schemas.openxmlformats.org/officeDocument/2006/relationships/slideLayout" Target="../slideLayouts/slideLayout1968.xml"/><Relationship Id="rId285" Type="http://schemas.openxmlformats.org/officeDocument/2006/relationships/slideLayout" Target="../slideLayouts/slideLayout2052.xml"/><Relationship Id="rId506" Type="http://schemas.openxmlformats.org/officeDocument/2006/relationships/slideLayout" Target="../slideLayouts/slideLayout2273.xml"/><Relationship Id="rId853" Type="http://schemas.openxmlformats.org/officeDocument/2006/relationships/slideLayout" Target="../slideLayouts/slideLayout2620.xml"/><Relationship Id="rId492" Type="http://schemas.openxmlformats.org/officeDocument/2006/relationships/slideLayout" Target="../slideLayouts/slideLayout2259.xml"/><Relationship Id="rId713" Type="http://schemas.openxmlformats.org/officeDocument/2006/relationships/slideLayout" Target="../slideLayouts/slideLayout2480.xml"/><Relationship Id="rId797" Type="http://schemas.openxmlformats.org/officeDocument/2006/relationships/slideLayout" Target="../slideLayouts/slideLayout2564.xml"/><Relationship Id="rId145" Type="http://schemas.openxmlformats.org/officeDocument/2006/relationships/slideLayout" Target="../slideLayouts/slideLayout1912.xml"/><Relationship Id="rId352" Type="http://schemas.openxmlformats.org/officeDocument/2006/relationships/slideLayout" Target="../slideLayouts/slideLayout2119.xml"/><Relationship Id="rId212" Type="http://schemas.openxmlformats.org/officeDocument/2006/relationships/slideLayout" Target="../slideLayouts/slideLayout1979.xml"/><Relationship Id="rId657" Type="http://schemas.openxmlformats.org/officeDocument/2006/relationships/slideLayout" Target="../slideLayouts/slideLayout2424.xml"/><Relationship Id="rId864" Type="http://schemas.openxmlformats.org/officeDocument/2006/relationships/slideLayout" Target="../slideLayouts/slideLayout2631.xml"/><Relationship Id="rId296" Type="http://schemas.openxmlformats.org/officeDocument/2006/relationships/slideLayout" Target="../slideLayouts/slideLayout2063.xml"/><Relationship Id="rId517" Type="http://schemas.openxmlformats.org/officeDocument/2006/relationships/slideLayout" Target="../slideLayouts/slideLayout2284.xml"/><Relationship Id="rId724" Type="http://schemas.openxmlformats.org/officeDocument/2006/relationships/slideLayout" Target="../slideLayouts/slideLayout2491.xml"/><Relationship Id="rId60" Type="http://schemas.openxmlformats.org/officeDocument/2006/relationships/slideLayout" Target="../slideLayouts/slideLayout1827.xml"/><Relationship Id="rId156" Type="http://schemas.openxmlformats.org/officeDocument/2006/relationships/slideLayout" Target="../slideLayouts/slideLayout1923.xml"/><Relationship Id="rId363" Type="http://schemas.openxmlformats.org/officeDocument/2006/relationships/slideLayout" Target="../slideLayouts/slideLayout2130.xml"/><Relationship Id="rId570" Type="http://schemas.openxmlformats.org/officeDocument/2006/relationships/slideLayout" Target="../slideLayouts/slideLayout2337.xml"/><Relationship Id="rId223" Type="http://schemas.openxmlformats.org/officeDocument/2006/relationships/slideLayout" Target="../slideLayouts/slideLayout1990.xml"/><Relationship Id="rId430" Type="http://schemas.openxmlformats.org/officeDocument/2006/relationships/slideLayout" Target="../slideLayouts/slideLayout2197.xml"/><Relationship Id="rId668" Type="http://schemas.openxmlformats.org/officeDocument/2006/relationships/slideLayout" Target="../slideLayouts/slideLayout2435.xml"/><Relationship Id="rId875" Type="http://schemas.openxmlformats.org/officeDocument/2006/relationships/slideLayout" Target="../slideLayouts/slideLayout2642.xml"/><Relationship Id="rId18" Type="http://schemas.openxmlformats.org/officeDocument/2006/relationships/slideLayout" Target="../slideLayouts/slideLayout1785.xml"/><Relationship Id="rId528" Type="http://schemas.openxmlformats.org/officeDocument/2006/relationships/slideLayout" Target="../slideLayouts/slideLayout2295.xml"/><Relationship Id="rId735" Type="http://schemas.openxmlformats.org/officeDocument/2006/relationships/slideLayout" Target="../slideLayouts/slideLayout2502.xml"/><Relationship Id="rId167" Type="http://schemas.openxmlformats.org/officeDocument/2006/relationships/slideLayout" Target="../slideLayouts/slideLayout1934.xml"/><Relationship Id="rId374" Type="http://schemas.openxmlformats.org/officeDocument/2006/relationships/slideLayout" Target="../slideLayouts/slideLayout2141.xml"/><Relationship Id="rId581" Type="http://schemas.openxmlformats.org/officeDocument/2006/relationships/slideLayout" Target="../slideLayouts/slideLayout2348.xml"/><Relationship Id="rId71" Type="http://schemas.openxmlformats.org/officeDocument/2006/relationships/slideLayout" Target="../slideLayouts/slideLayout1838.xml"/><Relationship Id="rId234" Type="http://schemas.openxmlformats.org/officeDocument/2006/relationships/slideLayout" Target="../slideLayouts/slideLayout2001.xml"/><Relationship Id="rId679" Type="http://schemas.openxmlformats.org/officeDocument/2006/relationships/slideLayout" Target="../slideLayouts/slideLayout2446.xml"/><Relationship Id="rId802" Type="http://schemas.openxmlformats.org/officeDocument/2006/relationships/slideLayout" Target="../slideLayouts/slideLayout2569.xml"/><Relationship Id="rId886" Type="http://schemas.openxmlformats.org/officeDocument/2006/relationships/slideLayout" Target="../slideLayouts/slideLayout2653.xml"/><Relationship Id="rId2" Type="http://schemas.openxmlformats.org/officeDocument/2006/relationships/slideLayout" Target="../slideLayouts/slideLayout1769.xml"/><Relationship Id="rId29" Type="http://schemas.openxmlformats.org/officeDocument/2006/relationships/slideLayout" Target="../slideLayouts/slideLayout1796.xml"/><Relationship Id="rId441" Type="http://schemas.openxmlformats.org/officeDocument/2006/relationships/slideLayout" Target="../slideLayouts/slideLayout2208.xml"/><Relationship Id="rId539" Type="http://schemas.openxmlformats.org/officeDocument/2006/relationships/slideLayout" Target="../slideLayouts/slideLayout2306.xml"/><Relationship Id="rId746" Type="http://schemas.openxmlformats.org/officeDocument/2006/relationships/slideLayout" Target="../slideLayouts/slideLayout2513.xml"/><Relationship Id="rId178" Type="http://schemas.openxmlformats.org/officeDocument/2006/relationships/slideLayout" Target="../slideLayouts/slideLayout1945.xml"/><Relationship Id="rId301" Type="http://schemas.openxmlformats.org/officeDocument/2006/relationships/slideLayout" Target="../slideLayouts/slideLayout2068.xml"/><Relationship Id="rId82" Type="http://schemas.openxmlformats.org/officeDocument/2006/relationships/slideLayout" Target="../slideLayouts/slideLayout1849.xml"/><Relationship Id="rId385" Type="http://schemas.openxmlformats.org/officeDocument/2006/relationships/slideLayout" Target="../slideLayouts/slideLayout2152.xml"/><Relationship Id="rId592" Type="http://schemas.openxmlformats.org/officeDocument/2006/relationships/slideLayout" Target="../slideLayouts/slideLayout2359.xml"/><Relationship Id="rId606" Type="http://schemas.openxmlformats.org/officeDocument/2006/relationships/slideLayout" Target="../slideLayouts/slideLayout2373.xml"/><Relationship Id="rId813" Type="http://schemas.openxmlformats.org/officeDocument/2006/relationships/slideLayout" Target="../slideLayouts/slideLayout2580.xml"/><Relationship Id="rId245" Type="http://schemas.openxmlformats.org/officeDocument/2006/relationships/slideLayout" Target="../slideLayouts/slideLayout2012.xml"/><Relationship Id="rId452" Type="http://schemas.openxmlformats.org/officeDocument/2006/relationships/slideLayout" Target="../slideLayouts/slideLayout2219.xml"/><Relationship Id="rId105" Type="http://schemas.openxmlformats.org/officeDocument/2006/relationships/slideLayout" Target="../slideLayouts/slideLayout1872.xml"/><Relationship Id="rId312" Type="http://schemas.openxmlformats.org/officeDocument/2006/relationships/slideLayout" Target="../slideLayouts/slideLayout2079.xml"/><Relationship Id="rId757" Type="http://schemas.openxmlformats.org/officeDocument/2006/relationships/slideLayout" Target="../slideLayouts/slideLayout2524.xml"/><Relationship Id="rId93" Type="http://schemas.openxmlformats.org/officeDocument/2006/relationships/slideLayout" Target="../slideLayouts/slideLayout1860.xml"/><Relationship Id="rId189" Type="http://schemas.openxmlformats.org/officeDocument/2006/relationships/slideLayout" Target="../slideLayouts/slideLayout1956.xml"/><Relationship Id="rId396" Type="http://schemas.openxmlformats.org/officeDocument/2006/relationships/slideLayout" Target="../slideLayouts/slideLayout2163.xml"/><Relationship Id="rId617" Type="http://schemas.openxmlformats.org/officeDocument/2006/relationships/slideLayout" Target="../slideLayouts/slideLayout2384.xml"/><Relationship Id="rId824" Type="http://schemas.openxmlformats.org/officeDocument/2006/relationships/slideLayout" Target="../slideLayouts/slideLayout2591.xml"/><Relationship Id="rId256" Type="http://schemas.openxmlformats.org/officeDocument/2006/relationships/slideLayout" Target="../slideLayouts/slideLayout2023.xml"/><Relationship Id="rId463" Type="http://schemas.openxmlformats.org/officeDocument/2006/relationships/slideLayout" Target="../slideLayouts/slideLayout2230.xml"/><Relationship Id="rId670" Type="http://schemas.openxmlformats.org/officeDocument/2006/relationships/slideLayout" Target="../slideLayouts/slideLayout2437.xml"/><Relationship Id="rId116" Type="http://schemas.openxmlformats.org/officeDocument/2006/relationships/slideLayout" Target="../slideLayouts/slideLayout1883.xml"/><Relationship Id="rId323" Type="http://schemas.openxmlformats.org/officeDocument/2006/relationships/slideLayout" Target="../slideLayouts/slideLayout2090.xml"/><Relationship Id="rId530" Type="http://schemas.openxmlformats.org/officeDocument/2006/relationships/slideLayout" Target="../slideLayouts/slideLayout2297.xml"/><Relationship Id="rId768" Type="http://schemas.openxmlformats.org/officeDocument/2006/relationships/slideLayout" Target="../slideLayouts/slideLayout2535.xml"/><Relationship Id="rId20" Type="http://schemas.openxmlformats.org/officeDocument/2006/relationships/slideLayout" Target="../slideLayouts/slideLayout1787.xml"/><Relationship Id="rId628" Type="http://schemas.openxmlformats.org/officeDocument/2006/relationships/slideLayout" Target="../slideLayouts/slideLayout2395.xml"/><Relationship Id="rId835" Type="http://schemas.openxmlformats.org/officeDocument/2006/relationships/slideLayout" Target="../slideLayouts/slideLayout2602.xml"/><Relationship Id="rId267" Type="http://schemas.openxmlformats.org/officeDocument/2006/relationships/slideLayout" Target="../slideLayouts/slideLayout2034.xml"/><Relationship Id="rId474" Type="http://schemas.openxmlformats.org/officeDocument/2006/relationships/slideLayout" Target="../slideLayouts/slideLayout2241.xml"/><Relationship Id="rId127" Type="http://schemas.openxmlformats.org/officeDocument/2006/relationships/slideLayout" Target="../slideLayouts/slideLayout1894.xml"/><Relationship Id="rId681" Type="http://schemas.openxmlformats.org/officeDocument/2006/relationships/slideLayout" Target="../slideLayouts/slideLayout2448.xml"/><Relationship Id="rId779" Type="http://schemas.openxmlformats.org/officeDocument/2006/relationships/slideLayout" Target="../slideLayouts/slideLayout2546.xml"/><Relationship Id="rId31" Type="http://schemas.openxmlformats.org/officeDocument/2006/relationships/slideLayout" Target="../slideLayouts/slideLayout1798.xml"/><Relationship Id="rId334" Type="http://schemas.openxmlformats.org/officeDocument/2006/relationships/slideLayout" Target="../slideLayouts/slideLayout2101.xml"/><Relationship Id="rId541" Type="http://schemas.openxmlformats.org/officeDocument/2006/relationships/slideLayout" Target="../slideLayouts/slideLayout2308.xml"/><Relationship Id="rId639" Type="http://schemas.openxmlformats.org/officeDocument/2006/relationships/slideLayout" Target="../slideLayouts/slideLayout2406.xml"/><Relationship Id="rId180" Type="http://schemas.openxmlformats.org/officeDocument/2006/relationships/slideLayout" Target="../slideLayouts/slideLayout1947.xml"/><Relationship Id="rId278" Type="http://schemas.openxmlformats.org/officeDocument/2006/relationships/slideLayout" Target="../slideLayouts/slideLayout2045.xml"/><Relationship Id="rId401" Type="http://schemas.openxmlformats.org/officeDocument/2006/relationships/slideLayout" Target="../slideLayouts/slideLayout2168.xml"/><Relationship Id="rId846" Type="http://schemas.openxmlformats.org/officeDocument/2006/relationships/slideLayout" Target="../slideLayouts/slideLayout2613.xml"/><Relationship Id="rId485" Type="http://schemas.openxmlformats.org/officeDocument/2006/relationships/slideLayout" Target="../slideLayouts/slideLayout2252.xml"/><Relationship Id="rId692" Type="http://schemas.openxmlformats.org/officeDocument/2006/relationships/slideLayout" Target="../slideLayouts/slideLayout2459.xml"/><Relationship Id="rId706" Type="http://schemas.openxmlformats.org/officeDocument/2006/relationships/slideLayout" Target="../slideLayouts/slideLayout2473.xml"/><Relationship Id="rId42" Type="http://schemas.openxmlformats.org/officeDocument/2006/relationships/slideLayout" Target="../slideLayouts/slideLayout1809.xml"/><Relationship Id="rId138" Type="http://schemas.openxmlformats.org/officeDocument/2006/relationships/slideLayout" Target="../slideLayouts/slideLayout1905.xml"/><Relationship Id="rId345" Type="http://schemas.openxmlformats.org/officeDocument/2006/relationships/slideLayout" Target="../slideLayouts/slideLayout2112.xml"/><Relationship Id="rId552" Type="http://schemas.openxmlformats.org/officeDocument/2006/relationships/slideLayout" Target="../slideLayouts/slideLayout2319.xml"/><Relationship Id="rId191" Type="http://schemas.openxmlformats.org/officeDocument/2006/relationships/slideLayout" Target="../slideLayouts/slideLayout1958.xml"/><Relationship Id="rId205" Type="http://schemas.openxmlformats.org/officeDocument/2006/relationships/slideLayout" Target="../slideLayouts/slideLayout1972.xml"/><Relationship Id="rId412" Type="http://schemas.openxmlformats.org/officeDocument/2006/relationships/slideLayout" Target="../slideLayouts/slideLayout2179.xml"/><Relationship Id="rId857" Type="http://schemas.openxmlformats.org/officeDocument/2006/relationships/slideLayout" Target="../slideLayouts/slideLayout2624.xml"/><Relationship Id="rId289" Type="http://schemas.openxmlformats.org/officeDocument/2006/relationships/slideLayout" Target="../slideLayouts/slideLayout2056.xml"/><Relationship Id="rId496" Type="http://schemas.openxmlformats.org/officeDocument/2006/relationships/slideLayout" Target="../slideLayouts/slideLayout2263.xml"/><Relationship Id="rId717" Type="http://schemas.openxmlformats.org/officeDocument/2006/relationships/slideLayout" Target="../slideLayouts/slideLayout2484.xml"/><Relationship Id="rId53" Type="http://schemas.openxmlformats.org/officeDocument/2006/relationships/slideLayout" Target="../slideLayouts/slideLayout1820.xml"/><Relationship Id="rId149" Type="http://schemas.openxmlformats.org/officeDocument/2006/relationships/slideLayout" Target="../slideLayouts/slideLayout1916.xml"/><Relationship Id="rId356" Type="http://schemas.openxmlformats.org/officeDocument/2006/relationships/slideLayout" Target="../slideLayouts/slideLayout2123.xml"/><Relationship Id="rId563" Type="http://schemas.openxmlformats.org/officeDocument/2006/relationships/slideLayout" Target="../slideLayouts/slideLayout2330.xml"/><Relationship Id="rId770" Type="http://schemas.openxmlformats.org/officeDocument/2006/relationships/slideLayout" Target="../slideLayouts/slideLayout2537.xml"/><Relationship Id="rId216" Type="http://schemas.openxmlformats.org/officeDocument/2006/relationships/slideLayout" Target="../slideLayouts/slideLayout1983.xml"/><Relationship Id="rId423" Type="http://schemas.openxmlformats.org/officeDocument/2006/relationships/slideLayout" Target="../slideLayouts/slideLayout2190.xml"/><Relationship Id="rId868" Type="http://schemas.openxmlformats.org/officeDocument/2006/relationships/slideLayout" Target="../slideLayouts/slideLayout2635.xml"/><Relationship Id="rId630" Type="http://schemas.openxmlformats.org/officeDocument/2006/relationships/slideLayout" Target="../slideLayouts/slideLayout2397.xml"/><Relationship Id="rId728" Type="http://schemas.openxmlformats.org/officeDocument/2006/relationships/slideLayout" Target="../slideLayouts/slideLayout2495.xml"/><Relationship Id="rId64" Type="http://schemas.openxmlformats.org/officeDocument/2006/relationships/slideLayout" Target="../slideLayouts/slideLayout1831.xml"/><Relationship Id="rId367" Type="http://schemas.openxmlformats.org/officeDocument/2006/relationships/slideLayout" Target="../slideLayouts/slideLayout2134.xml"/><Relationship Id="rId574" Type="http://schemas.openxmlformats.org/officeDocument/2006/relationships/slideLayout" Target="../slideLayouts/slideLayout2341.xml"/><Relationship Id="rId227" Type="http://schemas.openxmlformats.org/officeDocument/2006/relationships/slideLayout" Target="../slideLayouts/slideLayout1994.xml"/><Relationship Id="rId781" Type="http://schemas.openxmlformats.org/officeDocument/2006/relationships/slideLayout" Target="../slideLayouts/slideLayout2548.xml"/><Relationship Id="rId879" Type="http://schemas.openxmlformats.org/officeDocument/2006/relationships/slideLayout" Target="../slideLayouts/slideLayout2646.xml"/><Relationship Id="rId434" Type="http://schemas.openxmlformats.org/officeDocument/2006/relationships/slideLayout" Target="../slideLayouts/slideLayout2201.xml"/><Relationship Id="rId641" Type="http://schemas.openxmlformats.org/officeDocument/2006/relationships/slideLayout" Target="../slideLayouts/slideLayout2408.xml"/><Relationship Id="rId739" Type="http://schemas.openxmlformats.org/officeDocument/2006/relationships/slideLayout" Target="../slideLayouts/slideLayout2506.xml"/><Relationship Id="rId280" Type="http://schemas.openxmlformats.org/officeDocument/2006/relationships/slideLayout" Target="../slideLayouts/slideLayout2047.xml"/><Relationship Id="rId501" Type="http://schemas.openxmlformats.org/officeDocument/2006/relationships/slideLayout" Target="../slideLayouts/slideLayout2268.xml"/><Relationship Id="rId75" Type="http://schemas.openxmlformats.org/officeDocument/2006/relationships/slideLayout" Target="../slideLayouts/slideLayout1842.xml"/><Relationship Id="rId140" Type="http://schemas.openxmlformats.org/officeDocument/2006/relationships/slideLayout" Target="../slideLayouts/slideLayout1907.xml"/><Relationship Id="rId378" Type="http://schemas.openxmlformats.org/officeDocument/2006/relationships/slideLayout" Target="../slideLayouts/slideLayout2145.xml"/><Relationship Id="rId585" Type="http://schemas.openxmlformats.org/officeDocument/2006/relationships/slideLayout" Target="../slideLayouts/slideLayout2352.xml"/><Relationship Id="rId792" Type="http://schemas.openxmlformats.org/officeDocument/2006/relationships/slideLayout" Target="../slideLayouts/slideLayout2559.xml"/><Relationship Id="rId806" Type="http://schemas.openxmlformats.org/officeDocument/2006/relationships/slideLayout" Target="../slideLayouts/slideLayout2573.xml"/><Relationship Id="rId6" Type="http://schemas.openxmlformats.org/officeDocument/2006/relationships/slideLayout" Target="../slideLayouts/slideLayout1773.xml"/><Relationship Id="rId238" Type="http://schemas.openxmlformats.org/officeDocument/2006/relationships/slideLayout" Target="../slideLayouts/slideLayout2005.xml"/><Relationship Id="rId445" Type="http://schemas.openxmlformats.org/officeDocument/2006/relationships/slideLayout" Target="../slideLayouts/slideLayout2212.xml"/><Relationship Id="rId652" Type="http://schemas.openxmlformats.org/officeDocument/2006/relationships/slideLayout" Target="../slideLayouts/slideLayout2419.xml"/><Relationship Id="rId291" Type="http://schemas.openxmlformats.org/officeDocument/2006/relationships/slideLayout" Target="../slideLayouts/slideLayout2058.xml"/><Relationship Id="rId305" Type="http://schemas.openxmlformats.org/officeDocument/2006/relationships/slideLayout" Target="../slideLayouts/slideLayout2072.xml"/><Relationship Id="rId512" Type="http://schemas.openxmlformats.org/officeDocument/2006/relationships/slideLayout" Target="../slideLayouts/slideLayout2279.xml"/><Relationship Id="rId86" Type="http://schemas.openxmlformats.org/officeDocument/2006/relationships/slideLayout" Target="../slideLayouts/slideLayout1853.xml"/><Relationship Id="rId151" Type="http://schemas.openxmlformats.org/officeDocument/2006/relationships/slideLayout" Target="../slideLayouts/slideLayout1918.xml"/><Relationship Id="rId389" Type="http://schemas.openxmlformats.org/officeDocument/2006/relationships/slideLayout" Target="../slideLayouts/slideLayout2156.xml"/><Relationship Id="rId596" Type="http://schemas.openxmlformats.org/officeDocument/2006/relationships/slideLayout" Target="../slideLayouts/slideLayout2363.xml"/><Relationship Id="rId817" Type="http://schemas.openxmlformats.org/officeDocument/2006/relationships/slideLayout" Target="../slideLayouts/slideLayout2584.xml"/><Relationship Id="rId249" Type="http://schemas.openxmlformats.org/officeDocument/2006/relationships/slideLayout" Target="../slideLayouts/slideLayout2016.xml"/><Relationship Id="rId456" Type="http://schemas.openxmlformats.org/officeDocument/2006/relationships/slideLayout" Target="../slideLayouts/slideLayout2223.xml"/><Relationship Id="rId663" Type="http://schemas.openxmlformats.org/officeDocument/2006/relationships/slideLayout" Target="../slideLayouts/slideLayout2430.xml"/><Relationship Id="rId870" Type="http://schemas.openxmlformats.org/officeDocument/2006/relationships/slideLayout" Target="../slideLayouts/slideLayout2637.xml"/><Relationship Id="rId13" Type="http://schemas.openxmlformats.org/officeDocument/2006/relationships/slideLayout" Target="../slideLayouts/slideLayout1780.xml"/><Relationship Id="rId109" Type="http://schemas.openxmlformats.org/officeDocument/2006/relationships/slideLayout" Target="../slideLayouts/slideLayout1876.xml"/><Relationship Id="rId316" Type="http://schemas.openxmlformats.org/officeDocument/2006/relationships/slideLayout" Target="../slideLayouts/slideLayout2083.xml"/><Relationship Id="rId523" Type="http://schemas.openxmlformats.org/officeDocument/2006/relationships/slideLayout" Target="../slideLayouts/slideLayout2290.xml"/><Relationship Id="rId97" Type="http://schemas.openxmlformats.org/officeDocument/2006/relationships/slideLayout" Target="../slideLayouts/slideLayout1864.xml"/><Relationship Id="rId730" Type="http://schemas.openxmlformats.org/officeDocument/2006/relationships/slideLayout" Target="../slideLayouts/slideLayout2497.xml"/><Relationship Id="rId828" Type="http://schemas.openxmlformats.org/officeDocument/2006/relationships/slideLayout" Target="../slideLayouts/slideLayout2595.xml"/><Relationship Id="rId162" Type="http://schemas.openxmlformats.org/officeDocument/2006/relationships/slideLayout" Target="../slideLayouts/slideLayout1929.xml"/><Relationship Id="rId467" Type="http://schemas.openxmlformats.org/officeDocument/2006/relationships/slideLayout" Target="../slideLayouts/slideLayout2234.xml"/><Relationship Id="rId674" Type="http://schemas.openxmlformats.org/officeDocument/2006/relationships/slideLayout" Target="../slideLayouts/slideLayout2441.xml"/><Relationship Id="rId881" Type="http://schemas.openxmlformats.org/officeDocument/2006/relationships/slideLayout" Target="../slideLayouts/slideLayout2648.xml"/><Relationship Id="rId24" Type="http://schemas.openxmlformats.org/officeDocument/2006/relationships/slideLayout" Target="../slideLayouts/slideLayout1791.xml"/><Relationship Id="rId327" Type="http://schemas.openxmlformats.org/officeDocument/2006/relationships/slideLayout" Target="../slideLayouts/slideLayout2094.xml"/><Relationship Id="rId534" Type="http://schemas.openxmlformats.org/officeDocument/2006/relationships/slideLayout" Target="../slideLayouts/slideLayout2301.xml"/><Relationship Id="rId741" Type="http://schemas.openxmlformats.org/officeDocument/2006/relationships/slideLayout" Target="../slideLayouts/slideLayout2508.xml"/><Relationship Id="rId839" Type="http://schemas.openxmlformats.org/officeDocument/2006/relationships/slideLayout" Target="../slideLayouts/slideLayout2606.xml"/><Relationship Id="rId173" Type="http://schemas.openxmlformats.org/officeDocument/2006/relationships/slideLayout" Target="../slideLayouts/slideLayout1940.xml"/><Relationship Id="rId380" Type="http://schemas.openxmlformats.org/officeDocument/2006/relationships/slideLayout" Target="../slideLayouts/slideLayout2147.xml"/><Relationship Id="rId601" Type="http://schemas.openxmlformats.org/officeDocument/2006/relationships/slideLayout" Target="../slideLayouts/slideLayout2368.xml"/><Relationship Id="rId240" Type="http://schemas.openxmlformats.org/officeDocument/2006/relationships/slideLayout" Target="../slideLayouts/slideLayout2007.xml"/><Relationship Id="rId478" Type="http://schemas.openxmlformats.org/officeDocument/2006/relationships/slideLayout" Target="../slideLayouts/slideLayout2245.xml"/><Relationship Id="rId685" Type="http://schemas.openxmlformats.org/officeDocument/2006/relationships/slideLayout" Target="../slideLayouts/slideLayout2452.xml"/><Relationship Id="rId892" Type="http://schemas.openxmlformats.org/officeDocument/2006/relationships/theme" Target="../theme/theme5.xml"/><Relationship Id="rId35" Type="http://schemas.openxmlformats.org/officeDocument/2006/relationships/slideLayout" Target="../slideLayouts/slideLayout1802.xml"/><Relationship Id="rId100" Type="http://schemas.openxmlformats.org/officeDocument/2006/relationships/slideLayout" Target="../slideLayouts/slideLayout1867.xml"/><Relationship Id="rId338" Type="http://schemas.openxmlformats.org/officeDocument/2006/relationships/slideLayout" Target="../slideLayouts/slideLayout2105.xml"/><Relationship Id="rId545" Type="http://schemas.openxmlformats.org/officeDocument/2006/relationships/slideLayout" Target="../slideLayouts/slideLayout2312.xml"/><Relationship Id="rId752" Type="http://schemas.openxmlformats.org/officeDocument/2006/relationships/slideLayout" Target="../slideLayouts/slideLayout2519.xml"/><Relationship Id="rId184" Type="http://schemas.openxmlformats.org/officeDocument/2006/relationships/slideLayout" Target="../slideLayouts/slideLayout1951.xml"/><Relationship Id="rId391" Type="http://schemas.openxmlformats.org/officeDocument/2006/relationships/slideLayout" Target="../slideLayouts/slideLayout2158.xml"/><Relationship Id="rId405" Type="http://schemas.openxmlformats.org/officeDocument/2006/relationships/slideLayout" Target="../slideLayouts/slideLayout2172.xml"/><Relationship Id="rId612" Type="http://schemas.openxmlformats.org/officeDocument/2006/relationships/slideLayout" Target="../slideLayouts/slideLayout2379.xml"/><Relationship Id="rId251" Type="http://schemas.openxmlformats.org/officeDocument/2006/relationships/slideLayout" Target="../slideLayouts/slideLayout2018.xml"/><Relationship Id="rId489" Type="http://schemas.openxmlformats.org/officeDocument/2006/relationships/slideLayout" Target="../slideLayouts/slideLayout2256.xml"/><Relationship Id="rId696" Type="http://schemas.openxmlformats.org/officeDocument/2006/relationships/slideLayout" Target="../slideLayouts/slideLayout2463.xml"/><Relationship Id="rId46" Type="http://schemas.openxmlformats.org/officeDocument/2006/relationships/slideLayout" Target="../slideLayouts/slideLayout1813.xml"/><Relationship Id="rId349" Type="http://schemas.openxmlformats.org/officeDocument/2006/relationships/slideLayout" Target="../slideLayouts/slideLayout2116.xml"/><Relationship Id="rId556" Type="http://schemas.openxmlformats.org/officeDocument/2006/relationships/slideLayout" Target="../slideLayouts/slideLayout2323.xml"/><Relationship Id="rId763" Type="http://schemas.openxmlformats.org/officeDocument/2006/relationships/slideLayout" Target="../slideLayouts/slideLayout2530.xml"/><Relationship Id="rId111" Type="http://schemas.openxmlformats.org/officeDocument/2006/relationships/slideLayout" Target="../slideLayouts/slideLayout1878.xml"/><Relationship Id="rId195" Type="http://schemas.openxmlformats.org/officeDocument/2006/relationships/slideLayout" Target="../slideLayouts/slideLayout1962.xml"/><Relationship Id="rId209" Type="http://schemas.openxmlformats.org/officeDocument/2006/relationships/slideLayout" Target="../slideLayouts/slideLayout1976.xml"/><Relationship Id="rId416" Type="http://schemas.openxmlformats.org/officeDocument/2006/relationships/slideLayout" Target="../slideLayouts/slideLayout2183.xml"/><Relationship Id="rId623" Type="http://schemas.openxmlformats.org/officeDocument/2006/relationships/slideLayout" Target="../slideLayouts/slideLayout2390.xml"/><Relationship Id="rId830" Type="http://schemas.openxmlformats.org/officeDocument/2006/relationships/slideLayout" Target="../slideLayouts/slideLayout2597.xml"/><Relationship Id="rId57" Type="http://schemas.openxmlformats.org/officeDocument/2006/relationships/slideLayout" Target="../slideLayouts/slideLayout1824.xml"/><Relationship Id="rId262" Type="http://schemas.openxmlformats.org/officeDocument/2006/relationships/slideLayout" Target="../slideLayouts/slideLayout2029.xml"/><Relationship Id="rId567" Type="http://schemas.openxmlformats.org/officeDocument/2006/relationships/slideLayout" Target="../slideLayouts/slideLayout2334.xml"/><Relationship Id="rId122" Type="http://schemas.openxmlformats.org/officeDocument/2006/relationships/slideLayout" Target="../slideLayouts/slideLayout1889.xml"/><Relationship Id="rId774" Type="http://schemas.openxmlformats.org/officeDocument/2006/relationships/slideLayout" Target="../slideLayouts/slideLayout2541.xml"/><Relationship Id="rId427" Type="http://schemas.openxmlformats.org/officeDocument/2006/relationships/slideLayout" Target="../slideLayouts/slideLayout2194.xml"/><Relationship Id="rId469" Type="http://schemas.openxmlformats.org/officeDocument/2006/relationships/slideLayout" Target="../slideLayouts/slideLayout2236.xml"/><Relationship Id="rId634" Type="http://schemas.openxmlformats.org/officeDocument/2006/relationships/slideLayout" Target="../slideLayouts/slideLayout2401.xml"/><Relationship Id="rId676" Type="http://schemas.openxmlformats.org/officeDocument/2006/relationships/slideLayout" Target="../slideLayouts/slideLayout2443.xml"/><Relationship Id="rId841" Type="http://schemas.openxmlformats.org/officeDocument/2006/relationships/slideLayout" Target="../slideLayouts/slideLayout2608.xml"/><Relationship Id="rId883" Type="http://schemas.openxmlformats.org/officeDocument/2006/relationships/slideLayout" Target="../slideLayouts/slideLayout2650.xml"/><Relationship Id="rId26" Type="http://schemas.openxmlformats.org/officeDocument/2006/relationships/slideLayout" Target="../slideLayouts/slideLayout1793.xml"/><Relationship Id="rId231" Type="http://schemas.openxmlformats.org/officeDocument/2006/relationships/slideLayout" Target="../slideLayouts/slideLayout1998.xml"/><Relationship Id="rId273" Type="http://schemas.openxmlformats.org/officeDocument/2006/relationships/slideLayout" Target="../slideLayouts/slideLayout2040.xml"/><Relationship Id="rId329" Type="http://schemas.openxmlformats.org/officeDocument/2006/relationships/slideLayout" Target="../slideLayouts/slideLayout2096.xml"/><Relationship Id="rId480" Type="http://schemas.openxmlformats.org/officeDocument/2006/relationships/slideLayout" Target="../slideLayouts/slideLayout2247.xml"/><Relationship Id="rId536" Type="http://schemas.openxmlformats.org/officeDocument/2006/relationships/slideLayout" Target="../slideLayouts/slideLayout2303.xml"/><Relationship Id="rId701" Type="http://schemas.openxmlformats.org/officeDocument/2006/relationships/slideLayout" Target="../slideLayouts/slideLayout2468.xml"/><Relationship Id="rId68" Type="http://schemas.openxmlformats.org/officeDocument/2006/relationships/slideLayout" Target="../slideLayouts/slideLayout1835.xml"/><Relationship Id="rId133" Type="http://schemas.openxmlformats.org/officeDocument/2006/relationships/slideLayout" Target="../slideLayouts/slideLayout1900.xml"/><Relationship Id="rId175" Type="http://schemas.openxmlformats.org/officeDocument/2006/relationships/slideLayout" Target="../slideLayouts/slideLayout1942.xml"/><Relationship Id="rId340" Type="http://schemas.openxmlformats.org/officeDocument/2006/relationships/slideLayout" Target="../slideLayouts/slideLayout2107.xml"/><Relationship Id="rId578" Type="http://schemas.openxmlformats.org/officeDocument/2006/relationships/slideLayout" Target="../slideLayouts/slideLayout2345.xml"/><Relationship Id="rId743" Type="http://schemas.openxmlformats.org/officeDocument/2006/relationships/slideLayout" Target="../slideLayouts/slideLayout2510.xml"/><Relationship Id="rId785" Type="http://schemas.openxmlformats.org/officeDocument/2006/relationships/slideLayout" Target="../slideLayouts/slideLayout2552.xml"/><Relationship Id="rId200" Type="http://schemas.openxmlformats.org/officeDocument/2006/relationships/slideLayout" Target="../slideLayouts/slideLayout1967.xml"/><Relationship Id="rId382" Type="http://schemas.openxmlformats.org/officeDocument/2006/relationships/slideLayout" Target="../slideLayouts/slideLayout2149.xml"/><Relationship Id="rId438" Type="http://schemas.openxmlformats.org/officeDocument/2006/relationships/slideLayout" Target="../slideLayouts/slideLayout2205.xml"/><Relationship Id="rId603" Type="http://schemas.openxmlformats.org/officeDocument/2006/relationships/slideLayout" Target="../slideLayouts/slideLayout2370.xml"/><Relationship Id="rId645" Type="http://schemas.openxmlformats.org/officeDocument/2006/relationships/slideLayout" Target="../slideLayouts/slideLayout2412.xml"/><Relationship Id="rId687" Type="http://schemas.openxmlformats.org/officeDocument/2006/relationships/slideLayout" Target="../slideLayouts/slideLayout2454.xml"/><Relationship Id="rId810" Type="http://schemas.openxmlformats.org/officeDocument/2006/relationships/slideLayout" Target="../slideLayouts/slideLayout2577.xml"/><Relationship Id="rId852" Type="http://schemas.openxmlformats.org/officeDocument/2006/relationships/slideLayout" Target="../slideLayouts/slideLayout2619.xml"/><Relationship Id="rId242" Type="http://schemas.openxmlformats.org/officeDocument/2006/relationships/slideLayout" Target="../slideLayouts/slideLayout2009.xml"/><Relationship Id="rId284" Type="http://schemas.openxmlformats.org/officeDocument/2006/relationships/slideLayout" Target="../slideLayouts/slideLayout2051.xml"/><Relationship Id="rId491" Type="http://schemas.openxmlformats.org/officeDocument/2006/relationships/slideLayout" Target="../slideLayouts/slideLayout2258.xml"/><Relationship Id="rId505" Type="http://schemas.openxmlformats.org/officeDocument/2006/relationships/slideLayout" Target="../slideLayouts/slideLayout2272.xml"/><Relationship Id="rId712" Type="http://schemas.openxmlformats.org/officeDocument/2006/relationships/slideLayout" Target="../slideLayouts/slideLayout2479.xml"/><Relationship Id="rId37" Type="http://schemas.openxmlformats.org/officeDocument/2006/relationships/slideLayout" Target="../slideLayouts/slideLayout1804.xml"/><Relationship Id="rId79" Type="http://schemas.openxmlformats.org/officeDocument/2006/relationships/slideLayout" Target="../slideLayouts/slideLayout1846.xml"/><Relationship Id="rId102" Type="http://schemas.openxmlformats.org/officeDocument/2006/relationships/slideLayout" Target="../slideLayouts/slideLayout1869.xml"/><Relationship Id="rId144" Type="http://schemas.openxmlformats.org/officeDocument/2006/relationships/slideLayout" Target="../slideLayouts/slideLayout1911.xml"/><Relationship Id="rId547" Type="http://schemas.openxmlformats.org/officeDocument/2006/relationships/slideLayout" Target="../slideLayouts/slideLayout2314.xml"/><Relationship Id="rId589" Type="http://schemas.openxmlformats.org/officeDocument/2006/relationships/slideLayout" Target="../slideLayouts/slideLayout2356.xml"/><Relationship Id="rId754" Type="http://schemas.openxmlformats.org/officeDocument/2006/relationships/slideLayout" Target="../slideLayouts/slideLayout2521.xml"/><Relationship Id="rId796" Type="http://schemas.openxmlformats.org/officeDocument/2006/relationships/slideLayout" Target="../slideLayouts/slideLayout2563.xml"/><Relationship Id="rId90" Type="http://schemas.openxmlformats.org/officeDocument/2006/relationships/slideLayout" Target="../slideLayouts/slideLayout1857.xml"/><Relationship Id="rId186" Type="http://schemas.openxmlformats.org/officeDocument/2006/relationships/slideLayout" Target="../slideLayouts/slideLayout1953.xml"/><Relationship Id="rId351" Type="http://schemas.openxmlformats.org/officeDocument/2006/relationships/slideLayout" Target="../slideLayouts/slideLayout2118.xml"/><Relationship Id="rId393" Type="http://schemas.openxmlformats.org/officeDocument/2006/relationships/slideLayout" Target="../slideLayouts/slideLayout2160.xml"/><Relationship Id="rId407" Type="http://schemas.openxmlformats.org/officeDocument/2006/relationships/slideLayout" Target="../slideLayouts/slideLayout2174.xml"/><Relationship Id="rId449" Type="http://schemas.openxmlformats.org/officeDocument/2006/relationships/slideLayout" Target="../slideLayouts/slideLayout2216.xml"/><Relationship Id="rId614" Type="http://schemas.openxmlformats.org/officeDocument/2006/relationships/slideLayout" Target="../slideLayouts/slideLayout2381.xml"/><Relationship Id="rId656" Type="http://schemas.openxmlformats.org/officeDocument/2006/relationships/slideLayout" Target="../slideLayouts/slideLayout2423.xml"/><Relationship Id="rId821" Type="http://schemas.openxmlformats.org/officeDocument/2006/relationships/slideLayout" Target="../slideLayouts/slideLayout2588.xml"/><Relationship Id="rId863" Type="http://schemas.openxmlformats.org/officeDocument/2006/relationships/slideLayout" Target="../slideLayouts/slideLayout2630.xml"/><Relationship Id="rId211" Type="http://schemas.openxmlformats.org/officeDocument/2006/relationships/slideLayout" Target="../slideLayouts/slideLayout1978.xml"/><Relationship Id="rId253" Type="http://schemas.openxmlformats.org/officeDocument/2006/relationships/slideLayout" Target="../slideLayouts/slideLayout2020.xml"/><Relationship Id="rId295" Type="http://schemas.openxmlformats.org/officeDocument/2006/relationships/slideLayout" Target="../slideLayouts/slideLayout2062.xml"/><Relationship Id="rId309" Type="http://schemas.openxmlformats.org/officeDocument/2006/relationships/slideLayout" Target="../slideLayouts/slideLayout2076.xml"/><Relationship Id="rId460" Type="http://schemas.openxmlformats.org/officeDocument/2006/relationships/slideLayout" Target="../slideLayouts/slideLayout2227.xml"/><Relationship Id="rId516" Type="http://schemas.openxmlformats.org/officeDocument/2006/relationships/slideLayout" Target="../slideLayouts/slideLayout2283.xml"/><Relationship Id="rId698" Type="http://schemas.openxmlformats.org/officeDocument/2006/relationships/slideLayout" Target="../slideLayouts/slideLayout2465.xml"/><Relationship Id="rId48" Type="http://schemas.openxmlformats.org/officeDocument/2006/relationships/slideLayout" Target="../slideLayouts/slideLayout1815.xml"/><Relationship Id="rId113" Type="http://schemas.openxmlformats.org/officeDocument/2006/relationships/slideLayout" Target="../slideLayouts/slideLayout1880.xml"/><Relationship Id="rId320" Type="http://schemas.openxmlformats.org/officeDocument/2006/relationships/slideLayout" Target="../slideLayouts/slideLayout2087.xml"/><Relationship Id="rId558" Type="http://schemas.openxmlformats.org/officeDocument/2006/relationships/slideLayout" Target="../slideLayouts/slideLayout2325.xml"/><Relationship Id="rId723" Type="http://schemas.openxmlformats.org/officeDocument/2006/relationships/slideLayout" Target="../slideLayouts/slideLayout2490.xml"/><Relationship Id="rId765" Type="http://schemas.openxmlformats.org/officeDocument/2006/relationships/slideLayout" Target="../slideLayouts/slideLayout2532.xml"/><Relationship Id="rId155" Type="http://schemas.openxmlformats.org/officeDocument/2006/relationships/slideLayout" Target="../slideLayouts/slideLayout1922.xml"/><Relationship Id="rId197" Type="http://schemas.openxmlformats.org/officeDocument/2006/relationships/slideLayout" Target="../slideLayouts/slideLayout1964.xml"/><Relationship Id="rId362" Type="http://schemas.openxmlformats.org/officeDocument/2006/relationships/slideLayout" Target="../slideLayouts/slideLayout2129.xml"/><Relationship Id="rId418" Type="http://schemas.openxmlformats.org/officeDocument/2006/relationships/slideLayout" Target="../slideLayouts/slideLayout2185.xml"/><Relationship Id="rId625" Type="http://schemas.openxmlformats.org/officeDocument/2006/relationships/slideLayout" Target="../slideLayouts/slideLayout2392.xml"/><Relationship Id="rId832" Type="http://schemas.openxmlformats.org/officeDocument/2006/relationships/slideLayout" Target="../slideLayouts/slideLayout2599.xml"/><Relationship Id="rId222" Type="http://schemas.openxmlformats.org/officeDocument/2006/relationships/slideLayout" Target="../slideLayouts/slideLayout1989.xml"/><Relationship Id="rId264" Type="http://schemas.openxmlformats.org/officeDocument/2006/relationships/slideLayout" Target="../slideLayouts/slideLayout2031.xml"/><Relationship Id="rId471" Type="http://schemas.openxmlformats.org/officeDocument/2006/relationships/slideLayout" Target="../slideLayouts/slideLayout2238.xml"/><Relationship Id="rId667" Type="http://schemas.openxmlformats.org/officeDocument/2006/relationships/slideLayout" Target="../slideLayouts/slideLayout2434.xml"/><Relationship Id="rId874" Type="http://schemas.openxmlformats.org/officeDocument/2006/relationships/slideLayout" Target="../slideLayouts/slideLayout2641.xml"/><Relationship Id="rId17" Type="http://schemas.openxmlformats.org/officeDocument/2006/relationships/slideLayout" Target="../slideLayouts/slideLayout1784.xml"/><Relationship Id="rId59" Type="http://schemas.openxmlformats.org/officeDocument/2006/relationships/slideLayout" Target="../slideLayouts/slideLayout1826.xml"/><Relationship Id="rId124" Type="http://schemas.openxmlformats.org/officeDocument/2006/relationships/slideLayout" Target="../slideLayouts/slideLayout1891.xml"/><Relationship Id="rId527" Type="http://schemas.openxmlformats.org/officeDocument/2006/relationships/slideLayout" Target="../slideLayouts/slideLayout2294.xml"/><Relationship Id="rId569" Type="http://schemas.openxmlformats.org/officeDocument/2006/relationships/slideLayout" Target="../slideLayouts/slideLayout2336.xml"/><Relationship Id="rId734" Type="http://schemas.openxmlformats.org/officeDocument/2006/relationships/slideLayout" Target="../slideLayouts/slideLayout2501.xml"/><Relationship Id="rId776" Type="http://schemas.openxmlformats.org/officeDocument/2006/relationships/slideLayout" Target="../slideLayouts/slideLayout2543.xml"/><Relationship Id="rId70" Type="http://schemas.openxmlformats.org/officeDocument/2006/relationships/slideLayout" Target="../slideLayouts/slideLayout1837.xml"/><Relationship Id="rId166" Type="http://schemas.openxmlformats.org/officeDocument/2006/relationships/slideLayout" Target="../slideLayouts/slideLayout1933.xml"/><Relationship Id="rId331" Type="http://schemas.openxmlformats.org/officeDocument/2006/relationships/slideLayout" Target="../slideLayouts/slideLayout2098.xml"/><Relationship Id="rId373" Type="http://schemas.openxmlformats.org/officeDocument/2006/relationships/slideLayout" Target="../slideLayouts/slideLayout2140.xml"/><Relationship Id="rId429" Type="http://schemas.openxmlformats.org/officeDocument/2006/relationships/slideLayout" Target="../slideLayouts/slideLayout2196.xml"/><Relationship Id="rId580" Type="http://schemas.openxmlformats.org/officeDocument/2006/relationships/slideLayout" Target="../slideLayouts/slideLayout2347.xml"/><Relationship Id="rId636" Type="http://schemas.openxmlformats.org/officeDocument/2006/relationships/slideLayout" Target="../slideLayouts/slideLayout2403.xml"/><Relationship Id="rId801" Type="http://schemas.openxmlformats.org/officeDocument/2006/relationships/slideLayout" Target="../slideLayouts/slideLayout2568.xml"/><Relationship Id="rId1" Type="http://schemas.openxmlformats.org/officeDocument/2006/relationships/slideLayout" Target="../slideLayouts/slideLayout1768.xml"/><Relationship Id="rId233" Type="http://schemas.openxmlformats.org/officeDocument/2006/relationships/slideLayout" Target="../slideLayouts/slideLayout2000.xml"/><Relationship Id="rId440" Type="http://schemas.openxmlformats.org/officeDocument/2006/relationships/slideLayout" Target="../slideLayouts/slideLayout2207.xml"/><Relationship Id="rId678" Type="http://schemas.openxmlformats.org/officeDocument/2006/relationships/slideLayout" Target="../slideLayouts/slideLayout2445.xml"/><Relationship Id="rId843" Type="http://schemas.openxmlformats.org/officeDocument/2006/relationships/slideLayout" Target="../slideLayouts/slideLayout2610.xml"/><Relationship Id="rId885" Type="http://schemas.openxmlformats.org/officeDocument/2006/relationships/slideLayout" Target="../slideLayouts/slideLayout2652.xml"/><Relationship Id="rId28" Type="http://schemas.openxmlformats.org/officeDocument/2006/relationships/slideLayout" Target="../slideLayouts/slideLayout1795.xml"/><Relationship Id="rId275" Type="http://schemas.openxmlformats.org/officeDocument/2006/relationships/slideLayout" Target="../slideLayouts/slideLayout2042.xml"/><Relationship Id="rId300" Type="http://schemas.openxmlformats.org/officeDocument/2006/relationships/slideLayout" Target="../slideLayouts/slideLayout2067.xml"/><Relationship Id="rId482" Type="http://schemas.openxmlformats.org/officeDocument/2006/relationships/slideLayout" Target="../slideLayouts/slideLayout2249.xml"/><Relationship Id="rId538" Type="http://schemas.openxmlformats.org/officeDocument/2006/relationships/slideLayout" Target="../slideLayouts/slideLayout2305.xml"/><Relationship Id="rId703" Type="http://schemas.openxmlformats.org/officeDocument/2006/relationships/slideLayout" Target="../slideLayouts/slideLayout2470.xml"/><Relationship Id="rId745" Type="http://schemas.openxmlformats.org/officeDocument/2006/relationships/slideLayout" Target="../slideLayouts/slideLayout2512.xml"/><Relationship Id="rId81" Type="http://schemas.openxmlformats.org/officeDocument/2006/relationships/slideLayout" Target="../slideLayouts/slideLayout1848.xml"/><Relationship Id="rId135" Type="http://schemas.openxmlformats.org/officeDocument/2006/relationships/slideLayout" Target="../slideLayouts/slideLayout1902.xml"/><Relationship Id="rId177" Type="http://schemas.openxmlformats.org/officeDocument/2006/relationships/slideLayout" Target="../slideLayouts/slideLayout1944.xml"/><Relationship Id="rId342" Type="http://schemas.openxmlformats.org/officeDocument/2006/relationships/slideLayout" Target="../slideLayouts/slideLayout2109.xml"/><Relationship Id="rId384" Type="http://schemas.openxmlformats.org/officeDocument/2006/relationships/slideLayout" Target="../slideLayouts/slideLayout2151.xml"/><Relationship Id="rId591" Type="http://schemas.openxmlformats.org/officeDocument/2006/relationships/slideLayout" Target="../slideLayouts/slideLayout2358.xml"/><Relationship Id="rId605" Type="http://schemas.openxmlformats.org/officeDocument/2006/relationships/slideLayout" Target="../slideLayouts/slideLayout2372.xml"/><Relationship Id="rId787" Type="http://schemas.openxmlformats.org/officeDocument/2006/relationships/slideLayout" Target="../slideLayouts/slideLayout2554.xml"/><Relationship Id="rId812" Type="http://schemas.openxmlformats.org/officeDocument/2006/relationships/slideLayout" Target="../slideLayouts/slideLayout2579.xml"/><Relationship Id="rId202" Type="http://schemas.openxmlformats.org/officeDocument/2006/relationships/slideLayout" Target="../slideLayouts/slideLayout1969.xml"/><Relationship Id="rId244" Type="http://schemas.openxmlformats.org/officeDocument/2006/relationships/slideLayout" Target="../slideLayouts/slideLayout2011.xml"/><Relationship Id="rId647" Type="http://schemas.openxmlformats.org/officeDocument/2006/relationships/slideLayout" Target="../slideLayouts/slideLayout2414.xml"/><Relationship Id="rId689" Type="http://schemas.openxmlformats.org/officeDocument/2006/relationships/slideLayout" Target="../slideLayouts/slideLayout2456.xml"/><Relationship Id="rId854" Type="http://schemas.openxmlformats.org/officeDocument/2006/relationships/slideLayout" Target="../slideLayouts/slideLayout2621.xml"/><Relationship Id="rId39" Type="http://schemas.openxmlformats.org/officeDocument/2006/relationships/slideLayout" Target="../slideLayouts/slideLayout1806.xml"/><Relationship Id="rId286" Type="http://schemas.openxmlformats.org/officeDocument/2006/relationships/slideLayout" Target="../slideLayouts/slideLayout2053.xml"/><Relationship Id="rId451" Type="http://schemas.openxmlformats.org/officeDocument/2006/relationships/slideLayout" Target="../slideLayouts/slideLayout2218.xml"/><Relationship Id="rId493" Type="http://schemas.openxmlformats.org/officeDocument/2006/relationships/slideLayout" Target="../slideLayouts/slideLayout2260.xml"/><Relationship Id="rId507" Type="http://schemas.openxmlformats.org/officeDocument/2006/relationships/slideLayout" Target="../slideLayouts/slideLayout2274.xml"/><Relationship Id="rId549" Type="http://schemas.openxmlformats.org/officeDocument/2006/relationships/slideLayout" Target="../slideLayouts/slideLayout2316.xml"/><Relationship Id="rId714" Type="http://schemas.openxmlformats.org/officeDocument/2006/relationships/slideLayout" Target="../slideLayouts/slideLayout2481.xml"/><Relationship Id="rId756" Type="http://schemas.openxmlformats.org/officeDocument/2006/relationships/slideLayout" Target="../slideLayouts/slideLayout2523.xml"/><Relationship Id="rId50" Type="http://schemas.openxmlformats.org/officeDocument/2006/relationships/slideLayout" Target="../slideLayouts/slideLayout1817.xml"/><Relationship Id="rId104" Type="http://schemas.openxmlformats.org/officeDocument/2006/relationships/slideLayout" Target="../slideLayouts/slideLayout1871.xml"/><Relationship Id="rId146" Type="http://schemas.openxmlformats.org/officeDocument/2006/relationships/slideLayout" Target="../slideLayouts/slideLayout1913.xml"/><Relationship Id="rId188" Type="http://schemas.openxmlformats.org/officeDocument/2006/relationships/slideLayout" Target="../slideLayouts/slideLayout1955.xml"/><Relationship Id="rId311" Type="http://schemas.openxmlformats.org/officeDocument/2006/relationships/slideLayout" Target="../slideLayouts/slideLayout2078.xml"/><Relationship Id="rId353" Type="http://schemas.openxmlformats.org/officeDocument/2006/relationships/slideLayout" Target="../slideLayouts/slideLayout2120.xml"/><Relationship Id="rId395" Type="http://schemas.openxmlformats.org/officeDocument/2006/relationships/slideLayout" Target="../slideLayouts/slideLayout2162.xml"/><Relationship Id="rId409" Type="http://schemas.openxmlformats.org/officeDocument/2006/relationships/slideLayout" Target="../slideLayouts/slideLayout2176.xml"/><Relationship Id="rId560" Type="http://schemas.openxmlformats.org/officeDocument/2006/relationships/slideLayout" Target="../slideLayouts/slideLayout2327.xml"/><Relationship Id="rId798" Type="http://schemas.openxmlformats.org/officeDocument/2006/relationships/slideLayout" Target="../slideLayouts/slideLayout2565.xml"/><Relationship Id="rId92" Type="http://schemas.openxmlformats.org/officeDocument/2006/relationships/slideLayout" Target="../slideLayouts/slideLayout1859.xml"/><Relationship Id="rId213" Type="http://schemas.openxmlformats.org/officeDocument/2006/relationships/slideLayout" Target="../slideLayouts/slideLayout1980.xml"/><Relationship Id="rId420" Type="http://schemas.openxmlformats.org/officeDocument/2006/relationships/slideLayout" Target="../slideLayouts/slideLayout2187.xml"/><Relationship Id="rId616" Type="http://schemas.openxmlformats.org/officeDocument/2006/relationships/slideLayout" Target="../slideLayouts/slideLayout2383.xml"/><Relationship Id="rId658" Type="http://schemas.openxmlformats.org/officeDocument/2006/relationships/slideLayout" Target="../slideLayouts/slideLayout2425.xml"/><Relationship Id="rId823" Type="http://schemas.openxmlformats.org/officeDocument/2006/relationships/slideLayout" Target="../slideLayouts/slideLayout2590.xml"/><Relationship Id="rId865" Type="http://schemas.openxmlformats.org/officeDocument/2006/relationships/slideLayout" Target="../slideLayouts/slideLayout2632.xml"/><Relationship Id="rId255" Type="http://schemas.openxmlformats.org/officeDocument/2006/relationships/slideLayout" Target="../slideLayouts/slideLayout2022.xml"/><Relationship Id="rId297" Type="http://schemas.openxmlformats.org/officeDocument/2006/relationships/slideLayout" Target="../slideLayouts/slideLayout2064.xml"/><Relationship Id="rId462" Type="http://schemas.openxmlformats.org/officeDocument/2006/relationships/slideLayout" Target="../slideLayouts/slideLayout2229.xml"/><Relationship Id="rId518" Type="http://schemas.openxmlformats.org/officeDocument/2006/relationships/slideLayout" Target="../slideLayouts/slideLayout2285.xml"/><Relationship Id="rId725" Type="http://schemas.openxmlformats.org/officeDocument/2006/relationships/slideLayout" Target="../slideLayouts/slideLayout2492.xml"/><Relationship Id="rId115" Type="http://schemas.openxmlformats.org/officeDocument/2006/relationships/slideLayout" Target="../slideLayouts/slideLayout1882.xml"/><Relationship Id="rId157" Type="http://schemas.openxmlformats.org/officeDocument/2006/relationships/slideLayout" Target="../slideLayouts/slideLayout1924.xml"/><Relationship Id="rId322" Type="http://schemas.openxmlformats.org/officeDocument/2006/relationships/slideLayout" Target="../slideLayouts/slideLayout2089.xml"/><Relationship Id="rId364" Type="http://schemas.openxmlformats.org/officeDocument/2006/relationships/slideLayout" Target="../slideLayouts/slideLayout2131.xml"/><Relationship Id="rId767" Type="http://schemas.openxmlformats.org/officeDocument/2006/relationships/slideLayout" Target="../slideLayouts/slideLayout2534.xml"/><Relationship Id="rId61" Type="http://schemas.openxmlformats.org/officeDocument/2006/relationships/slideLayout" Target="../slideLayouts/slideLayout1828.xml"/><Relationship Id="rId199" Type="http://schemas.openxmlformats.org/officeDocument/2006/relationships/slideLayout" Target="../slideLayouts/slideLayout1966.xml"/><Relationship Id="rId571" Type="http://schemas.openxmlformats.org/officeDocument/2006/relationships/slideLayout" Target="../slideLayouts/slideLayout2338.xml"/><Relationship Id="rId627" Type="http://schemas.openxmlformats.org/officeDocument/2006/relationships/slideLayout" Target="../slideLayouts/slideLayout2394.xml"/><Relationship Id="rId669" Type="http://schemas.openxmlformats.org/officeDocument/2006/relationships/slideLayout" Target="../slideLayouts/slideLayout2436.xml"/><Relationship Id="rId834" Type="http://schemas.openxmlformats.org/officeDocument/2006/relationships/slideLayout" Target="../slideLayouts/slideLayout2601.xml"/><Relationship Id="rId876" Type="http://schemas.openxmlformats.org/officeDocument/2006/relationships/slideLayout" Target="../slideLayouts/slideLayout2643.xml"/><Relationship Id="rId19" Type="http://schemas.openxmlformats.org/officeDocument/2006/relationships/slideLayout" Target="../slideLayouts/slideLayout1786.xml"/><Relationship Id="rId224" Type="http://schemas.openxmlformats.org/officeDocument/2006/relationships/slideLayout" Target="../slideLayouts/slideLayout1991.xml"/><Relationship Id="rId266" Type="http://schemas.openxmlformats.org/officeDocument/2006/relationships/slideLayout" Target="../slideLayouts/slideLayout2033.xml"/><Relationship Id="rId431" Type="http://schemas.openxmlformats.org/officeDocument/2006/relationships/slideLayout" Target="../slideLayouts/slideLayout2198.xml"/><Relationship Id="rId473" Type="http://schemas.openxmlformats.org/officeDocument/2006/relationships/slideLayout" Target="../slideLayouts/slideLayout2240.xml"/><Relationship Id="rId529" Type="http://schemas.openxmlformats.org/officeDocument/2006/relationships/slideLayout" Target="../slideLayouts/slideLayout2296.xml"/><Relationship Id="rId680" Type="http://schemas.openxmlformats.org/officeDocument/2006/relationships/slideLayout" Target="../slideLayouts/slideLayout2447.xml"/><Relationship Id="rId736" Type="http://schemas.openxmlformats.org/officeDocument/2006/relationships/slideLayout" Target="../slideLayouts/slideLayout2503.xml"/><Relationship Id="rId30" Type="http://schemas.openxmlformats.org/officeDocument/2006/relationships/slideLayout" Target="../slideLayouts/slideLayout1797.xml"/><Relationship Id="rId126" Type="http://schemas.openxmlformats.org/officeDocument/2006/relationships/slideLayout" Target="../slideLayouts/slideLayout1893.xml"/><Relationship Id="rId168" Type="http://schemas.openxmlformats.org/officeDocument/2006/relationships/slideLayout" Target="../slideLayouts/slideLayout1935.xml"/><Relationship Id="rId333" Type="http://schemas.openxmlformats.org/officeDocument/2006/relationships/slideLayout" Target="../slideLayouts/slideLayout2100.xml"/><Relationship Id="rId540" Type="http://schemas.openxmlformats.org/officeDocument/2006/relationships/slideLayout" Target="../slideLayouts/slideLayout2307.xml"/><Relationship Id="rId778" Type="http://schemas.openxmlformats.org/officeDocument/2006/relationships/slideLayout" Target="../slideLayouts/slideLayout2545.xml"/><Relationship Id="rId72" Type="http://schemas.openxmlformats.org/officeDocument/2006/relationships/slideLayout" Target="../slideLayouts/slideLayout1839.xml"/><Relationship Id="rId375" Type="http://schemas.openxmlformats.org/officeDocument/2006/relationships/slideLayout" Target="../slideLayouts/slideLayout2142.xml"/><Relationship Id="rId582" Type="http://schemas.openxmlformats.org/officeDocument/2006/relationships/slideLayout" Target="../slideLayouts/slideLayout2349.xml"/><Relationship Id="rId638" Type="http://schemas.openxmlformats.org/officeDocument/2006/relationships/slideLayout" Target="../slideLayouts/slideLayout2405.xml"/><Relationship Id="rId803" Type="http://schemas.openxmlformats.org/officeDocument/2006/relationships/slideLayout" Target="../slideLayouts/slideLayout2570.xml"/><Relationship Id="rId845" Type="http://schemas.openxmlformats.org/officeDocument/2006/relationships/slideLayout" Target="../slideLayouts/slideLayout2612.xml"/><Relationship Id="rId3" Type="http://schemas.openxmlformats.org/officeDocument/2006/relationships/slideLayout" Target="../slideLayouts/slideLayout1770.xml"/><Relationship Id="rId235" Type="http://schemas.openxmlformats.org/officeDocument/2006/relationships/slideLayout" Target="../slideLayouts/slideLayout2002.xml"/><Relationship Id="rId277" Type="http://schemas.openxmlformats.org/officeDocument/2006/relationships/slideLayout" Target="../slideLayouts/slideLayout2044.xml"/><Relationship Id="rId400" Type="http://schemas.openxmlformats.org/officeDocument/2006/relationships/slideLayout" Target="../slideLayouts/slideLayout2167.xml"/><Relationship Id="rId442" Type="http://schemas.openxmlformats.org/officeDocument/2006/relationships/slideLayout" Target="../slideLayouts/slideLayout2209.xml"/><Relationship Id="rId484" Type="http://schemas.openxmlformats.org/officeDocument/2006/relationships/slideLayout" Target="../slideLayouts/slideLayout2251.xml"/><Relationship Id="rId705" Type="http://schemas.openxmlformats.org/officeDocument/2006/relationships/slideLayout" Target="../slideLayouts/slideLayout2472.xml"/><Relationship Id="rId887" Type="http://schemas.openxmlformats.org/officeDocument/2006/relationships/slideLayout" Target="../slideLayouts/slideLayout2654.xml"/><Relationship Id="rId137" Type="http://schemas.openxmlformats.org/officeDocument/2006/relationships/slideLayout" Target="../slideLayouts/slideLayout1904.xml"/><Relationship Id="rId302" Type="http://schemas.openxmlformats.org/officeDocument/2006/relationships/slideLayout" Target="../slideLayouts/slideLayout2069.xml"/><Relationship Id="rId344" Type="http://schemas.openxmlformats.org/officeDocument/2006/relationships/slideLayout" Target="../slideLayouts/slideLayout2111.xml"/><Relationship Id="rId691" Type="http://schemas.openxmlformats.org/officeDocument/2006/relationships/slideLayout" Target="../slideLayouts/slideLayout2458.xml"/><Relationship Id="rId747" Type="http://schemas.openxmlformats.org/officeDocument/2006/relationships/slideLayout" Target="../slideLayouts/slideLayout2514.xml"/><Relationship Id="rId789" Type="http://schemas.openxmlformats.org/officeDocument/2006/relationships/slideLayout" Target="../slideLayouts/slideLayout2556.xml"/><Relationship Id="rId41" Type="http://schemas.openxmlformats.org/officeDocument/2006/relationships/slideLayout" Target="../slideLayouts/slideLayout1808.xml"/><Relationship Id="rId83" Type="http://schemas.openxmlformats.org/officeDocument/2006/relationships/slideLayout" Target="../slideLayouts/slideLayout1850.xml"/><Relationship Id="rId179" Type="http://schemas.openxmlformats.org/officeDocument/2006/relationships/slideLayout" Target="../slideLayouts/slideLayout1946.xml"/><Relationship Id="rId386" Type="http://schemas.openxmlformats.org/officeDocument/2006/relationships/slideLayout" Target="../slideLayouts/slideLayout2153.xml"/><Relationship Id="rId551" Type="http://schemas.openxmlformats.org/officeDocument/2006/relationships/slideLayout" Target="../slideLayouts/slideLayout2318.xml"/><Relationship Id="rId593" Type="http://schemas.openxmlformats.org/officeDocument/2006/relationships/slideLayout" Target="../slideLayouts/slideLayout2360.xml"/><Relationship Id="rId607" Type="http://schemas.openxmlformats.org/officeDocument/2006/relationships/slideLayout" Target="../slideLayouts/slideLayout2374.xml"/><Relationship Id="rId649" Type="http://schemas.openxmlformats.org/officeDocument/2006/relationships/slideLayout" Target="../slideLayouts/slideLayout2416.xml"/><Relationship Id="rId814" Type="http://schemas.openxmlformats.org/officeDocument/2006/relationships/slideLayout" Target="../slideLayouts/slideLayout2581.xml"/><Relationship Id="rId856" Type="http://schemas.openxmlformats.org/officeDocument/2006/relationships/slideLayout" Target="../slideLayouts/slideLayout2623.xml"/><Relationship Id="rId190" Type="http://schemas.openxmlformats.org/officeDocument/2006/relationships/slideLayout" Target="../slideLayouts/slideLayout1957.xml"/><Relationship Id="rId204" Type="http://schemas.openxmlformats.org/officeDocument/2006/relationships/slideLayout" Target="../slideLayouts/slideLayout1971.xml"/><Relationship Id="rId246" Type="http://schemas.openxmlformats.org/officeDocument/2006/relationships/slideLayout" Target="../slideLayouts/slideLayout2013.xml"/><Relationship Id="rId288" Type="http://schemas.openxmlformats.org/officeDocument/2006/relationships/slideLayout" Target="../slideLayouts/slideLayout2055.xml"/><Relationship Id="rId411" Type="http://schemas.openxmlformats.org/officeDocument/2006/relationships/slideLayout" Target="../slideLayouts/slideLayout2178.xml"/><Relationship Id="rId453" Type="http://schemas.openxmlformats.org/officeDocument/2006/relationships/slideLayout" Target="../slideLayouts/slideLayout2220.xml"/><Relationship Id="rId509" Type="http://schemas.openxmlformats.org/officeDocument/2006/relationships/slideLayout" Target="../slideLayouts/slideLayout2276.xml"/><Relationship Id="rId660" Type="http://schemas.openxmlformats.org/officeDocument/2006/relationships/slideLayout" Target="../slideLayouts/slideLayout2427.xml"/><Relationship Id="rId106" Type="http://schemas.openxmlformats.org/officeDocument/2006/relationships/slideLayout" Target="../slideLayouts/slideLayout1873.xml"/><Relationship Id="rId313" Type="http://schemas.openxmlformats.org/officeDocument/2006/relationships/slideLayout" Target="../slideLayouts/slideLayout2080.xml"/><Relationship Id="rId495" Type="http://schemas.openxmlformats.org/officeDocument/2006/relationships/slideLayout" Target="../slideLayouts/slideLayout2262.xml"/><Relationship Id="rId716" Type="http://schemas.openxmlformats.org/officeDocument/2006/relationships/slideLayout" Target="../slideLayouts/slideLayout2483.xml"/><Relationship Id="rId758" Type="http://schemas.openxmlformats.org/officeDocument/2006/relationships/slideLayout" Target="../slideLayouts/slideLayout2525.xml"/><Relationship Id="rId10" Type="http://schemas.openxmlformats.org/officeDocument/2006/relationships/slideLayout" Target="../slideLayouts/slideLayout1777.xml"/><Relationship Id="rId52" Type="http://schemas.openxmlformats.org/officeDocument/2006/relationships/slideLayout" Target="../slideLayouts/slideLayout1819.xml"/><Relationship Id="rId94" Type="http://schemas.openxmlformats.org/officeDocument/2006/relationships/slideLayout" Target="../slideLayouts/slideLayout1861.xml"/><Relationship Id="rId148" Type="http://schemas.openxmlformats.org/officeDocument/2006/relationships/slideLayout" Target="../slideLayouts/slideLayout1915.xml"/><Relationship Id="rId355" Type="http://schemas.openxmlformats.org/officeDocument/2006/relationships/slideLayout" Target="../slideLayouts/slideLayout2122.xml"/><Relationship Id="rId397" Type="http://schemas.openxmlformats.org/officeDocument/2006/relationships/slideLayout" Target="../slideLayouts/slideLayout2164.xml"/><Relationship Id="rId520" Type="http://schemas.openxmlformats.org/officeDocument/2006/relationships/slideLayout" Target="../slideLayouts/slideLayout2287.xml"/><Relationship Id="rId562" Type="http://schemas.openxmlformats.org/officeDocument/2006/relationships/slideLayout" Target="../slideLayouts/slideLayout2329.xml"/><Relationship Id="rId618" Type="http://schemas.openxmlformats.org/officeDocument/2006/relationships/slideLayout" Target="../slideLayouts/slideLayout2385.xml"/><Relationship Id="rId825" Type="http://schemas.openxmlformats.org/officeDocument/2006/relationships/slideLayout" Target="../slideLayouts/slideLayout2592.xml"/><Relationship Id="rId215" Type="http://schemas.openxmlformats.org/officeDocument/2006/relationships/slideLayout" Target="../slideLayouts/slideLayout1982.xml"/><Relationship Id="rId257" Type="http://schemas.openxmlformats.org/officeDocument/2006/relationships/slideLayout" Target="../slideLayouts/slideLayout2024.xml"/><Relationship Id="rId422" Type="http://schemas.openxmlformats.org/officeDocument/2006/relationships/slideLayout" Target="../slideLayouts/slideLayout2189.xml"/><Relationship Id="rId464" Type="http://schemas.openxmlformats.org/officeDocument/2006/relationships/slideLayout" Target="../slideLayouts/slideLayout2231.xml"/><Relationship Id="rId867" Type="http://schemas.openxmlformats.org/officeDocument/2006/relationships/slideLayout" Target="../slideLayouts/slideLayout2634.xml"/><Relationship Id="rId299" Type="http://schemas.openxmlformats.org/officeDocument/2006/relationships/slideLayout" Target="../slideLayouts/slideLayout2066.xml"/><Relationship Id="rId727" Type="http://schemas.openxmlformats.org/officeDocument/2006/relationships/slideLayout" Target="../slideLayouts/slideLayout2494.xml"/><Relationship Id="rId63" Type="http://schemas.openxmlformats.org/officeDocument/2006/relationships/slideLayout" Target="../slideLayouts/slideLayout1830.xml"/><Relationship Id="rId159" Type="http://schemas.openxmlformats.org/officeDocument/2006/relationships/slideLayout" Target="../slideLayouts/slideLayout1926.xml"/><Relationship Id="rId366" Type="http://schemas.openxmlformats.org/officeDocument/2006/relationships/slideLayout" Target="../slideLayouts/slideLayout2133.xml"/><Relationship Id="rId573" Type="http://schemas.openxmlformats.org/officeDocument/2006/relationships/slideLayout" Target="../slideLayouts/slideLayout2340.xml"/><Relationship Id="rId780" Type="http://schemas.openxmlformats.org/officeDocument/2006/relationships/slideLayout" Target="../slideLayouts/slideLayout2547.xml"/><Relationship Id="rId226" Type="http://schemas.openxmlformats.org/officeDocument/2006/relationships/slideLayout" Target="../slideLayouts/slideLayout1993.xml"/><Relationship Id="rId433" Type="http://schemas.openxmlformats.org/officeDocument/2006/relationships/slideLayout" Target="../slideLayouts/slideLayout2200.xml"/><Relationship Id="rId878" Type="http://schemas.openxmlformats.org/officeDocument/2006/relationships/slideLayout" Target="../slideLayouts/slideLayout2645.xml"/><Relationship Id="rId640" Type="http://schemas.openxmlformats.org/officeDocument/2006/relationships/slideLayout" Target="../slideLayouts/slideLayout2407.xml"/><Relationship Id="rId738" Type="http://schemas.openxmlformats.org/officeDocument/2006/relationships/slideLayout" Target="../slideLayouts/slideLayout2505.xml"/><Relationship Id="rId74" Type="http://schemas.openxmlformats.org/officeDocument/2006/relationships/slideLayout" Target="../slideLayouts/slideLayout1841.xml"/><Relationship Id="rId377" Type="http://schemas.openxmlformats.org/officeDocument/2006/relationships/slideLayout" Target="../slideLayouts/slideLayout2144.xml"/><Relationship Id="rId500" Type="http://schemas.openxmlformats.org/officeDocument/2006/relationships/slideLayout" Target="../slideLayouts/slideLayout2267.xml"/><Relationship Id="rId584" Type="http://schemas.openxmlformats.org/officeDocument/2006/relationships/slideLayout" Target="../slideLayouts/slideLayout2351.xml"/><Relationship Id="rId805" Type="http://schemas.openxmlformats.org/officeDocument/2006/relationships/slideLayout" Target="../slideLayouts/slideLayout2572.xml"/><Relationship Id="rId5" Type="http://schemas.openxmlformats.org/officeDocument/2006/relationships/slideLayout" Target="../slideLayouts/slideLayout1772.xml"/><Relationship Id="rId237" Type="http://schemas.openxmlformats.org/officeDocument/2006/relationships/slideLayout" Target="../slideLayouts/slideLayout2004.xml"/><Relationship Id="rId791" Type="http://schemas.openxmlformats.org/officeDocument/2006/relationships/slideLayout" Target="../slideLayouts/slideLayout2558.xml"/><Relationship Id="rId889" Type="http://schemas.openxmlformats.org/officeDocument/2006/relationships/slideLayout" Target="../slideLayouts/slideLayout2656.xml"/><Relationship Id="rId444" Type="http://schemas.openxmlformats.org/officeDocument/2006/relationships/slideLayout" Target="../slideLayouts/slideLayout2211.xml"/><Relationship Id="rId651" Type="http://schemas.openxmlformats.org/officeDocument/2006/relationships/slideLayout" Target="../slideLayouts/slideLayout2418.xml"/><Relationship Id="rId749" Type="http://schemas.openxmlformats.org/officeDocument/2006/relationships/slideLayout" Target="../slideLayouts/slideLayout2516.xml"/><Relationship Id="rId290" Type="http://schemas.openxmlformats.org/officeDocument/2006/relationships/slideLayout" Target="../slideLayouts/slideLayout2057.xml"/><Relationship Id="rId304" Type="http://schemas.openxmlformats.org/officeDocument/2006/relationships/slideLayout" Target="../slideLayouts/slideLayout2071.xml"/><Relationship Id="rId388" Type="http://schemas.openxmlformats.org/officeDocument/2006/relationships/slideLayout" Target="../slideLayouts/slideLayout2155.xml"/><Relationship Id="rId511" Type="http://schemas.openxmlformats.org/officeDocument/2006/relationships/slideLayout" Target="../slideLayouts/slideLayout2278.xml"/><Relationship Id="rId609" Type="http://schemas.openxmlformats.org/officeDocument/2006/relationships/slideLayout" Target="../slideLayouts/slideLayout2376.xml"/><Relationship Id="rId85" Type="http://schemas.openxmlformats.org/officeDocument/2006/relationships/slideLayout" Target="../slideLayouts/slideLayout1852.xml"/><Relationship Id="rId150" Type="http://schemas.openxmlformats.org/officeDocument/2006/relationships/slideLayout" Target="../slideLayouts/slideLayout1917.xml"/><Relationship Id="rId595" Type="http://schemas.openxmlformats.org/officeDocument/2006/relationships/slideLayout" Target="../slideLayouts/slideLayout2362.xml"/><Relationship Id="rId816" Type="http://schemas.openxmlformats.org/officeDocument/2006/relationships/slideLayout" Target="../slideLayouts/slideLayout2583.xml"/><Relationship Id="rId248" Type="http://schemas.openxmlformats.org/officeDocument/2006/relationships/slideLayout" Target="../slideLayouts/slideLayout2015.xml"/><Relationship Id="rId455" Type="http://schemas.openxmlformats.org/officeDocument/2006/relationships/slideLayout" Target="../slideLayouts/slideLayout2222.xml"/><Relationship Id="rId662" Type="http://schemas.openxmlformats.org/officeDocument/2006/relationships/slideLayout" Target="../slideLayouts/slideLayout2429.xml"/><Relationship Id="rId12" Type="http://schemas.openxmlformats.org/officeDocument/2006/relationships/slideLayout" Target="../slideLayouts/slideLayout1779.xml"/><Relationship Id="rId108" Type="http://schemas.openxmlformats.org/officeDocument/2006/relationships/slideLayout" Target="../slideLayouts/slideLayout1875.xml"/><Relationship Id="rId315" Type="http://schemas.openxmlformats.org/officeDocument/2006/relationships/slideLayout" Target="../slideLayouts/slideLayout2082.xml"/><Relationship Id="rId522" Type="http://schemas.openxmlformats.org/officeDocument/2006/relationships/slideLayout" Target="../slideLayouts/slideLayout2289.xml"/><Relationship Id="rId96" Type="http://schemas.openxmlformats.org/officeDocument/2006/relationships/slideLayout" Target="../slideLayouts/slideLayout1863.xml"/><Relationship Id="rId161" Type="http://schemas.openxmlformats.org/officeDocument/2006/relationships/slideLayout" Target="../slideLayouts/slideLayout1928.xml"/><Relationship Id="rId399" Type="http://schemas.openxmlformats.org/officeDocument/2006/relationships/slideLayout" Target="../slideLayouts/slideLayout2166.xml"/><Relationship Id="rId827" Type="http://schemas.openxmlformats.org/officeDocument/2006/relationships/slideLayout" Target="../slideLayouts/slideLayout2594.xml"/><Relationship Id="rId259" Type="http://schemas.openxmlformats.org/officeDocument/2006/relationships/slideLayout" Target="../slideLayouts/slideLayout2026.xml"/><Relationship Id="rId466" Type="http://schemas.openxmlformats.org/officeDocument/2006/relationships/slideLayout" Target="../slideLayouts/slideLayout2233.xml"/><Relationship Id="rId673" Type="http://schemas.openxmlformats.org/officeDocument/2006/relationships/slideLayout" Target="../slideLayouts/slideLayout2440.xml"/><Relationship Id="rId880" Type="http://schemas.openxmlformats.org/officeDocument/2006/relationships/slideLayout" Target="../slideLayouts/slideLayout2647.xml"/><Relationship Id="rId23" Type="http://schemas.openxmlformats.org/officeDocument/2006/relationships/slideLayout" Target="../slideLayouts/slideLayout1790.xml"/><Relationship Id="rId119" Type="http://schemas.openxmlformats.org/officeDocument/2006/relationships/slideLayout" Target="../slideLayouts/slideLayout1886.xml"/><Relationship Id="rId326" Type="http://schemas.openxmlformats.org/officeDocument/2006/relationships/slideLayout" Target="../slideLayouts/slideLayout2093.xml"/><Relationship Id="rId533" Type="http://schemas.openxmlformats.org/officeDocument/2006/relationships/slideLayout" Target="../slideLayouts/slideLayout2300.xml"/><Relationship Id="rId740" Type="http://schemas.openxmlformats.org/officeDocument/2006/relationships/slideLayout" Target="../slideLayouts/slideLayout2507.xml"/><Relationship Id="rId838" Type="http://schemas.openxmlformats.org/officeDocument/2006/relationships/slideLayout" Target="../slideLayouts/slideLayout2605.xml"/><Relationship Id="rId172" Type="http://schemas.openxmlformats.org/officeDocument/2006/relationships/slideLayout" Target="../slideLayouts/slideLayout1939.xml"/><Relationship Id="rId477" Type="http://schemas.openxmlformats.org/officeDocument/2006/relationships/slideLayout" Target="../slideLayouts/slideLayout2244.xml"/><Relationship Id="rId600" Type="http://schemas.openxmlformats.org/officeDocument/2006/relationships/slideLayout" Target="../slideLayouts/slideLayout2367.xml"/><Relationship Id="rId684" Type="http://schemas.openxmlformats.org/officeDocument/2006/relationships/slideLayout" Target="../slideLayouts/slideLayout2451.xml"/><Relationship Id="rId337" Type="http://schemas.openxmlformats.org/officeDocument/2006/relationships/slideLayout" Target="../slideLayouts/slideLayout2104.xml"/><Relationship Id="rId891" Type="http://schemas.openxmlformats.org/officeDocument/2006/relationships/slideLayout" Target="../slideLayouts/slideLayout2658.xml"/><Relationship Id="rId34" Type="http://schemas.openxmlformats.org/officeDocument/2006/relationships/slideLayout" Target="../slideLayouts/slideLayout1801.xml"/><Relationship Id="rId544" Type="http://schemas.openxmlformats.org/officeDocument/2006/relationships/slideLayout" Target="../slideLayouts/slideLayout2311.xml"/><Relationship Id="rId751" Type="http://schemas.openxmlformats.org/officeDocument/2006/relationships/slideLayout" Target="../slideLayouts/slideLayout2518.xml"/><Relationship Id="rId849" Type="http://schemas.openxmlformats.org/officeDocument/2006/relationships/slideLayout" Target="../slideLayouts/slideLayout2616.xml"/><Relationship Id="rId183" Type="http://schemas.openxmlformats.org/officeDocument/2006/relationships/slideLayout" Target="../slideLayouts/slideLayout1950.xml"/><Relationship Id="rId390" Type="http://schemas.openxmlformats.org/officeDocument/2006/relationships/slideLayout" Target="../slideLayouts/slideLayout2157.xml"/><Relationship Id="rId404" Type="http://schemas.openxmlformats.org/officeDocument/2006/relationships/slideLayout" Target="../slideLayouts/slideLayout2171.xml"/><Relationship Id="rId611" Type="http://schemas.openxmlformats.org/officeDocument/2006/relationships/slideLayout" Target="../slideLayouts/slideLayout2378.xml"/><Relationship Id="rId250" Type="http://schemas.openxmlformats.org/officeDocument/2006/relationships/slideLayout" Target="../slideLayouts/slideLayout2017.xml"/><Relationship Id="rId488" Type="http://schemas.openxmlformats.org/officeDocument/2006/relationships/slideLayout" Target="../slideLayouts/slideLayout2255.xml"/><Relationship Id="rId695" Type="http://schemas.openxmlformats.org/officeDocument/2006/relationships/slideLayout" Target="../slideLayouts/slideLayout2462.xml"/><Relationship Id="rId709" Type="http://schemas.openxmlformats.org/officeDocument/2006/relationships/slideLayout" Target="../slideLayouts/slideLayout2476.xml"/><Relationship Id="rId45" Type="http://schemas.openxmlformats.org/officeDocument/2006/relationships/slideLayout" Target="../slideLayouts/slideLayout1812.xml"/><Relationship Id="rId110" Type="http://schemas.openxmlformats.org/officeDocument/2006/relationships/slideLayout" Target="../slideLayouts/slideLayout1877.xml"/><Relationship Id="rId348" Type="http://schemas.openxmlformats.org/officeDocument/2006/relationships/slideLayout" Target="../slideLayouts/slideLayout2115.xml"/><Relationship Id="rId555" Type="http://schemas.openxmlformats.org/officeDocument/2006/relationships/slideLayout" Target="../slideLayouts/slideLayout2322.xml"/><Relationship Id="rId762" Type="http://schemas.openxmlformats.org/officeDocument/2006/relationships/slideLayout" Target="../slideLayouts/slideLayout2529.xml"/><Relationship Id="rId194" Type="http://schemas.openxmlformats.org/officeDocument/2006/relationships/slideLayout" Target="../slideLayouts/slideLayout1961.xml"/><Relationship Id="rId208" Type="http://schemas.openxmlformats.org/officeDocument/2006/relationships/slideLayout" Target="../slideLayouts/slideLayout1975.xml"/><Relationship Id="rId415" Type="http://schemas.openxmlformats.org/officeDocument/2006/relationships/slideLayout" Target="../slideLayouts/slideLayout2182.xml"/><Relationship Id="rId622" Type="http://schemas.openxmlformats.org/officeDocument/2006/relationships/slideLayout" Target="../slideLayouts/slideLayout2389.xml"/><Relationship Id="rId261" Type="http://schemas.openxmlformats.org/officeDocument/2006/relationships/slideLayout" Target="../slideLayouts/slideLayout2028.xml"/><Relationship Id="rId499" Type="http://schemas.openxmlformats.org/officeDocument/2006/relationships/slideLayout" Target="../slideLayouts/slideLayout2266.xml"/><Relationship Id="rId56" Type="http://schemas.openxmlformats.org/officeDocument/2006/relationships/slideLayout" Target="../slideLayouts/slideLayout1823.xml"/><Relationship Id="rId359" Type="http://schemas.openxmlformats.org/officeDocument/2006/relationships/slideLayout" Target="../slideLayouts/slideLayout2126.xml"/><Relationship Id="rId566" Type="http://schemas.openxmlformats.org/officeDocument/2006/relationships/slideLayout" Target="../slideLayouts/slideLayout2333.xml"/><Relationship Id="rId773" Type="http://schemas.openxmlformats.org/officeDocument/2006/relationships/slideLayout" Target="../slideLayouts/slideLayout2540.xml"/><Relationship Id="rId121" Type="http://schemas.openxmlformats.org/officeDocument/2006/relationships/slideLayout" Target="../slideLayouts/slideLayout1888.xml"/><Relationship Id="rId219" Type="http://schemas.openxmlformats.org/officeDocument/2006/relationships/slideLayout" Target="../slideLayouts/slideLayout1986.xml"/><Relationship Id="rId426" Type="http://schemas.openxmlformats.org/officeDocument/2006/relationships/slideLayout" Target="../slideLayouts/slideLayout2193.xml"/><Relationship Id="rId633" Type="http://schemas.openxmlformats.org/officeDocument/2006/relationships/slideLayout" Target="../slideLayouts/slideLayout2400.xml"/><Relationship Id="rId840" Type="http://schemas.openxmlformats.org/officeDocument/2006/relationships/slideLayout" Target="../slideLayouts/slideLayout2607.xml"/><Relationship Id="rId67" Type="http://schemas.openxmlformats.org/officeDocument/2006/relationships/slideLayout" Target="../slideLayouts/slideLayout1834.xml"/><Relationship Id="rId272" Type="http://schemas.openxmlformats.org/officeDocument/2006/relationships/slideLayout" Target="../slideLayouts/slideLayout2039.xml"/><Relationship Id="rId577" Type="http://schemas.openxmlformats.org/officeDocument/2006/relationships/slideLayout" Target="../slideLayouts/slideLayout2344.xml"/><Relationship Id="rId700" Type="http://schemas.openxmlformats.org/officeDocument/2006/relationships/slideLayout" Target="../slideLayouts/slideLayout2467.xml"/><Relationship Id="rId132" Type="http://schemas.openxmlformats.org/officeDocument/2006/relationships/slideLayout" Target="../slideLayouts/slideLayout1899.xml"/><Relationship Id="rId784" Type="http://schemas.openxmlformats.org/officeDocument/2006/relationships/slideLayout" Target="../slideLayouts/slideLayout2551.xml"/><Relationship Id="rId437" Type="http://schemas.openxmlformats.org/officeDocument/2006/relationships/slideLayout" Target="../slideLayouts/slideLayout2204.xml"/><Relationship Id="rId644" Type="http://schemas.openxmlformats.org/officeDocument/2006/relationships/slideLayout" Target="../slideLayouts/slideLayout2411.xml"/><Relationship Id="rId851" Type="http://schemas.openxmlformats.org/officeDocument/2006/relationships/slideLayout" Target="../slideLayouts/slideLayout2618.xml"/><Relationship Id="rId283" Type="http://schemas.openxmlformats.org/officeDocument/2006/relationships/slideLayout" Target="../slideLayouts/slideLayout2050.xml"/><Relationship Id="rId490" Type="http://schemas.openxmlformats.org/officeDocument/2006/relationships/slideLayout" Target="../slideLayouts/slideLayout2257.xml"/><Relationship Id="rId504" Type="http://schemas.openxmlformats.org/officeDocument/2006/relationships/slideLayout" Target="../slideLayouts/slideLayout2271.xml"/><Relationship Id="rId711" Type="http://schemas.openxmlformats.org/officeDocument/2006/relationships/slideLayout" Target="../slideLayouts/slideLayout2478.xml"/><Relationship Id="rId78" Type="http://schemas.openxmlformats.org/officeDocument/2006/relationships/slideLayout" Target="../slideLayouts/slideLayout1845.xml"/><Relationship Id="rId143" Type="http://schemas.openxmlformats.org/officeDocument/2006/relationships/slideLayout" Target="../slideLayouts/slideLayout1910.xml"/><Relationship Id="rId350" Type="http://schemas.openxmlformats.org/officeDocument/2006/relationships/slideLayout" Target="../slideLayouts/slideLayout2117.xml"/><Relationship Id="rId588" Type="http://schemas.openxmlformats.org/officeDocument/2006/relationships/slideLayout" Target="../slideLayouts/slideLayout2355.xml"/><Relationship Id="rId795" Type="http://schemas.openxmlformats.org/officeDocument/2006/relationships/slideLayout" Target="../slideLayouts/slideLayout2562.xml"/><Relationship Id="rId809" Type="http://schemas.openxmlformats.org/officeDocument/2006/relationships/slideLayout" Target="../slideLayouts/slideLayout2576.xml"/><Relationship Id="rId9" Type="http://schemas.openxmlformats.org/officeDocument/2006/relationships/slideLayout" Target="../slideLayouts/slideLayout1776.xml"/><Relationship Id="rId210" Type="http://schemas.openxmlformats.org/officeDocument/2006/relationships/slideLayout" Target="../slideLayouts/slideLayout1977.xml"/><Relationship Id="rId448" Type="http://schemas.openxmlformats.org/officeDocument/2006/relationships/slideLayout" Target="../slideLayouts/slideLayout2215.xml"/><Relationship Id="rId655" Type="http://schemas.openxmlformats.org/officeDocument/2006/relationships/slideLayout" Target="../slideLayouts/slideLayout2422.xml"/><Relationship Id="rId862" Type="http://schemas.openxmlformats.org/officeDocument/2006/relationships/slideLayout" Target="../slideLayouts/slideLayout2629.xml"/><Relationship Id="rId294" Type="http://schemas.openxmlformats.org/officeDocument/2006/relationships/slideLayout" Target="../slideLayouts/slideLayout2061.xml"/><Relationship Id="rId308" Type="http://schemas.openxmlformats.org/officeDocument/2006/relationships/slideLayout" Target="../slideLayouts/slideLayout2075.xml"/><Relationship Id="rId515" Type="http://schemas.openxmlformats.org/officeDocument/2006/relationships/slideLayout" Target="../slideLayouts/slideLayout2282.xml"/><Relationship Id="rId722" Type="http://schemas.openxmlformats.org/officeDocument/2006/relationships/slideLayout" Target="../slideLayouts/slideLayout2489.xml"/><Relationship Id="rId89" Type="http://schemas.openxmlformats.org/officeDocument/2006/relationships/slideLayout" Target="../slideLayouts/slideLayout1856.xml"/><Relationship Id="rId154" Type="http://schemas.openxmlformats.org/officeDocument/2006/relationships/slideLayout" Target="../slideLayouts/slideLayout1921.xml"/><Relationship Id="rId361" Type="http://schemas.openxmlformats.org/officeDocument/2006/relationships/slideLayout" Target="../slideLayouts/slideLayout2128.xml"/><Relationship Id="rId599" Type="http://schemas.openxmlformats.org/officeDocument/2006/relationships/slideLayout" Target="../slideLayouts/slideLayout2366.xml"/><Relationship Id="rId459" Type="http://schemas.openxmlformats.org/officeDocument/2006/relationships/slideLayout" Target="../slideLayouts/slideLayout2226.xml"/><Relationship Id="rId666" Type="http://schemas.openxmlformats.org/officeDocument/2006/relationships/slideLayout" Target="../slideLayouts/slideLayout2433.xml"/><Relationship Id="rId873" Type="http://schemas.openxmlformats.org/officeDocument/2006/relationships/slideLayout" Target="../slideLayouts/slideLayout2640.xml"/><Relationship Id="rId16" Type="http://schemas.openxmlformats.org/officeDocument/2006/relationships/slideLayout" Target="../slideLayouts/slideLayout1783.xml"/><Relationship Id="rId221" Type="http://schemas.openxmlformats.org/officeDocument/2006/relationships/slideLayout" Target="../slideLayouts/slideLayout1988.xml"/><Relationship Id="rId319" Type="http://schemas.openxmlformats.org/officeDocument/2006/relationships/slideLayout" Target="../slideLayouts/slideLayout2086.xml"/><Relationship Id="rId526" Type="http://schemas.openxmlformats.org/officeDocument/2006/relationships/slideLayout" Target="../slideLayouts/slideLayout2293.xml"/><Relationship Id="rId733" Type="http://schemas.openxmlformats.org/officeDocument/2006/relationships/slideLayout" Target="../slideLayouts/slideLayout2500.xml"/><Relationship Id="rId165" Type="http://schemas.openxmlformats.org/officeDocument/2006/relationships/slideLayout" Target="../slideLayouts/slideLayout1932.xml"/><Relationship Id="rId372" Type="http://schemas.openxmlformats.org/officeDocument/2006/relationships/slideLayout" Target="../slideLayouts/slideLayout2139.xml"/><Relationship Id="rId677" Type="http://schemas.openxmlformats.org/officeDocument/2006/relationships/slideLayout" Target="../slideLayouts/slideLayout2444.xml"/><Relationship Id="rId800" Type="http://schemas.openxmlformats.org/officeDocument/2006/relationships/slideLayout" Target="../slideLayouts/slideLayout2567.xml"/><Relationship Id="rId232" Type="http://schemas.openxmlformats.org/officeDocument/2006/relationships/slideLayout" Target="../slideLayouts/slideLayout1999.xml"/><Relationship Id="rId884" Type="http://schemas.openxmlformats.org/officeDocument/2006/relationships/slideLayout" Target="../slideLayouts/slideLayout2651.xml"/><Relationship Id="rId27" Type="http://schemas.openxmlformats.org/officeDocument/2006/relationships/slideLayout" Target="../slideLayouts/slideLayout1794.xml"/><Relationship Id="rId537" Type="http://schemas.openxmlformats.org/officeDocument/2006/relationships/slideLayout" Target="../slideLayouts/slideLayout2304.xml"/><Relationship Id="rId744" Type="http://schemas.openxmlformats.org/officeDocument/2006/relationships/slideLayout" Target="../slideLayouts/slideLayout2511.xml"/><Relationship Id="rId80" Type="http://schemas.openxmlformats.org/officeDocument/2006/relationships/slideLayout" Target="../slideLayouts/slideLayout1847.xml"/><Relationship Id="rId176" Type="http://schemas.openxmlformats.org/officeDocument/2006/relationships/slideLayout" Target="../slideLayouts/slideLayout1943.xml"/><Relationship Id="rId383" Type="http://schemas.openxmlformats.org/officeDocument/2006/relationships/slideLayout" Target="../slideLayouts/slideLayout2150.xml"/><Relationship Id="rId590" Type="http://schemas.openxmlformats.org/officeDocument/2006/relationships/slideLayout" Target="../slideLayouts/slideLayout2357.xml"/><Relationship Id="rId604" Type="http://schemas.openxmlformats.org/officeDocument/2006/relationships/slideLayout" Target="../slideLayouts/slideLayout2371.xml"/><Relationship Id="rId811" Type="http://schemas.openxmlformats.org/officeDocument/2006/relationships/slideLayout" Target="../slideLayouts/slideLayout2578.xml"/><Relationship Id="rId243" Type="http://schemas.openxmlformats.org/officeDocument/2006/relationships/slideLayout" Target="../slideLayouts/slideLayout2010.xml"/><Relationship Id="rId450" Type="http://schemas.openxmlformats.org/officeDocument/2006/relationships/slideLayout" Target="../slideLayouts/slideLayout2217.xml"/><Relationship Id="rId688" Type="http://schemas.openxmlformats.org/officeDocument/2006/relationships/slideLayout" Target="../slideLayouts/slideLayout2455.xml"/><Relationship Id="rId38" Type="http://schemas.openxmlformats.org/officeDocument/2006/relationships/slideLayout" Target="../slideLayouts/slideLayout1805.xml"/><Relationship Id="rId103" Type="http://schemas.openxmlformats.org/officeDocument/2006/relationships/slideLayout" Target="../slideLayouts/slideLayout1870.xml"/><Relationship Id="rId310" Type="http://schemas.openxmlformats.org/officeDocument/2006/relationships/slideLayout" Target="../slideLayouts/slideLayout2077.xml"/><Relationship Id="rId548" Type="http://schemas.openxmlformats.org/officeDocument/2006/relationships/slideLayout" Target="../slideLayouts/slideLayout2315.xml"/><Relationship Id="rId755" Type="http://schemas.openxmlformats.org/officeDocument/2006/relationships/slideLayout" Target="../slideLayouts/slideLayout2522.xml"/><Relationship Id="rId91" Type="http://schemas.openxmlformats.org/officeDocument/2006/relationships/slideLayout" Target="../slideLayouts/slideLayout1858.xml"/><Relationship Id="rId187" Type="http://schemas.openxmlformats.org/officeDocument/2006/relationships/slideLayout" Target="../slideLayouts/slideLayout1954.xml"/><Relationship Id="rId394" Type="http://schemas.openxmlformats.org/officeDocument/2006/relationships/slideLayout" Target="../slideLayouts/slideLayout2161.xml"/><Relationship Id="rId408" Type="http://schemas.openxmlformats.org/officeDocument/2006/relationships/slideLayout" Target="../slideLayouts/slideLayout2175.xml"/><Relationship Id="rId615" Type="http://schemas.openxmlformats.org/officeDocument/2006/relationships/slideLayout" Target="../slideLayouts/slideLayout2382.xml"/><Relationship Id="rId822" Type="http://schemas.openxmlformats.org/officeDocument/2006/relationships/slideLayout" Target="../slideLayouts/slideLayout2589.xml"/><Relationship Id="rId254" Type="http://schemas.openxmlformats.org/officeDocument/2006/relationships/slideLayout" Target="../slideLayouts/slideLayout2021.xml"/><Relationship Id="rId699" Type="http://schemas.openxmlformats.org/officeDocument/2006/relationships/slideLayout" Target="../slideLayouts/slideLayout2466.xml"/><Relationship Id="rId49" Type="http://schemas.openxmlformats.org/officeDocument/2006/relationships/slideLayout" Target="../slideLayouts/slideLayout1816.xml"/><Relationship Id="rId114" Type="http://schemas.openxmlformats.org/officeDocument/2006/relationships/slideLayout" Target="../slideLayouts/slideLayout1881.xml"/><Relationship Id="rId461" Type="http://schemas.openxmlformats.org/officeDocument/2006/relationships/slideLayout" Target="../slideLayouts/slideLayout2228.xml"/><Relationship Id="rId559" Type="http://schemas.openxmlformats.org/officeDocument/2006/relationships/slideLayout" Target="../slideLayouts/slideLayout2326.xml"/><Relationship Id="rId766" Type="http://schemas.openxmlformats.org/officeDocument/2006/relationships/slideLayout" Target="../slideLayouts/slideLayout2533.xml"/><Relationship Id="rId198" Type="http://schemas.openxmlformats.org/officeDocument/2006/relationships/slideLayout" Target="../slideLayouts/slideLayout1965.xml"/><Relationship Id="rId321" Type="http://schemas.openxmlformats.org/officeDocument/2006/relationships/slideLayout" Target="../slideLayouts/slideLayout2088.xml"/><Relationship Id="rId419" Type="http://schemas.openxmlformats.org/officeDocument/2006/relationships/slideLayout" Target="../slideLayouts/slideLayout2186.xml"/><Relationship Id="rId626" Type="http://schemas.openxmlformats.org/officeDocument/2006/relationships/slideLayout" Target="../slideLayouts/slideLayout2393.xml"/><Relationship Id="rId833" Type="http://schemas.openxmlformats.org/officeDocument/2006/relationships/slideLayout" Target="../slideLayouts/slideLayout2600.xml"/><Relationship Id="rId265" Type="http://schemas.openxmlformats.org/officeDocument/2006/relationships/slideLayout" Target="../slideLayouts/slideLayout2032.xml"/><Relationship Id="rId472" Type="http://schemas.openxmlformats.org/officeDocument/2006/relationships/slideLayout" Target="../slideLayouts/slideLayout2239.xml"/><Relationship Id="rId125" Type="http://schemas.openxmlformats.org/officeDocument/2006/relationships/slideLayout" Target="../slideLayouts/slideLayout1892.xml"/><Relationship Id="rId332" Type="http://schemas.openxmlformats.org/officeDocument/2006/relationships/slideLayout" Target="../slideLayouts/slideLayout2099.xml"/><Relationship Id="rId777" Type="http://schemas.openxmlformats.org/officeDocument/2006/relationships/slideLayout" Target="../slideLayouts/slideLayout2544.xml"/><Relationship Id="rId637" Type="http://schemas.openxmlformats.org/officeDocument/2006/relationships/slideLayout" Target="../slideLayouts/slideLayout2404.xml"/><Relationship Id="rId844" Type="http://schemas.openxmlformats.org/officeDocument/2006/relationships/slideLayout" Target="../slideLayouts/slideLayout2611.xml"/><Relationship Id="rId276" Type="http://schemas.openxmlformats.org/officeDocument/2006/relationships/slideLayout" Target="../slideLayouts/slideLayout2043.xml"/><Relationship Id="rId483" Type="http://schemas.openxmlformats.org/officeDocument/2006/relationships/slideLayout" Target="../slideLayouts/slideLayout2250.xml"/><Relationship Id="rId690" Type="http://schemas.openxmlformats.org/officeDocument/2006/relationships/slideLayout" Target="../slideLayouts/slideLayout2457.xml"/><Relationship Id="rId704" Type="http://schemas.openxmlformats.org/officeDocument/2006/relationships/slideLayout" Target="../slideLayouts/slideLayout2471.xml"/><Relationship Id="rId40" Type="http://schemas.openxmlformats.org/officeDocument/2006/relationships/slideLayout" Target="../slideLayouts/slideLayout1807.xml"/><Relationship Id="rId136" Type="http://schemas.openxmlformats.org/officeDocument/2006/relationships/slideLayout" Target="../slideLayouts/slideLayout1903.xml"/><Relationship Id="rId343" Type="http://schemas.openxmlformats.org/officeDocument/2006/relationships/slideLayout" Target="../slideLayouts/slideLayout2110.xml"/><Relationship Id="rId550" Type="http://schemas.openxmlformats.org/officeDocument/2006/relationships/slideLayout" Target="../slideLayouts/slideLayout2317.xml"/><Relationship Id="rId788" Type="http://schemas.openxmlformats.org/officeDocument/2006/relationships/slideLayout" Target="../slideLayouts/slideLayout2555.xml"/><Relationship Id="rId203" Type="http://schemas.openxmlformats.org/officeDocument/2006/relationships/slideLayout" Target="../slideLayouts/slideLayout1970.xml"/><Relationship Id="rId648" Type="http://schemas.openxmlformats.org/officeDocument/2006/relationships/slideLayout" Target="../slideLayouts/slideLayout2415.xml"/><Relationship Id="rId855" Type="http://schemas.openxmlformats.org/officeDocument/2006/relationships/slideLayout" Target="../slideLayouts/slideLayout2622.xml"/><Relationship Id="rId287" Type="http://schemas.openxmlformats.org/officeDocument/2006/relationships/slideLayout" Target="../slideLayouts/slideLayout2054.xml"/><Relationship Id="rId410" Type="http://schemas.openxmlformats.org/officeDocument/2006/relationships/slideLayout" Target="../slideLayouts/slideLayout2177.xml"/><Relationship Id="rId494" Type="http://schemas.openxmlformats.org/officeDocument/2006/relationships/slideLayout" Target="../slideLayouts/slideLayout2261.xml"/><Relationship Id="rId508" Type="http://schemas.openxmlformats.org/officeDocument/2006/relationships/slideLayout" Target="../slideLayouts/slideLayout2275.xml"/><Relationship Id="rId715" Type="http://schemas.openxmlformats.org/officeDocument/2006/relationships/slideLayout" Target="../slideLayouts/slideLayout2482.xml"/><Relationship Id="rId147" Type="http://schemas.openxmlformats.org/officeDocument/2006/relationships/slideLayout" Target="../slideLayouts/slideLayout1914.xml"/><Relationship Id="rId354" Type="http://schemas.openxmlformats.org/officeDocument/2006/relationships/slideLayout" Target="../slideLayouts/slideLayout2121.xml"/><Relationship Id="rId799" Type="http://schemas.openxmlformats.org/officeDocument/2006/relationships/slideLayout" Target="../slideLayouts/slideLayout2566.xml"/><Relationship Id="rId51" Type="http://schemas.openxmlformats.org/officeDocument/2006/relationships/slideLayout" Target="../slideLayouts/slideLayout1818.xml"/><Relationship Id="rId561" Type="http://schemas.openxmlformats.org/officeDocument/2006/relationships/slideLayout" Target="../slideLayouts/slideLayout2328.xml"/><Relationship Id="rId659" Type="http://schemas.openxmlformats.org/officeDocument/2006/relationships/slideLayout" Target="../slideLayouts/slideLayout2426.xml"/><Relationship Id="rId866" Type="http://schemas.openxmlformats.org/officeDocument/2006/relationships/slideLayout" Target="../slideLayouts/slideLayout2633.xml"/><Relationship Id="rId214" Type="http://schemas.openxmlformats.org/officeDocument/2006/relationships/slideLayout" Target="../slideLayouts/slideLayout1981.xml"/><Relationship Id="rId298" Type="http://schemas.openxmlformats.org/officeDocument/2006/relationships/slideLayout" Target="../slideLayouts/slideLayout2065.xml"/><Relationship Id="rId421" Type="http://schemas.openxmlformats.org/officeDocument/2006/relationships/slideLayout" Target="../slideLayouts/slideLayout2188.xml"/><Relationship Id="rId519" Type="http://schemas.openxmlformats.org/officeDocument/2006/relationships/slideLayout" Target="../slideLayouts/slideLayout2286.xml"/><Relationship Id="rId158" Type="http://schemas.openxmlformats.org/officeDocument/2006/relationships/slideLayout" Target="../slideLayouts/slideLayout1925.xml"/><Relationship Id="rId726" Type="http://schemas.openxmlformats.org/officeDocument/2006/relationships/slideLayout" Target="../slideLayouts/slideLayout2493.xml"/><Relationship Id="rId62" Type="http://schemas.openxmlformats.org/officeDocument/2006/relationships/slideLayout" Target="../slideLayouts/slideLayout1829.xml"/><Relationship Id="rId365" Type="http://schemas.openxmlformats.org/officeDocument/2006/relationships/slideLayout" Target="../slideLayouts/slideLayout2132.xml"/><Relationship Id="rId572" Type="http://schemas.openxmlformats.org/officeDocument/2006/relationships/slideLayout" Target="../slideLayouts/slideLayout2339.xml"/><Relationship Id="rId225" Type="http://schemas.openxmlformats.org/officeDocument/2006/relationships/slideLayout" Target="../slideLayouts/slideLayout1992.xml"/><Relationship Id="rId432" Type="http://schemas.openxmlformats.org/officeDocument/2006/relationships/slideLayout" Target="../slideLayouts/slideLayout2199.xml"/><Relationship Id="rId877" Type="http://schemas.openxmlformats.org/officeDocument/2006/relationships/slideLayout" Target="../slideLayouts/slideLayout2644.xml"/><Relationship Id="rId737" Type="http://schemas.openxmlformats.org/officeDocument/2006/relationships/slideLayout" Target="../slideLayouts/slideLayout2504.xml"/><Relationship Id="rId73" Type="http://schemas.openxmlformats.org/officeDocument/2006/relationships/slideLayout" Target="../slideLayouts/slideLayout1840.xml"/><Relationship Id="rId169" Type="http://schemas.openxmlformats.org/officeDocument/2006/relationships/slideLayout" Target="../slideLayouts/slideLayout1936.xml"/><Relationship Id="rId376" Type="http://schemas.openxmlformats.org/officeDocument/2006/relationships/slideLayout" Target="../slideLayouts/slideLayout2143.xml"/><Relationship Id="rId583" Type="http://schemas.openxmlformats.org/officeDocument/2006/relationships/slideLayout" Target="../slideLayouts/slideLayout2350.xml"/><Relationship Id="rId790" Type="http://schemas.openxmlformats.org/officeDocument/2006/relationships/slideLayout" Target="../slideLayouts/slideLayout2557.xml"/><Relationship Id="rId804" Type="http://schemas.openxmlformats.org/officeDocument/2006/relationships/slideLayout" Target="../slideLayouts/slideLayout2571.xml"/><Relationship Id="rId4" Type="http://schemas.openxmlformats.org/officeDocument/2006/relationships/slideLayout" Target="../slideLayouts/slideLayout1771.xml"/><Relationship Id="rId236" Type="http://schemas.openxmlformats.org/officeDocument/2006/relationships/slideLayout" Target="../slideLayouts/slideLayout2003.xml"/><Relationship Id="rId443" Type="http://schemas.openxmlformats.org/officeDocument/2006/relationships/slideLayout" Target="../slideLayouts/slideLayout2210.xml"/><Relationship Id="rId650" Type="http://schemas.openxmlformats.org/officeDocument/2006/relationships/slideLayout" Target="../slideLayouts/slideLayout2417.xml"/><Relationship Id="rId888" Type="http://schemas.openxmlformats.org/officeDocument/2006/relationships/slideLayout" Target="../slideLayouts/slideLayout2655.xml"/><Relationship Id="rId303" Type="http://schemas.openxmlformats.org/officeDocument/2006/relationships/slideLayout" Target="../slideLayouts/slideLayout2070.xml"/><Relationship Id="rId748" Type="http://schemas.openxmlformats.org/officeDocument/2006/relationships/slideLayout" Target="../slideLayouts/slideLayout2515.xml"/><Relationship Id="rId84" Type="http://schemas.openxmlformats.org/officeDocument/2006/relationships/slideLayout" Target="../slideLayouts/slideLayout1851.xml"/><Relationship Id="rId387" Type="http://schemas.openxmlformats.org/officeDocument/2006/relationships/slideLayout" Target="../slideLayouts/slideLayout2154.xml"/><Relationship Id="rId510" Type="http://schemas.openxmlformats.org/officeDocument/2006/relationships/slideLayout" Target="../slideLayouts/slideLayout2277.xml"/><Relationship Id="rId594" Type="http://schemas.openxmlformats.org/officeDocument/2006/relationships/slideLayout" Target="../slideLayouts/slideLayout2361.xml"/><Relationship Id="rId608" Type="http://schemas.openxmlformats.org/officeDocument/2006/relationships/slideLayout" Target="../slideLayouts/slideLayout2375.xml"/><Relationship Id="rId815" Type="http://schemas.openxmlformats.org/officeDocument/2006/relationships/slideLayout" Target="../slideLayouts/slideLayout2582.xml"/><Relationship Id="rId247" Type="http://schemas.openxmlformats.org/officeDocument/2006/relationships/slideLayout" Target="../slideLayouts/slideLayout2014.xml"/><Relationship Id="rId107" Type="http://schemas.openxmlformats.org/officeDocument/2006/relationships/slideLayout" Target="../slideLayouts/slideLayout1874.xml"/><Relationship Id="rId454" Type="http://schemas.openxmlformats.org/officeDocument/2006/relationships/slideLayout" Target="../slideLayouts/slideLayout2221.xml"/><Relationship Id="rId661" Type="http://schemas.openxmlformats.org/officeDocument/2006/relationships/slideLayout" Target="../slideLayouts/slideLayout2428.xml"/><Relationship Id="rId759" Type="http://schemas.openxmlformats.org/officeDocument/2006/relationships/slideLayout" Target="../slideLayouts/slideLayout2526.xml"/><Relationship Id="rId11" Type="http://schemas.openxmlformats.org/officeDocument/2006/relationships/slideLayout" Target="../slideLayouts/slideLayout1778.xml"/><Relationship Id="rId314" Type="http://schemas.openxmlformats.org/officeDocument/2006/relationships/slideLayout" Target="../slideLayouts/slideLayout2081.xml"/><Relationship Id="rId398" Type="http://schemas.openxmlformats.org/officeDocument/2006/relationships/slideLayout" Target="../slideLayouts/slideLayout2165.xml"/><Relationship Id="rId521" Type="http://schemas.openxmlformats.org/officeDocument/2006/relationships/slideLayout" Target="../slideLayouts/slideLayout2288.xml"/><Relationship Id="rId619" Type="http://schemas.openxmlformats.org/officeDocument/2006/relationships/slideLayout" Target="../slideLayouts/slideLayout2386.xml"/><Relationship Id="rId95" Type="http://schemas.openxmlformats.org/officeDocument/2006/relationships/slideLayout" Target="../slideLayouts/slideLayout1862.xml"/><Relationship Id="rId160" Type="http://schemas.openxmlformats.org/officeDocument/2006/relationships/slideLayout" Target="../slideLayouts/slideLayout1927.xml"/><Relationship Id="rId826" Type="http://schemas.openxmlformats.org/officeDocument/2006/relationships/slideLayout" Target="../slideLayouts/slideLayout2593.xml"/><Relationship Id="rId258" Type="http://schemas.openxmlformats.org/officeDocument/2006/relationships/slideLayout" Target="../slideLayouts/slideLayout2025.xml"/><Relationship Id="rId465" Type="http://schemas.openxmlformats.org/officeDocument/2006/relationships/slideLayout" Target="../slideLayouts/slideLayout2232.xml"/><Relationship Id="rId672" Type="http://schemas.openxmlformats.org/officeDocument/2006/relationships/slideLayout" Target="../slideLayouts/slideLayout2439.xml"/><Relationship Id="rId22" Type="http://schemas.openxmlformats.org/officeDocument/2006/relationships/slideLayout" Target="../slideLayouts/slideLayout1789.xml"/><Relationship Id="rId118" Type="http://schemas.openxmlformats.org/officeDocument/2006/relationships/slideLayout" Target="../slideLayouts/slideLayout1885.xml"/><Relationship Id="rId325" Type="http://schemas.openxmlformats.org/officeDocument/2006/relationships/slideLayout" Target="../slideLayouts/slideLayout2092.xml"/><Relationship Id="rId532" Type="http://schemas.openxmlformats.org/officeDocument/2006/relationships/slideLayout" Target="../slideLayouts/slideLayout2299.xml"/><Relationship Id="rId171" Type="http://schemas.openxmlformats.org/officeDocument/2006/relationships/slideLayout" Target="../slideLayouts/slideLayout1938.xml"/><Relationship Id="rId837" Type="http://schemas.openxmlformats.org/officeDocument/2006/relationships/slideLayout" Target="../slideLayouts/slideLayout2604.xml"/><Relationship Id="rId269" Type="http://schemas.openxmlformats.org/officeDocument/2006/relationships/slideLayout" Target="../slideLayouts/slideLayout2036.xml"/><Relationship Id="rId476" Type="http://schemas.openxmlformats.org/officeDocument/2006/relationships/slideLayout" Target="../slideLayouts/slideLayout2243.xml"/><Relationship Id="rId683" Type="http://schemas.openxmlformats.org/officeDocument/2006/relationships/slideLayout" Target="../slideLayouts/slideLayout2450.xml"/><Relationship Id="rId890" Type="http://schemas.openxmlformats.org/officeDocument/2006/relationships/slideLayout" Target="../slideLayouts/slideLayout2657.xml"/><Relationship Id="rId33" Type="http://schemas.openxmlformats.org/officeDocument/2006/relationships/slideLayout" Target="../slideLayouts/slideLayout1800.xml"/><Relationship Id="rId129" Type="http://schemas.openxmlformats.org/officeDocument/2006/relationships/slideLayout" Target="../slideLayouts/slideLayout1896.xml"/><Relationship Id="rId336" Type="http://schemas.openxmlformats.org/officeDocument/2006/relationships/slideLayout" Target="../slideLayouts/slideLayout2103.xml"/><Relationship Id="rId543" Type="http://schemas.openxmlformats.org/officeDocument/2006/relationships/slideLayout" Target="../slideLayouts/slideLayout2310.xml"/><Relationship Id="rId182" Type="http://schemas.openxmlformats.org/officeDocument/2006/relationships/slideLayout" Target="../slideLayouts/slideLayout1949.xml"/><Relationship Id="rId403" Type="http://schemas.openxmlformats.org/officeDocument/2006/relationships/slideLayout" Target="../slideLayouts/slideLayout2170.xml"/><Relationship Id="rId750" Type="http://schemas.openxmlformats.org/officeDocument/2006/relationships/slideLayout" Target="../slideLayouts/slideLayout2517.xml"/><Relationship Id="rId848" Type="http://schemas.openxmlformats.org/officeDocument/2006/relationships/slideLayout" Target="../slideLayouts/slideLayout2615.xml"/><Relationship Id="rId487" Type="http://schemas.openxmlformats.org/officeDocument/2006/relationships/slideLayout" Target="../slideLayouts/slideLayout2254.xml"/><Relationship Id="rId610" Type="http://schemas.openxmlformats.org/officeDocument/2006/relationships/slideLayout" Target="../slideLayouts/slideLayout2377.xml"/><Relationship Id="rId694" Type="http://schemas.openxmlformats.org/officeDocument/2006/relationships/slideLayout" Target="../slideLayouts/slideLayout2461.xml"/><Relationship Id="rId708" Type="http://schemas.openxmlformats.org/officeDocument/2006/relationships/slideLayout" Target="../slideLayouts/slideLayout2475.xml"/><Relationship Id="rId347" Type="http://schemas.openxmlformats.org/officeDocument/2006/relationships/slideLayout" Target="../slideLayouts/slideLayout2114.xml"/><Relationship Id="rId44" Type="http://schemas.openxmlformats.org/officeDocument/2006/relationships/slideLayout" Target="../slideLayouts/slideLayout1811.xml"/><Relationship Id="rId554" Type="http://schemas.openxmlformats.org/officeDocument/2006/relationships/slideLayout" Target="../slideLayouts/slideLayout2321.xml"/><Relationship Id="rId761" Type="http://schemas.openxmlformats.org/officeDocument/2006/relationships/slideLayout" Target="../slideLayouts/slideLayout2528.xml"/><Relationship Id="rId859" Type="http://schemas.openxmlformats.org/officeDocument/2006/relationships/slideLayout" Target="../slideLayouts/slideLayout2626.xml"/><Relationship Id="rId193" Type="http://schemas.openxmlformats.org/officeDocument/2006/relationships/slideLayout" Target="../slideLayouts/slideLayout1960.xml"/><Relationship Id="rId207" Type="http://schemas.openxmlformats.org/officeDocument/2006/relationships/slideLayout" Target="../slideLayouts/slideLayout1974.xml"/><Relationship Id="rId414" Type="http://schemas.openxmlformats.org/officeDocument/2006/relationships/slideLayout" Target="../slideLayouts/slideLayout2181.xml"/><Relationship Id="rId498" Type="http://schemas.openxmlformats.org/officeDocument/2006/relationships/slideLayout" Target="../slideLayouts/slideLayout2265.xml"/><Relationship Id="rId621" Type="http://schemas.openxmlformats.org/officeDocument/2006/relationships/slideLayout" Target="../slideLayouts/slideLayout2388.xml"/><Relationship Id="rId260" Type="http://schemas.openxmlformats.org/officeDocument/2006/relationships/slideLayout" Target="../slideLayouts/slideLayout2027.xml"/><Relationship Id="rId719" Type="http://schemas.openxmlformats.org/officeDocument/2006/relationships/slideLayout" Target="../slideLayouts/slideLayout2486.xml"/><Relationship Id="rId55" Type="http://schemas.openxmlformats.org/officeDocument/2006/relationships/slideLayout" Target="../slideLayouts/slideLayout1822.xml"/><Relationship Id="rId120" Type="http://schemas.openxmlformats.org/officeDocument/2006/relationships/slideLayout" Target="../slideLayouts/slideLayout1887.xml"/><Relationship Id="rId358" Type="http://schemas.openxmlformats.org/officeDocument/2006/relationships/slideLayout" Target="../slideLayouts/slideLayout2125.xml"/><Relationship Id="rId565" Type="http://schemas.openxmlformats.org/officeDocument/2006/relationships/slideLayout" Target="../slideLayouts/slideLayout2332.xml"/><Relationship Id="rId772" Type="http://schemas.openxmlformats.org/officeDocument/2006/relationships/slideLayout" Target="../slideLayouts/slideLayout2539.xml"/><Relationship Id="rId218" Type="http://schemas.openxmlformats.org/officeDocument/2006/relationships/slideLayout" Target="../slideLayouts/slideLayout1985.xml"/><Relationship Id="rId425" Type="http://schemas.openxmlformats.org/officeDocument/2006/relationships/slideLayout" Target="../slideLayouts/slideLayout2192.xml"/><Relationship Id="rId632" Type="http://schemas.openxmlformats.org/officeDocument/2006/relationships/slideLayout" Target="../slideLayouts/slideLayout2399.xml"/><Relationship Id="rId271" Type="http://schemas.openxmlformats.org/officeDocument/2006/relationships/slideLayout" Target="../slideLayouts/slideLayout2038.xml"/><Relationship Id="rId66" Type="http://schemas.openxmlformats.org/officeDocument/2006/relationships/slideLayout" Target="../slideLayouts/slideLayout1833.xml"/><Relationship Id="rId131" Type="http://schemas.openxmlformats.org/officeDocument/2006/relationships/slideLayout" Target="../slideLayouts/slideLayout1898.xml"/><Relationship Id="rId369" Type="http://schemas.openxmlformats.org/officeDocument/2006/relationships/slideLayout" Target="../slideLayouts/slideLayout2136.xml"/><Relationship Id="rId576" Type="http://schemas.openxmlformats.org/officeDocument/2006/relationships/slideLayout" Target="../slideLayouts/slideLayout2343.xml"/><Relationship Id="rId783" Type="http://schemas.openxmlformats.org/officeDocument/2006/relationships/slideLayout" Target="../slideLayouts/slideLayout2550.xml"/><Relationship Id="rId229" Type="http://schemas.openxmlformats.org/officeDocument/2006/relationships/slideLayout" Target="../slideLayouts/slideLayout1996.xml"/><Relationship Id="rId436" Type="http://schemas.openxmlformats.org/officeDocument/2006/relationships/slideLayout" Target="../slideLayouts/slideLayout2203.xml"/><Relationship Id="rId643" Type="http://schemas.openxmlformats.org/officeDocument/2006/relationships/slideLayout" Target="../slideLayouts/slideLayout2410.xml"/><Relationship Id="rId850" Type="http://schemas.openxmlformats.org/officeDocument/2006/relationships/slideLayout" Target="../slideLayouts/slideLayout2617.xml"/><Relationship Id="rId77" Type="http://schemas.openxmlformats.org/officeDocument/2006/relationships/slideLayout" Target="../slideLayouts/slideLayout1844.xml"/><Relationship Id="rId282" Type="http://schemas.openxmlformats.org/officeDocument/2006/relationships/slideLayout" Target="../slideLayouts/slideLayout2049.xml"/><Relationship Id="rId503" Type="http://schemas.openxmlformats.org/officeDocument/2006/relationships/slideLayout" Target="../slideLayouts/slideLayout2270.xml"/><Relationship Id="rId587" Type="http://schemas.openxmlformats.org/officeDocument/2006/relationships/slideLayout" Target="../slideLayouts/slideLayout2354.xml"/><Relationship Id="rId710" Type="http://schemas.openxmlformats.org/officeDocument/2006/relationships/slideLayout" Target="../slideLayouts/slideLayout2477.xml"/><Relationship Id="rId808" Type="http://schemas.openxmlformats.org/officeDocument/2006/relationships/slideLayout" Target="../slideLayouts/slideLayout2575.xml"/><Relationship Id="rId8" Type="http://schemas.openxmlformats.org/officeDocument/2006/relationships/slideLayout" Target="../slideLayouts/slideLayout1775.xml"/><Relationship Id="rId142" Type="http://schemas.openxmlformats.org/officeDocument/2006/relationships/slideLayout" Target="../slideLayouts/slideLayout1909.xml"/><Relationship Id="rId447" Type="http://schemas.openxmlformats.org/officeDocument/2006/relationships/slideLayout" Target="../slideLayouts/slideLayout2214.xml"/><Relationship Id="rId794" Type="http://schemas.openxmlformats.org/officeDocument/2006/relationships/slideLayout" Target="../slideLayouts/slideLayout2561.xml"/><Relationship Id="rId654" Type="http://schemas.openxmlformats.org/officeDocument/2006/relationships/slideLayout" Target="../slideLayouts/slideLayout2421.xml"/><Relationship Id="rId861" Type="http://schemas.openxmlformats.org/officeDocument/2006/relationships/slideLayout" Target="../slideLayouts/slideLayout2628.xml"/><Relationship Id="rId293" Type="http://schemas.openxmlformats.org/officeDocument/2006/relationships/slideLayout" Target="../slideLayouts/slideLayout2060.xml"/><Relationship Id="rId307" Type="http://schemas.openxmlformats.org/officeDocument/2006/relationships/slideLayout" Target="../slideLayouts/slideLayout2074.xml"/><Relationship Id="rId514" Type="http://schemas.openxmlformats.org/officeDocument/2006/relationships/slideLayout" Target="../slideLayouts/slideLayout2281.xml"/><Relationship Id="rId721" Type="http://schemas.openxmlformats.org/officeDocument/2006/relationships/slideLayout" Target="../slideLayouts/slideLayout2488.xml"/><Relationship Id="rId88" Type="http://schemas.openxmlformats.org/officeDocument/2006/relationships/slideLayout" Target="../slideLayouts/slideLayout1855.xml"/><Relationship Id="rId153" Type="http://schemas.openxmlformats.org/officeDocument/2006/relationships/slideLayout" Target="../slideLayouts/slideLayout1920.xml"/><Relationship Id="rId360" Type="http://schemas.openxmlformats.org/officeDocument/2006/relationships/slideLayout" Target="../slideLayouts/slideLayout2127.xml"/><Relationship Id="rId598" Type="http://schemas.openxmlformats.org/officeDocument/2006/relationships/slideLayout" Target="../slideLayouts/slideLayout2365.xml"/><Relationship Id="rId819" Type="http://schemas.openxmlformats.org/officeDocument/2006/relationships/slideLayout" Target="../slideLayouts/slideLayout2586.xml"/><Relationship Id="rId220" Type="http://schemas.openxmlformats.org/officeDocument/2006/relationships/slideLayout" Target="../slideLayouts/slideLayout1987.xml"/><Relationship Id="rId458" Type="http://schemas.openxmlformats.org/officeDocument/2006/relationships/slideLayout" Target="../slideLayouts/slideLayout2225.xml"/><Relationship Id="rId665" Type="http://schemas.openxmlformats.org/officeDocument/2006/relationships/slideLayout" Target="../slideLayouts/slideLayout2432.xml"/><Relationship Id="rId872" Type="http://schemas.openxmlformats.org/officeDocument/2006/relationships/slideLayout" Target="../slideLayouts/slideLayout2639.xml"/><Relationship Id="rId15" Type="http://schemas.openxmlformats.org/officeDocument/2006/relationships/slideLayout" Target="../slideLayouts/slideLayout1782.xml"/><Relationship Id="rId318" Type="http://schemas.openxmlformats.org/officeDocument/2006/relationships/slideLayout" Target="../slideLayouts/slideLayout2085.xml"/><Relationship Id="rId525" Type="http://schemas.openxmlformats.org/officeDocument/2006/relationships/slideLayout" Target="../slideLayouts/slideLayout2292.xml"/><Relationship Id="rId732" Type="http://schemas.openxmlformats.org/officeDocument/2006/relationships/slideLayout" Target="../slideLayouts/slideLayout2499.xml"/><Relationship Id="rId99" Type="http://schemas.openxmlformats.org/officeDocument/2006/relationships/slideLayout" Target="../slideLayouts/slideLayout1866.xml"/><Relationship Id="rId164" Type="http://schemas.openxmlformats.org/officeDocument/2006/relationships/slideLayout" Target="../slideLayouts/slideLayout1931.xml"/><Relationship Id="rId371" Type="http://schemas.openxmlformats.org/officeDocument/2006/relationships/slideLayout" Target="../slideLayouts/slideLayout21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6.xml"/><Relationship Id="rId13" Type="http://schemas.openxmlformats.org/officeDocument/2006/relationships/slideLayout" Target="../slideLayouts/slideLayout2671.xml"/><Relationship Id="rId3" Type="http://schemas.openxmlformats.org/officeDocument/2006/relationships/slideLayout" Target="../slideLayouts/slideLayout2661.xml"/><Relationship Id="rId7" Type="http://schemas.openxmlformats.org/officeDocument/2006/relationships/slideLayout" Target="../slideLayouts/slideLayout2665.xml"/><Relationship Id="rId12" Type="http://schemas.openxmlformats.org/officeDocument/2006/relationships/slideLayout" Target="../slideLayouts/slideLayout2670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2660.xml"/><Relationship Id="rId16" Type="http://schemas.openxmlformats.org/officeDocument/2006/relationships/slideLayout" Target="../slideLayouts/slideLayout2674.xml"/><Relationship Id="rId1" Type="http://schemas.openxmlformats.org/officeDocument/2006/relationships/slideLayout" Target="../slideLayouts/slideLayout2659.xml"/><Relationship Id="rId6" Type="http://schemas.openxmlformats.org/officeDocument/2006/relationships/slideLayout" Target="../slideLayouts/slideLayout2664.xml"/><Relationship Id="rId11" Type="http://schemas.openxmlformats.org/officeDocument/2006/relationships/slideLayout" Target="../slideLayouts/slideLayout2669.xml"/><Relationship Id="rId5" Type="http://schemas.openxmlformats.org/officeDocument/2006/relationships/slideLayout" Target="../slideLayouts/slideLayout2663.xml"/><Relationship Id="rId15" Type="http://schemas.openxmlformats.org/officeDocument/2006/relationships/slideLayout" Target="../slideLayouts/slideLayout2673.xml"/><Relationship Id="rId10" Type="http://schemas.openxmlformats.org/officeDocument/2006/relationships/slideLayout" Target="../slideLayouts/slideLayout2668.xml"/><Relationship Id="rId4" Type="http://schemas.openxmlformats.org/officeDocument/2006/relationships/slideLayout" Target="../slideLayouts/slideLayout2662.xml"/><Relationship Id="rId9" Type="http://schemas.openxmlformats.org/officeDocument/2006/relationships/slideLayout" Target="../slideLayouts/slideLayout2667.xml"/><Relationship Id="rId14" Type="http://schemas.openxmlformats.org/officeDocument/2006/relationships/slideLayout" Target="../slideLayouts/slideLayout267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2.xml"/><Relationship Id="rId3" Type="http://schemas.openxmlformats.org/officeDocument/2006/relationships/slideLayout" Target="../slideLayouts/slideLayout2677.xml"/><Relationship Id="rId7" Type="http://schemas.openxmlformats.org/officeDocument/2006/relationships/slideLayout" Target="../slideLayouts/slideLayout268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676.xml"/><Relationship Id="rId1" Type="http://schemas.openxmlformats.org/officeDocument/2006/relationships/slideLayout" Target="../slideLayouts/slideLayout2675.xml"/><Relationship Id="rId6" Type="http://schemas.openxmlformats.org/officeDocument/2006/relationships/slideLayout" Target="../slideLayouts/slideLayout2680.xml"/><Relationship Id="rId11" Type="http://schemas.openxmlformats.org/officeDocument/2006/relationships/slideLayout" Target="../slideLayouts/slideLayout2685.xml"/><Relationship Id="rId5" Type="http://schemas.openxmlformats.org/officeDocument/2006/relationships/slideLayout" Target="../slideLayouts/slideLayout2679.xml"/><Relationship Id="rId10" Type="http://schemas.openxmlformats.org/officeDocument/2006/relationships/slideLayout" Target="../slideLayouts/slideLayout2684.xml"/><Relationship Id="rId4" Type="http://schemas.openxmlformats.org/officeDocument/2006/relationships/slideLayout" Target="../slideLayouts/slideLayout2678.xml"/><Relationship Id="rId9" Type="http://schemas.openxmlformats.org/officeDocument/2006/relationships/slideLayout" Target="../slideLayouts/slideLayout26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3.xml"/><Relationship Id="rId3" Type="http://schemas.openxmlformats.org/officeDocument/2006/relationships/slideLayout" Target="../slideLayouts/slideLayout2688.xml"/><Relationship Id="rId7" Type="http://schemas.openxmlformats.org/officeDocument/2006/relationships/slideLayout" Target="../slideLayouts/slideLayout26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2687.xml"/><Relationship Id="rId1" Type="http://schemas.openxmlformats.org/officeDocument/2006/relationships/slideLayout" Target="../slideLayouts/slideLayout2686.xml"/><Relationship Id="rId6" Type="http://schemas.openxmlformats.org/officeDocument/2006/relationships/slideLayout" Target="../slideLayouts/slideLayout2691.xml"/><Relationship Id="rId11" Type="http://schemas.openxmlformats.org/officeDocument/2006/relationships/slideLayout" Target="../slideLayouts/slideLayout2696.xml"/><Relationship Id="rId5" Type="http://schemas.openxmlformats.org/officeDocument/2006/relationships/slideLayout" Target="../slideLayouts/slideLayout2690.xml"/><Relationship Id="rId10" Type="http://schemas.openxmlformats.org/officeDocument/2006/relationships/slideLayout" Target="../slideLayouts/slideLayout2695.xml"/><Relationship Id="rId4" Type="http://schemas.openxmlformats.org/officeDocument/2006/relationships/slideLayout" Target="../slideLayouts/slideLayout2689.xml"/><Relationship Id="rId9" Type="http://schemas.openxmlformats.org/officeDocument/2006/relationships/slideLayout" Target="../slideLayouts/slideLayout26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2699.xml"/><Relationship Id="rId7" Type="http://schemas.openxmlformats.org/officeDocument/2006/relationships/slideLayout" Target="../slideLayouts/slideLayout2703.xml"/><Relationship Id="rId2" Type="http://schemas.openxmlformats.org/officeDocument/2006/relationships/slideLayout" Target="../slideLayouts/slideLayout2698.xml"/><Relationship Id="rId1" Type="http://schemas.openxmlformats.org/officeDocument/2006/relationships/slideLayout" Target="../slideLayouts/slideLayout2697.xml"/><Relationship Id="rId6" Type="http://schemas.openxmlformats.org/officeDocument/2006/relationships/slideLayout" Target="../slideLayouts/slideLayout2702.xml"/><Relationship Id="rId5" Type="http://schemas.openxmlformats.org/officeDocument/2006/relationships/slideLayout" Target="../slideLayouts/slideLayout2701.xml"/><Relationship Id="rId4" Type="http://schemas.openxmlformats.org/officeDocument/2006/relationships/slideLayout" Target="../slideLayouts/slideLayout27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3681a448973_2_129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3681a448973_2_129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g3681a448973_2_129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g3681a448973_2_129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843" r:id="rId1"/>
    <p:sldLayoutId id="2147485844" r:id="rId2"/>
    <p:sldLayoutId id="2147485845" r:id="rId3"/>
    <p:sldLayoutId id="2147485846" r:id="rId4"/>
    <p:sldLayoutId id="2147485847" r:id="rId5"/>
    <p:sldLayoutId id="2147485848" r:id="rId6"/>
    <p:sldLayoutId id="2147485849" r:id="rId7"/>
    <p:sldLayoutId id="2147485850" r:id="rId8"/>
    <p:sldLayoutId id="2147485851" r:id="rId9"/>
    <p:sldLayoutId id="2147485852" r:id="rId10"/>
    <p:sldLayoutId id="2147485853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  <p:sldLayoutId id="2147483719" r:id="rId71"/>
    <p:sldLayoutId id="2147483720" r:id="rId72"/>
    <p:sldLayoutId id="2147483721" r:id="rId73"/>
    <p:sldLayoutId id="2147483722" r:id="rId74"/>
    <p:sldLayoutId id="2147483723" r:id="rId75"/>
    <p:sldLayoutId id="2147483724" r:id="rId76"/>
    <p:sldLayoutId id="2147483725" r:id="rId77"/>
    <p:sldLayoutId id="2147483726" r:id="rId78"/>
    <p:sldLayoutId id="2147483727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3734" r:id="rId86"/>
    <p:sldLayoutId id="2147483735" r:id="rId87"/>
    <p:sldLayoutId id="2147483736" r:id="rId88"/>
    <p:sldLayoutId id="2147483737" r:id="rId89"/>
    <p:sldLayoutId id="2147483738" r:id="rId90"/>
    <p:sldLayoutId id="2147483739" r:id="rId91"/>
    <p:sldLayoutId id="2147483740" r:id="rId92"/>
    <p:sldLayoutId id="2147483741" r:id="rId93"/>
    <p:sldLayoutId id="2147483742" r:id="rId94"/>
    <p:sldLayoutId id="2147483743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3750" r:id="rId102"/>
    <p:sldLayoutId id="2147483751" r:id="rId103"/>
    <p:sldLayoutId id="2147483752" r:id="rId104"/>
    <p:sldLayoutId id="2147483753" r:id="rId105"/>
    <p:sldLayoutId id="2147483754" r:id="rId106"/>
    <p:sldLayoutId id="2147483755" r:id="rId107"/>
    <p:sldLayoutId id="2147483756" r:id="rId108"/>
    <p:sldLayoutId id="2147483757" r:id="rId109"/>
    <p:sldLayoutId id="2147483758" r:id="rId110"/>
    <p:sldLayoutId id="2147483759" r:id="rId111"/>
    <p:sldLayoutId id="2147483760" r:id="rId112"/>
    <p:sldLayoutId id="2147483761" r:id="rId113"/>
    <p:sldLayoutId id="2147483762" r:id="rId114"/>
    <p:sldLayoutId id="2147483763" r:id="rId115"/>
    <p:sldLayoutId id="2147483764" r:id="rId116"/>
    <p:sldLayoutId id="2147483765" r:id="rId117"/>
    <p:sldLayoutId id="2147483766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3775" r:id="rId127"/>
    <p:sldLayoutId id="2147483776" r:id="rId128"/>
    <p:sldLayoutId id="2147483777" r:id="rId129"/>
    <p:sldLayoutId id="2147483778" r:id="rId130"/>
    <p:sldLayoutId id="2147483779" r:id="rId131"/>
    <p:sldLayoutId id="2147483780" r:id="rId132"/>
    <p:sldLayoutId id="2147483781" r:id="rId133"/>
    <p:sldLayoutId id="2147483782" r:id="rId134"/>
    <p:sldLayoutId id="2147483783" r:id="rId135"/>
    <p:sldLayoutId id="2147483784" r:id="rId136"/>
    <p:sldLayoutId id="2147483785" r:id="rId137"/>
    <p:sldLayoutId id="2147483786" r:id="rId138"/>
    <p:sldLayoutId id="2147483787" r:id="rId139"/>
    <p:sldLayoutId id="2147483788" r:id="rId140"/>
    <p:sldLayoutId id="2147483789" r:id="rId141"/>
    <p:sldLayoutId id="2147483790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3799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3806" r:id="rId158"/>
    <p:sldLayoutId id="2147483807" r:id="rId159"/>
    <p:sldLayoutId id="2147483808" r:id="rId160"/>
    <p:sldLayoutId id="2147483809" r:id="rId161"/>
    <p:sldLayoutId id="2147483810" r:id="rId162"/>
    <p:sldLayoutId id="2147483811" r:id="rId163"/>
    <p:sldLayoutId id="2147483812" r:id="rId164"/>
    <p:sldLayoutId id="2147483813" r:id="rId165"/>
    <p:sldLayoutId id="2147483814" r:id="rId166"/>
    <p:sldLayoutId id="2147483815" r:id="rId167"/>
    <p:sldLayoutId id="2147483816" r:id="rId168"/>
    <p:sldLayoutId id="2147483817" r:id="rId169"/>
    <p:sldLayoutId id="2147483818" r:id="rId170"/>
    <p:sldLayoutId id="2147483819" r:id="rId171"/>
    <p:sldLayoutId id="2147483820" r:id="rId172"/>
    <p:sldLayoutId id="2147483821" r:id="rId173"/>
    <p:sldLayoutId id="2147483822" r:id="rId174"/>
    <p:sldLayoutId id="2147483823" r:id="rId175"/>
    <p:sldLayoutId id="2147483824" r:id="rId176"/>
    <p:sldLayoutId id="2147483825" r:id="rId177"/>
    <p:sldLayoutId id="2147483826" r:id="rId178"/>
    <p:sldLayoutId id="2147483827" r:id="rId179"/>
    <p:sldLayoutId id="2147483828" r:id="rId180"/>
    <p:sldLayoutId id="2147483829" r:id="rId181"/>
    <p:sldLayoutId id="2147483830" r:id="rId182"/>
    <p:sldLayoutId id="2147483831" r:id="rId183"/>
    <p:sldLayoutId id="2147483832" r:id="rId184"/>
    <p:sldLayoutId id="2147483833" r:id="rId185"/>
    <p:sldLayoutId id="2147483834" r:id="rId186"/>
    <p:sldLayoutId id="2147483835" r:id="rId187"/>
    <p:sldLayoutId id="2147483836" r:id="rId188"/>
    <p:sldLayoutId id="2147483837" r:id="rId189"/>
    <p:sldLayoutId id="2147483838" r:id="rId190"/>
    <p:sldLayoutId id="2147483839" r:id="rId191"/>
    <p:sldLayoutId id="2147483840" r:id="rId192"/>
    <p:sldLayoutId id="2147483841" r:id="rId193"/>
    <p:sldLayoutId id="2147483842" r:id="rId194"/>
    <p:sldLayoutId id="2147483843" r:id="rId195"/>
    <p:sldLayoutId id="2147483844" r:id="rId196"/>
    <p:sldLayoutId id="2147483845" r:id="rId197"/>
    <p:sldLayoutId id="2147483846" r:id="rId198"/>
    <p:sldLayoutId id="2147483847" r:id="rId199"/>
    <p:sldLayoutId id="2147483848" r:id="rId200"/>
    <p:sldLayoutId id="2147483849" r:id="rId201"/>
    <p:sldLayoutId id="2147483850" r:id="rId202"/>
    <p:sldLayoutId id="2147483851" r:id="rId203"/>
    <p:sldLayoutId id="2147483852" r:id="rId204"/>
    <p:sldLayoutId id="2147483853" r:id="rId205"/>
    <p:sldLayoutId id="2147483854" r:id="rId206"/>
    <p:sldLayoutId id="2147483855" r:id="rId207"/>
    <p:sldLayoutId id="2147483856" r:id="rId208"/>
    <p:sldLayoutId id="2147483857" r:id="rId209"/>
    <p:sldLayoutId id="2147483858" r:id="rId210"/>
    <p:sldLayoutId id="2147483859" r:id="rId211"/>
    <p:sldLayoutId id="2147483860" r:id="rId212"/>
    <p:sldLayoutId id="2147483861" r:id="rId213"/>
    <p:sldLayoutId id="2147483862" r:id="rId214"/>
    <p:sldLayoutId id="2147483863" r:id="rId215"/>
    <p:sldLayoutId id="2147483864" r:id="rId216"/>
    <p:sldLayoutId id="2147483865" r:id="rId217"/>
    <p:sldLayoutId id="2147483866" r:id="rId218"/>
    <p:sldLayoutId id="2147483867" r:id="rId219"/>
    <p:sldLayoutId id="2147483868" r:id="rId220"/>
    <p:sldLayoutId id="2147483869" r:id="rId221"/>
    <p:sldLayoutId id="2147483870" r:id="rId222"/>
    <p:sldLayoutId id="2147483871" r:id="rId223"/>
    <p:sldLayoutId id="2147483872" r:id="rId224"/>
    <p:sldLayoutId id="2147483873" r:id="rId225"/>
    <p:sldLayoutId id="2147483874" r:id="rId226"/>
    <p:sldLayoutId id="2147483875" r:id="rId227"/>
    <p:sldLayoutId id="2147483876" r:id="rId228"/>
    <p:sldLayoutId id="2147483877" r:id="rId229"/>
    <p:sldLayoutId id="2147483878" r:id="rId230"/>
    <p:sldLayoutId id="2147483879" r:id="rId231"/>
    <p:sldLayoutId id="2147483880" r:id="rId232"/>
    <p:sldLayoutId id="2147483881" r:id="rId233"/>
    <p:sldLayoutId id="2147483882" r:id="rId234"/>
    <p:sldLayoutId id="2147483883" r:id="rId235"/>
    <p:sldLayoutId id="2147483884" r:id="rId236"/>
    <p:sldLayoutId id="2147483885" r:id="rId237"/>
    <p:sldLayoutId id="2147483886" r:id="rId238"/>
    <p:sldLayoutId id="2147483887" r:id="rId239"/>
    <p:sldLayoutId id="2147483888" r:id="rId240"/>
    <p:sldLayoutId id="2147483889" r:id="rId241"/>
    <p:sldLayoutId id="2147483890" r:id="rId242"/>
    <p:sldLayoutId id="2147483891" r:id="rId243"/>
    <p:sldLayoutId id="2147483892" r:id="rId244"/>
    <p:sldLayoutId id="2147483893" r:id="rId245"/>
    <p:sldLayoutId id="2147483894" r:id="rId246"/>
    <p:sldLayoutId id="2147483895" r:id="rId247"/>
    <p:sldLayoutId id="2147483896" r:id="rId248"/>
    <p:sldLayoutId id="2147483897" r:id="rId249"/>
    <p:sldLayoutId id="2147483898" r:id="rId250"/>
    <p:sldLayoutId id="2147483899" r:id="rId251"/>
    <p:sldLayoutId id="2147483900" r:id="rId252"/>
    <p:sldLayoutId id="2147483901" r:id="rId253"/>
    <p:sldLayoutId id="2147483902" r:id="rId254"/>
    <p:sldLayoutId id="2147483903" r:id="rId255"/>
    <p:sldLayoutId id="2147483904" r:id="rId256"/>
    <p:sldLayoutId id="2147483905" r:id="rId257"/>
    <p:sldLayoutId id="2147483906" r:id="rId258"/>
    <p:sldLayoutId id="2147483907" r:id="rId259"/>
    <p:sldLayoutId id="2147483908" r:id="rId260"/>
    <p:sldLayoutId id="2147483909" r:id="rId261"/>
    <p:sldLayoutId id="2147483910" r:id="rId262"/>
    <p:sldLayoutId id="2147483911" r:id="rId263"/>
    <p:sldLayoutId id="2147483912" r:id="rId264"/>
    <p:sldLayoutId id="2147483913" r:id="rId265"/>
    <p:sldLayoutId id="2147483914" r:id="rId266"/>
    <p:sldLayoutId id="2147483915" r:id="rId267"/>
    <p:sldLayoutId id="2147483916" r:id="rId268"/>
    <p:sldLayoutId id="2147483917" r:id="rId269"/>
    <p:sldLayoutId id="2147483918" r:id="rId270"/>
    <p:sldLayoutId id="2147483919" r:id="rId271"/>
    <p:sldLayoutId id="2147483920" r:id="rId272"/>
    <p:sldLayoutId id="2147483921" r:id="rId273"/>
    <p:sldLayoutId id="2147483922" r:id="rId274"/>
    <p:sldLayoutId id="2147483923" r:id="rId275"/>
    <p:sldLayoutId id="2147483924" r:id="rId276"/>
    <p:sldLayoutId id="2147483925" r:id="rId277"/>
    <p:sldLayoutId id="2147483926" r:id="rId278"/>
    <p:sldLayoutId id="2147483927" r:id="rId279"/>
    <p:sldLayoutId id="2147483928" r:id="rId280"/>
    <p:sldLayoutId id="2147483929" r:id="rId281"/>
    <p:sldLayoutId id="2147483930" r:id="rId282"/>
    <p:sldLayoutId id="2147483931" r:id="rId283"/>
    <p:sldLayoutId id="2147483932" r:id="rId284"/>
    <p:sldLayoutId id="2147483933" r:id="rId285"/>
    <p:sldLayoutId id="2147483934" r:id="rId286"/>
    <p:sldLayoutId id="2147483935" r:id="rId287"/>
    <p:sldLayoutId id="2147483936" r:id="rId288"/>
    <p:sldLayoutId id="2147483937" r:id="rId289"/>
    <p:sldLayoutId id="2147483938" r:id="rId290"/>
    <p:sldLayoutId id="2147483939" r:id="rId291"/>
    <p:sldLayoutId id="2147483940" r:id="rId292"/>
    <p:sldLayoutId id="2147483941" r:id="rId293"/>
    <p:sldLayoutId id="2147483942" r:id="rId294"/>
    <p:sldLayoutId id="2147483943" r:id="rId295"/>
    <p:sldLayoutId id="2147483944" r:id="rId296"/>
    <p:sldLayoutId id="2147483945" r:id="rId297"/>
    <p:sldLayoutId id="2147483946" r:id="rId298"/>
    <p:sldLayoutId id="2147483947" r:id="rId299"/>
    <p:sldLayoutId id="2147483948" r:id="rId300"/>
    <p:sldLayoutId id="2147483949" r:id="rId301"/>
    <p:sldLayoutId id="2147483950" r:id="rId302"/>
    <p:sldLayoutId id="2147483951" r:id="rId303"/>
    <p:sldLayoutId id="2147483952" r:id="rId304"/>
    <p:sldLayoutId id="2147483953" r:id="rId305"/>
    <p:sldLayoutId id="2147483954" r:id="rId306"/>
    <p:sldLayoutId id="2147483955" r:id="rId307"/>
    <p:sldLayoutId id="2147483956" r:id="rId308"/>
    <p:sldLayoutId id="2147483957" r:id="rId309"/>
    <p:sldLayoutId id="2147483958" r:id="rId310"/>
    <p:sldLayoutId id="2147483959" r:id="rId311"/>
    <p:sldLayoutId id="2147483960" r:id="rId312"/>
    <p:sldLayoutId id="2147483961" r:id="rId313"/>
    <p:sldLayoutId id="2147483962" r:id="rId314"/>
    <p:sldLayoutId id="2147483963" r:id="rId315"/>
    <p:sldLayoutId id="2147483964" r:id="rId316"/>
    <p:sldLayoutId id="2147483965" r:id="rId317"/>
    <p:sldLayoutId id="2147483966" r:id="rId318"/>
    <p:sldLayoutId id="2147483967" r:id="rId319"/>
    <p:sldLayoutId id="2147483968" r:id="rId320"/>
    <p:sldLayoutId id="2147483969" r:id="rId321"/>
    <p:sldLayoutId id="2147483970" r:id="rId322"/>
    <p:sldLayoutId id="2147483971" r:id="rId323"/>
    <p:sldLayoutId id="2147483972" r:id="rId324"/>
    <p:sldLayoutId id="2147483973" r:id="rId325"/>
    <p:sldLayoutId id="2147483974" r:id="rId326"/>
    <p:sldLayoutId id="2147483975" r:id="rId327"/>
    <p:sldLayoutId id="2147483976" r:id="rId328"/>
    <p:sldLayoutId id="2147483977" r:id="rId329"/>
    <p:sldLayoutId id="2147483978" r:id="rId330"/>
    <p:sldLayoutId id="2147483979" r:id="rId331"/>
    <p:sldLayoutId id="2147483980" r:id="rId332"/>
    <p:sldLayoutId id="2147483981" r:id="rId333"/>
    <p:sldLayoutId id="2147483982" r:id="rId334"/>
    <p:sldLayoutId id="2147483983" r:id="rId335"/>
    <p:sldLayoutId id="2147483984" r:id="rId336"/>
    <p:sldLayoutId id="2147483985" r:id="rId337"/>
    <p:sldLayoutId id="2147483986" r:id="rId338"/>
    <p:sldLayoutId id="2147483987" r:id="rId339"/>
    <p:sldLayoutId id="2147483988" r:id="rId340"/>
    <p:sldLayoutId id="2147483989" r:id="rId341"/>
    <p:sldLayoutId id="2147483990" r:id="rId342"/>
    <p:sldLayoutId id="2147483991" r:id="rId343"/>
    <p:sldLayoutId id="2147483992" r:id="rId344"/>
    <p:sldLayoutId id="2147483993" r:id="rId345"/>
    <p:sldLayoutId id="2147483994" r:id="rId346"/>
    <p:sldLayoutId id="2147483995" r:id="rId347"/>
    <p:sldLayoutId id="2147483996" r:id="rId348"/>
    <p:sldLayoutId id="2147483997" r:id="rId349"/>
    <p:sldLayoutId id="2147483998" r:id="rId350"/>
    <p:sldLayoutId id="2147483999" r:id="rId351"/>
    <p:sldLayoutId id="2147484000" r:id="rId352"/>
    <p:sldLayoutId id="2147484001" r:id="rId353"/>
    <p:sldLayoutId id="2147484002" r:id="rId354"/>
    <p:sldLayoutId id="2147484003" r:id="rId355"/>
    <p:sldLayoutId id="2147484004" r:id="rId356"/>
    <p:sldLayoutId id="2147484005" r:id="rId357"/>
    <p:sldLayoutId id="2147484006" r:id="rId358"/>
    <p:sldLayoutId id="2147484007" r:id="rId359"/>
    <p:sldLayoutId id="2147484008" r:id="rId360"/>
    <p:sldLayoutId id="2147484009" r:id="rId361"/>
    <p:sldLayoutId id="2147484010" r:id="rId362"/>
    <p:sldLayoutId id="2147484011" r:id="rId363"/>
    <p:sldLayoutId id="2147484012" r:id="rId364"/>
    <p:sldLayoutId id="2147484013" r:id="rId365"/>
    <p:sldLayoutId id="2147484014" r:id="rId366"/>
    <p:sldLayoutId id="2147484015" r:id="rId367"/>
    <p:sldLayoutId id="2147484016" r:id="rId368"/>
    <p:sldLayoutId id="2147484017" r:id="rId369"/>
    <p:sldLayoutId id="2147484018" r:id="rId370"/>
    <p:sldLayoutId id="2147484019" r:id="rId371"/>
    <p:sldLayoutId id="2147484020" r:id="rId372"/>
    <p:sldLayoutId id="2147484021" r:id="rId373"/>
    <p:sldLayoutId id="2147484022" r:id="rId374"/>
    <p:sldLayoutId id="2147484023" r:id="rId375"/>
    <p:sldLayoutId id="2147484024" r:id="rId376"/>
    <p:sldLayoutId id="2147484025" r:id="rId377"/>
    <p:sldLayoutId id="2147484026" r:id="rId378"/>
    <p:sldLayoutId id="2147484027" r:id="rId379"/>
    <p:sldLayoutId id="2147484028" r:id="rId380"/>
    <p:sldLayoutId id="2147484029" r:id="rId381"/>
    <p:sldLayoutId id="2147484030" r:id="rId382"/>
    <p:sldLayoutId id="2147484031" r:id="rId383"/>
    <p:sldLayoutId id="2147484032" r:id="rId384"/>
    <p:sldLayoutId id="2147484033" r:id="rId385"/>
    <p:sldLayoutId id="2147484034" r:id="rId386"/>
    <p:sldLayoutId id="2147484035" r:id="rId387"/>
    <p:sldLayoutId id="2147484036" r:id="rId388"/>
    <p:sldLayoutId id="2147484037" r:id="rId389"/>
    <p:sldLayoutId id="2147484038" r:id="rId390"/>
    <p:sldLayoutId id="2147484039" r:id="rId391"/>
    <p:sldLayoutId id="2147484040" r:id="rId392"/>
    <p:sldLayoutId id="2147484041" r:id="rId393"/>
    <p:sldLayoutId id="2147484042" r:id="rId394"/>
    <p:sldLayoutId id="2147484043" r:id="rId395"/>
    <p:sldLayoutId id="2147484044" r:id="rId396"/>
    <p:sldLayoutId id="2147484045" r:id="rId397"/>
    <p:sldLayoutId id="2147484046" r:id="rId398"/>
    <p:sldLayoutId id="2147484047" r:id="rId399"/>
    <p:sldLayoutId id="2147484048" r:id="rId400"/>
    <p:sldLayoutId id="2147484049" r:id="rId401"/>
    <p:sldLayoutId id="2147484050" r:id="rId402"/>
    <p:sldLayoutId id="2147484051" r:id="rId403"/>
    <p:sldLayoutId id="2147484052" r:id="rId404"/>
    <p:sldLayoutId id="2147484053" r:id="rId405"/>
    <p:sldLayoutId id="2147484054" r:id="rId406"/>
    <p:sldLayoutId id="2147484055" r:id="rId407"/>
    <p:sldLayoutId id="2147484056" r:id="rId408"/>
    <p:sldLayoutId id="2147484057" r:id="rId409"/>
    <p:sldLayoutId id="2147484058" r:id="rId410"/>
    <p:sldLayoutId id="2147484059" r:id="rId411"/>
    <p:sldLayoutId id="2147484060" r:id="rId412"/>
    <p:sldLayoutId id="2147484061" r:id="rId413"/>
    <p:sldLayoutId id="2147484062" r:id="rId414"/>
    <p:sldLayoutId id="2147484063" r:id="rId415"/>
    <p:sldLayoutId id="2147484064" r:id="rId416"/>
    <p:sldLayoutId id="2147484065" r:id="rId417"/>
    <p:sldLayoutId id="2147484066" r:id="rId418"/>
    <p:sldLayoutId id="2147484067" r:id="rId419"/>
    <p:sldLayoutId id="2147484068" r:id="rId420"/>
    <p:sldLayoutId id="2147484069" r:id="rId421"/>
    <p:sldLayoutId id="2147484070" r:id="rId422"/>
    <p:sldLayoutId id="2147484071" r:id="rId423"/>
    <p:sldLayoutId id="2147484072" r:id="rId424"/>
    <p:sldLayoutId id="2147484073" r:id="rId425"/>
    <p:sldLayoutId id="2147484074" r:id="rId426"/>
    <p:sldLayoutId id="2147484075" r:id="rId42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Google Shape;4100;g3681a448973_2_170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01" name="Google Shape;4101;g3681a448973_2_170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02" name="Google Shape;4102;g3681a448973_2_170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03" name="Google Shape;4103;g3681a448973_2_170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  <p:sldLayoutId id="2147484089" r:id="rId13"/>
    <p:sldLayoutId id="2147484090" r:id="rId14"/>
    <p:sldLayoutId id="2147484091" r:id="rId15"/>
    <p:sldLayoutId id="2147484092" r:id="rId16"/>
    <p:sldLayoutId id="2147484093" r:id="rId17"/>
    <p:sldLayoutId id="2147484094" r:id="rId18"/>
    <p:sldLayoutId id="2147484095" r:id="rId19"/>
    <p:sldLayoutId id="2147484096" r:id="rId20"/>
    <p:sldLayoutId id="2147484097" r:id="rId21"/>
    <p:sldLayoutId id="2147484098" r:id="rId22"/>
    <p:sldLayoutId id="2147484099" r:id="rId23"/>
    <p:sldLayoutId id="2147484100" r:id="rId24"/>
    <p:sldLayoutId id="2147484101" r:id="rId25"/>
    <p:sldLayoutId id="2147484102" r:id="rId26"/>
    <p:sldLayoutId id="2147484103" r:id="rId27"/>
    <p:sldLayoutId id="2147484104" r:id="rId28"/>
    <p:sldLayoutId id="2147484105" r:id="rId29"/>
    <p:sldLayoutId id="2147484106" r:id="rId30"/>
    <p:sldLayoutId id="2147484107" r:id="rId31"/>
    <p:sldLayoutId id="2147484108" r:id="rId32"/>
    <p:sldLayoutId id="2147484109" r:id="rId33"/>
    <p:sldLayoutId id="2147484110" r:id="rId34"/>
    <p:sldLayoutId id="2147484111" r:id="rId35"/>
    <p:sldLayoutId id="2147484112" r:id="rId36"/>
    <p:sldLayoutId id="2147484113" r:id="rId37"/>
    <p:sldLayoutId id="2147484114" r:id="rId38"/>
    <p:sldLayoutId id="2147484115" r:id="rId39"/>
    <p:sldLayoutId id="2147484116" r:id="rId40"/>
    <p:sldLayoutId id="2147484117" r:id="rId41"/>
    <p:sldLayoutId id="2147484118" r:id="rId42"/>
    <p:sldLayoutId id="2147484119" r:id="rId43"/>
    <p:sldLayoutId id="2147484120" r:id="rId44"/>
    <p:sldLayoutId id="2147484121" r:id="rId45"/>
    <p:sldLayoutId id="2147484122" r:id="rId46"/>
    <p:sldLayoutId id="2147484123" r:id="rId47"/>
    <p:sldLayoutId id="2147484124" r:id="rId48"/>
    <p:sldLayoutId id="2147484125" r:id="rId49"/>
    <p:sldLayoutId id="2147484126" r:id="rId50"/>
    <p:sldLayoutId id="2147484127" r:id="rId51"/>
    <p:sldLayoutId id="2147484128" r:id="rId52"/>
    <p:sldLayoutId id="2147484129" r:id="rId53"/>
    <p:sldLayoutId id="2147484130" r:id="rId54"/>
    <p:sldLayoutId id="2147484131" r:id="rId55"/>
    <p:sldLayoutId id="2147484132" r:id="rId56"/>
    <p:sldLayoutId id="2147484133" r:id="rId57"/>
    <p:sldLayoutId id="2147484134" r:id="rId58"/>
    <p:sldLayoutId id="2147484135" r:id="rId59"/>
    <p:sldLayoutId id="2147484136" r:id="rId60"/>
    <p:sldLayoutId id="2147484137" r:id="rId61"/>
    <p:sldLayoutId id="2147484138" r:id="rId62"/>
    <p:sldLayoutId id="2147484139" r:id="rId63"/>
    <p:sldLayoutId id="2147484140" r:id="rId64"/>
    <p:sldLayoutId id="2147484141" r:id="rId65"/>
    <p:sldLayoutId id="2147484142" r:id="rId66"/>
    <p:sldLayoutId id="2147484143" r:id="rId67"/>
    <p:sldLayoutId id="2147484144" r:id="rId68"/>
    <p:sldLayoutId id="2147484145" r:id="rId69"/>
    <p:sldLayoutId id="2147484146" r:id="rId70"/>
    <p:sldLayoutId id="2147484147" r:id="rId71"/>
    <p:sldLayoutId id="2147484148" r:id="rId72"/>
    <p:sldLayoutId id="2147484149" r:id="rId73"/>
    <p:sldLayoutId id="2147484150" r:id="rId74"/>
    <p:sldLayoutId id="2147484151" r:id="rId75"/>
    <p:sldLayoutId id="2147484152" r:id="rId76"/>
    <p:sldLayoutId id="2147484153" r:id="rId77"/>
    <p:sldLayoutId id="2147484154" r:id="rId78"/>
    <p:sldLayoutId id="2147484155" r:id="rId79"/>
    <p:sldLayoutId id="2147484156" r:id="rId80"/>
    <p:sldLayoutId id="2147484157" r:id="rId81"/>
    <p:sldLayoutId id="2147484158" r:id="rId82"/>
    <p:sldLayoutId id="2147484159" r:id="rId83"/>
    <p:sldLayoutId id="2147484160" r:id="rId84"/>
    <p:sldLayoutId id="2147484161" r:id="rId85"/>
    <p:sldLayoutId id="2147484162" r:id="rId86"/>
    <p:sldLayoutId id="2147484163" r:id="rId87"/>
    <p:sldLayoutId id="2147484164" r:id="rId88"/>
    <p:sldLayoutId id="2147484165" r:id="rId89"/>
    <p:sldLayoutId id="2147484166" r:id="rId90"/>
    <p:sldLayoutId id="2147484167" r:id="rId91"/>
    <p:sldLayoutId id="2147484168" r:id="rId92"/>
    <p:sldLayoutId id="2147484169" r:id="rId93"/>
    <p:sldLayoutId id="2147484170" r:id="rId94"/>
    <p:sldLayoutId id="2147484171" r:id="rId95"/>
    <p:sldLayoutId id="2147484172" r:id="rId96"/>
    <p:sldLayoutId id="2147484173" r:id="rId97"/>
    <p:sldLayoutId id="2147484174" r:id="rId98"/>
    <p:sldLayoutId id="2147484175" r:id="rId99"/>
    <p:sldLayoutId id="2147484176" r:id="rId100"/>
    <p:sldLayoutId id="2147484177" r:id="rId101"/>
    <p:sldLayoutId id="2147484178" r:id="rId102"/>
    <p:sldLayoutId id="2147484179" r:id="rId103"/>
    <p:sldLayoutId id="2147484180" r:id="rId104"/>
    <p:sldLayoutId id="2147484181" r:id="rId105"/>
    <p:sldLayoutId id="2147484182" r:id="rId106"/>
    <p:sldLayoutId id="2147484183" r:id="rId107"/>
    <p:sldLayoutId id="2147484184" r:id="rId108"/>
    <p:sldLayoutId id="2147484185" r:id="rId109"/>
    <p:sldLayoutId id="2147484186" r:id="rId110"/>
    <p:sldLayoutId id="2147484187" r:id="rId111"/>
    <p:sldLayoutId id="2147484188" r:id="rId112"/>
    <p:sldLayoutId id="2147484189" r:id="rId113"/>
    <p:sldLayoutId id="2147484190" r:id="rId114"/>
    <p:sldLayoutId id="2147484191" r:id="rId115"/>
    <p:sldLayoutId id="2147484192" r:id="rId116"/>
    <p:sldLayoutId id="2147484193" r:id="rId117"/>
    <p:sldLayoutId id="2147484194" r:id="rId118"/>
    <p:sldLayoutId id="2147484195" r:id="rId119"/>
    <p:sldLayoutId id="2147484196" r:id="rId120"/>
    <p:sldLayoutId id="2147484197" r:id="rId121"/>
    <p:sldLayoutId id="2147484198" r:id="rId122"/>
    <p:sldLayoutId id="2147484199" r:id="rId123"/>
    <p:sldLayoutId id="2147484200" r:id="rId124"/>
    <p:sldLayoutId id="2147484201" r:id="rId125"/>
    <p:sldLayoutId id="2147484202" r:id="rId126"/>
    <p:sldLayoutId id="2147484203" r:id="rId127"/>
    <p:sldLayoutId id="2147484204" r:id="rId128"/>
    <p:sldLayoutId id="2147484205" r:id="rId129"/>
    <p:sldLayoutId id="2147484206" r:id="rId130"/>
    <p:sldLayoutId id="2147484207" r:id="rId131"/>
    <p:sldLayoutId id="2147484208" r:id="rId132"/>
    <p:sldLayoutId id="2147484209" r:id="rId133"/>
    <p:sldLayoutId id="2147484210" r:id="rId134"/>
    <p:sldLayoutId id="2147484211" r:id="rId135"/>
    <p:sldLayoutId id="2147484212" r:id="rId136"/>
    <p:sldLayoutId id="2147484213" r:id="rId137"/>
    <p:sldLayoutId id="2147484214" r:id="rId138"/>
    <p:sldLayoutId id="2147484215" r:id="rId139"/>
    <p:sldLayoutId id="2147484216" r:id="rId140"/>
    <p:sldLayoutId id="2147484217" r:id="rId141"/>
    <p:sldLayoutId id="2147484218" r:id="rId142"/>
    <p:sldLayoutId id="2147484219" r:id="rId143"/>
    <p:sldLayoutId id="2147484220" r:id="rId144"/>
    <p:sldLayoutId id="2147484221" r:id="rId145"/>
    <p:sldLayoutId id="2147484222" r:id="rId146"/>
    <p:sldLayoutId id="2147484223" r:id="rId147"/>
    <p:sldLayoutId id="2147484224" r:id="rId148"/>
    <p:sldLayoutId id="2147484225" r:id="rId149"/>
    <p:sldLayoutId id="2147484226" r:id="rId150"/>
    <p:sldLayoutId id="2147484227" r:id="rId151"/>
    <p:sldLayoutId id="2147484228" r:id="rId152"/>
    <p:sldLayoutId id="2147484229" r:id="rId153"/>
    <p:sldLayoutId id="2147484230" r:id="rId154"/>
    <p:sldLayoutId id="2147484231" r:id="rId155"/>
    <p:sldLayoutId id="2147484232" r:id="rId156"/>
    <p:sldLayoutId id="2147484233" r:id="rId157"/>
    <p:sldLayoutId id="2147484234" r:id="rId158"/>
    <p:sldLayoutId id="2147484235" r:id="rId159"/>
    <p:sldLayoutId id="2147484236" r:id="rId160"/>
    <p:sldLayoutId id="2147484237" r:id="rId161"/>
    <p:sldLayoutId id="2147484238" r:id="rId162"/>
    <p:sldLayoutId id="2147484239" r:id="rId163"/>
    <p:sldLayoutId id="2147484240" r:id="rId164"/>
    <p:sldLayoutId id="2147484241" r:id="rId165"/>
    <p:sldLayoutId id="2147484242" r:id="rId166"/>
    <p:sldLayoutId id="2147484243" r:id="rId167"/>
    <p:sldLayoutId id="2147484244" r:id="rId168"/>
    <p:sldLayoutId id="2147484245" r:id="rId169"/>
    <p:sldLayoutId id="2147484246" r:id="rId170"/>
    <p:sldLayoutId id="2147484247" r:id="rId171"/>
    <p:sldLayoutId id="2147484248" r:id="rId172"/>
    <p:sldLayoutId id="2147484249" r:id="rId173"/>
    <p:sldLayoutId id="2147484250" r:id="rId174"/>
    <p:sldLayoutId id="2147484251" r:id="rId175"/>
    <p:sldLayoutId id="2147484252" r:id="rId176"/>
    <p:sldLayoutId id="2147484253" r:id="rId177"/>
    <p:sldLayoutId id="2147484254" r:id="rId178"/>
    <p:sldLayoutId id="2147484255" r:id="rId179"/>
    <p:sldLayoutId id="2147484256" r:id="rId180"/>
    <p:sldLayoutId id="2147484257" r:id="rId181"/>
    <p:sldLayoutId id="2147484258" r:id="rId182"/>
    <p:sldLayoutId id="2147484259" r:id="rId183"/>
    <p:sldLayoutId id="2147484260" r:id="rId184"/>
    <p:sldLayoutId id="2147484261" r:id="rId185"/>
    <p:sldLayoutId id="2147484262" r:id="rId186"/>
    <p:sldLayoutId id="2147484263" r:id="rId187"/>
    <p:sldLayoutId id="2147484264" r:id="rId188"/>
    <p:sldLayoutId id="2147484265" r:id="rId189"/>
    <p:sldLayoutId id="2147484266" r:id="rId190"/>
    <p:sldLayoutId id="2147484267" r:id="rId191"/>
    <p:sldLayoutId id="2147484268" r:id="rId192"/>
    <p:sldLayoutId id="2147484269" r:id="rId193"/>
    <p:sldLayoutId id="2147484270" r:id="rId194"/>
    <p:sldLayoutId id="2147484271" r:id="rId195"/>
    <p:sldLayoutId id="2147484272" r:id="rId196"/>
    <p:sldLayoutId id="2147484273" r:id="rId197"/>
    <p:sldLayoutId id="2147484274" r:id="rId198"/>
    <p:sldLayoutId id="2147484275" r:id="rId199"/>
    <p:sldLayoutId id="2147484276" r:id="rId200"/>
    <p:sldLayoutId id="2147484277" r:id="rId201"/>
    <p:sldLayoutId id="2147484278" r:id="rId202"/>
    <p:sldLayoutId id="2147484279" r:id="rId203"/>
    <p:sldLayoutId id="2147484280" r:id="rId204"/>
    <p:sldLayoutId id="2147484281" r:id="rId205"/>
    <p:sldLayoutId id="2147484282" r:id="rId206"/>
    <p:sldLayoutId id="2147484283" r:id="rId207"/>
    <p:sldLayoutId id="2147484284" r:id="rId208"/>
    <p:sldLayoutId id="2147484285" r:id="rId209"/>
    <p:sldLayoutId id="2147484286" r:id="rId210"/>
    <p:sldLayoutId id="2147484287" r:id="rId211"/>
    <p:sldLayoutId id="2147484288" r:id="rId212"/>
    <p:sldLayoutId id="2147484289" r:id="rId213"/>
    <p:sldLayoutId id="2147484290" r:id="rId214"/>
    <p:sldLayoutId id="2147484291" r:id="rId215"/>
    <p:sldLayoutId id="2147484292" r:id="rId216"/>
    <p:sldLayoutId id="2147484293" r:id="rId217"/>
    <p:sldLayoutId id="2147484294" r:id="rId218"/>
    <p:sldLayoutId id="2147484295" r:id="rId219"/>
    <p:sldLayoutId id="2147484296" r:id="rId220"/>
    <p:sldLayoutId id="2147484297" r:id="rId221"/>
    <p:sldLayoutId id="2147484298" r:id="rId222"/>
    <p:sldLayoutId id="2147484299" r:id="rId223"/>
    <p:sldLayoutId id="2147484300" r:id="rId224"/>
    <p:sldLayoutId id="2147484301" r:id="rId225"/>
    <p:sldLayoutId id="2147484302" r:id="rId226"/>
    <p:sldLayoutId id="2147484303" r:id="rId227"/>
    <p:sldLayoutId id="2147484304" r:id="rId228"/>
    <p:sldLayoutId id="2147484305" r:id="rId229"/>
    <p:sldLayoutId id="2147484306" r:id="rId230"/>
    <p:sldLayoutId id="2147484307" r:id="rId231"/>
    <p:sldLayoutId id="2147484308" r:id="rId232"/>
    <p:sldLayoutId id="2147484309" r:id="rId233"/>
    <p:sldLayoutId id="2147484310" r:id="rId234"/>
    <p:sldLayoutId id="2147484311" r:id="rId235"/>
    <p:sldLayoutId id="2147484312" r:id="rId236"/>
    <p:sldLayoutId id="2147484313" r:id="rId237"/>
    <p:sldLayoutId id="2147484314" r:id="rId238"/>
    <p:sldLayoutId id="2147484315" r:id="rId239"/>
    <p:sldLayoutId id="2147484316" r:id="rId240"/>
    <p:sldLayoutId id="2147484317" r:id="rId241"/>
    <p:sldLayoutId id="2147484318" r:id="rId242"/>
    <p:sldLayoutId id="2147484319" r:id="rId243"/>
    <p:sldLayoutId id="2147484320" r:id="rId244"/>
    <p:sldLayoutId id="2147484321" r:id="rId245"/>
    <p:sldLayoutId id="2147484322" r:id="rId246"/>
    <p:sldLayoutId id="2147484323" r:id="rId247"/>
    <p:sldLayoutId id="2147484324" r:id="rId248"/>
    <p:sldLayoutId id="2147484325" r:id="rId249"/>
    <p:sldLayoutId id="2147484326" r:id="rId250"/>
    <p:sldLayoutId id="2147484327" r:id="rId251"/>
    <p:sldLayoutId id="2147484328" r:id="rId252"/>
    <p:sldLayoutId id="2147484329" r:id="rId253"/>
    <p:sldLayoutId id="2147484330" r:id="rId254"/>
    <p:sldLayoutId id="2147484331" r:id="rId255"/>
    <p:sldLayoutId id="2147484332" r:id="rId256"/>
    <p:sldLayoutId id="2147484333" r:id="rId257"/>
    <p:sldLayoutId id="2147484334" r:id="rId258"/>
    <p:sldLayoutId id="2147484335" r:id="rId259"/>
    <p:sldLayoutId id="2147484336" r:id="rId260"/>
    <p:sldLayoutId id="2147484337" r:id="rId261"/>
    <p:sldLayoutId id="2147484338" r:id="rId262"/>
    <p:sldLayoutId id="2147484339" r:id="rId263"/>
    <p:sldLayoutId id="2147484340" r:id="rId264"/>
    <p:sldLayoutId id="2147484341" r:id="rId265"/>
    <p:sldLayoutId id="2147484342" r:id="rId266"/>
    <p:sldLayoutId id="2147484343" r:id="rId267"/>
    <p:sldLayoutId id="2147484344" r:id="rId268"/>
    <p:sldLayoutId id="2147484345" r:id="rId269"/>
    <p:sldLayoutId id="2147484346" r:id="rId270"/>
    <p:sldLayoutId id="2147484347" r:id="rId271"/>
    <p:sldLayoutId id="2147484348" r:id="rId272"/>
    <p:sldLayoutId id="2147484349" r:id="rId273"/>
    <p:sldLayoutId id="2147484350" r:id="rId274"/>
    <p:sldLayoutId id="2147484351" r:id="rId275"/>
    <p:sldLayoutId id="2147484352" r:id="rId276"/>
    <p:sldLayoutId id="2147484353" r:id="rId277"/>
    <p:sldLayoutId id="2147494145" r:id="rId278"/>
    <p:sldLayoutId id="2147484355" r:id="rId279"/>
    <p:sldLayoutId id="2147484356" r:id="rId280"/>
    <p:sldLayoutId id="2147484357" r:id="rId281"/>
    <p:sldLayoutId id="2147484358" r:id="rId282"/>
    <p:sldLayoutId id="2147484359" r:id="rId283"/>
    <p:sldLayoutId id="2147484360" r:id="rId284"/>
    <p:sldLayoutId id="2147484361" r:id="rId285"/>
    <p:sldLayoutId id="2147484362" r:id="rId286"/>
    <p:sldLayoutId id="2147484363" r:id="rId287"/>
    <p:sldLayoutId id="2147484364" r:id="rId288"/>
    <p:sldLayoutId id="2147484365" r:id="rId289"/>
    <p:sldLayoutId id="2147484366" r:id="rId290"/>
    <p:sldLayoutId id="2147484367" r:id="rId291"/>
    <p:sldLayoutId id="2147484368" r:id="rId292"/>
    <p:sldLayoutId id="2147484369" r:id="rId293"/>
    <p:sldLayoutId id="2147484370" r:id="rId294"/>
    <p:sldLayoutId id="2147484371" r:id="rId295"/>
    <p:sldLayoutId id="2147484372" r:id="rId296"/>
    <p:sldLayoutId id="2147484373" r:id="rId297"/>
    <p:sldLayoutId id="2147484374" r:id="rId298"/>
    <p:sldLayoutId id="2147484375" r:id="rId299"/>
    <p:sldLayoutId id="2147484376" r:id="rId300"/>
    <p:sldLayoutId id="2147484377" r:id="rId301"/>
    <p:sldLayoutId id="2147484378" r:id="rId302"/>
    <p:sldLayoutId id="2147484379" r:id="rId303"/>
    <p:sldLayoutId id="2147484380" r:id="rId304"/>
    <p:sldLayoutId id="2147484381" r:id="rId305"/>
    <p:sldLayoutId id="2147484382" r:id="rId306"/>
    <p:sldLayoutId id="2147484383" r:id="rId307"/>
    <p:sldLayoutId id="2147484384" r:id="rId308"/>
    <p:sldLayoutId id="2147484385" r:id="rId309"/>
    <p:sldLayoutId id="2147484386" r:id="rId310"/>
    <p:sldLayoutId id="2147484387" r:id="rId311"/>
    <p:sldLayoutId id="2147484388" r:id="rId312"/>
    <p:sldLayoutId id="2147484389" r:id="rId313"/>
    <p:sldLayoutId id="2147484390" r:id="rId314"/>
    <p:sldLayoutId id="2147484391" r:id="rId315"/>
    <p:sldLayoutId id="2147484392" r:id="rId316"/>
    <p:sldLayoutId id="2147484393" r:id="rId317"/>
    <p:sldLayoutId id="2147484394" r:id="rId318"/>
    <p:sldLayoutId id="2147484395" r:id="rId319"/>
    <p:sldLayoutId id="2147484396" r:id="rId320"/>
    <p:sldLayoutId id="2147484397" r:id="rId321"/>
    <p:sldLayoutId id="2147484398" r:id="rId322"/>
    <p:sldLayoutId id="2147484399" r:id="rId323"/>
    <p:sldLayoutId id="2147484400" r:id="rId324"/>
    <p:sldLayoutId id="2147484401" r:id="rId325"/>
    <p:sldLayoutId id="2147484402" r:id="rId326"/>
    <p:sldLayoutId id="2147484403" r:id="rId327"/>
    <p:sldLayoutId id="2147484404" r:id="rId328"/>
    <p:sldLayoutId id="2147484405" r:id="rId329"/>
    <p:sldLayoutId id="2147484406" r:id="rId330"/>
    <p:sldLayoutId id="2147484407" r:id="rId331"/>
    <p:sldLayoutId id="2147484408" r:id="rId332"/>
    <p:sldLayoutId id="2147484409" r:id="rId333"/>
    <p:sldLayoutId id="2147484410" r:id="rId334"/>
    <p:sldLayoutId id="2147484411" r:id="rId335"/>
    <p:sldLayoutId id="2147484412" r:id="rId336"/>
    <p:sldLayoutId id="2147484413" r:id="rId337"/>
    <p:sldLayoutId id="2147484414" r:id="rId338"/>
    <p:sldLayoutId id="2147484415" r:id="rId339"/>
    <p:sldLayoutId id="2147484416" r:id="rId340"/>
    <p:sldLayoutId id="2147484417" r:id="rId341"/>
    <p:sldLayoutId id="2147494111" r:id="rId342"/>
    <p:sldLayoutId id="2147484419" r:id="rId343"/>
    <p:sldLayoutId id="2147484420" r:id="rId344"/>
    <p:sldLayoutId id="2147484421" r:id="rId345"/>
    <p:sldLayoutId id="2147484422" r:id="rId346"/>
    <p:sldLayoutId id="2147484423" r:id="rId347"/>
    <p:sldLayoutId id="2147484424" r:id="rId348"/>
    <p:sldLayoutId id="2147484425" r:id="rId349"/>
    <p:sldLayoutId id="2147484426" r:id="rId350"/>
    <p:sldLayoutId id="2147484427" r:id="rId351"/>
    <p:sldLayoutId id="2147484428" r:id="rId352"/>
    <p:sldLayoutId id="2147484429" r:id="rId353"/>
    <p:sldLayoutId id="2147484430" r:id="rId354"/>
    <p:sldLayoutId id="2147484431" r:id="rId355"/>
    <p:sldLayoutId id="2147484432" r:id="rId356"/>
    <p:sldLayoutId id="2147484433" r:id="rId357"/>
    <p:sldLayoutId id="2147484434" r:id="rId358"/>
    <p:sldLayoutId id="2147484435" r:id="rId359"/>
    <p:sldLayoutId id="2147484436" r:id="rId360"/>
    <p:sldLayoutId id="2147484437" r:id="rId361"/>
    <p:sldLayoutId id="2147484438" r:id="rId362"/>
    <p:sldLayoutId id="2147484439" r:id="rId363"/>
    <p:sldLayoutId id="2147484440" r:id="rId364"/>
    <p:sldLayoutId id="2147484441" r:id="rId365"/>
    <p:sldLayoutId id="2147484442" r:id="rId366"/>
    <p:sldLayoutId id="2147484443" r:id="rId367"/>
    <p:sldLayoutId id="2147484444" r:id="rId368"/>
    <p:sldLayoutId id="2147484445" r:id="rId369"/>
    <p:sldLayoutId id="2147484446" r:id="rId370"/>
    <p:sldLayoutId id="2147484447" r:id="rId371"/>
    <p:sldLayoutId id="2147484448" r:id="rId372"/>
    <p:sldLayoutId id="2147484449" r:id="rId373"/>
    <p:sldLayoutId id="2147484450" r:id="rId374"/>
    <p:sldLayoutId id="2147484451" r:id="rId375"/>
    <p:sldLayoutId id="2147484452" r:id="rId376"/>
    <p:sldLayoutId id="2147484453" r:id="rId377"/>
    <p:sldLayoutId id="2147484454" r:id="rId378"/>
    <p:sldLayoutId id="2147484455" r:id="rId379"/>
    <p:sldLayoutId id="2147484456" r:id="rId380"/>
    <p:sldLayoutId id="2147484457" r:id="rId381"/>
    <p:sldLayoutId id="2147484458" r:id="rId382"/>
    <p:sldLayoutId id="2147484459" r:id="rId383"/>
    <p:sldLayoutId id="2147484460" r:id="rId384"/>
    <p:sldLayoutId id="2147484461" r:id="rId385"/>
    <p:sldLayoutId id="2147484462" r:id="rId386"/>
    <p:sldLayoutId id="2147484463" r:id="rId387"/>
    <p:sldLayoutId id="2147484464" r:id="rId388"/>
    <p:sldLayoutId id="2147484465" r:id="rId389"/>
    <p:sldLayoutId id="2147484466" r:id="rId390"/>
    <p:sldLayoutId id="2147484467" r:id="rId391"/>
    <p:sldLayoutId id="2147484468" r:id="rId392"/>
    <p:sldLayoutId id="2147484469" r:id="rId393"/>
    <p:sldLayoutId id="2147484470" r:id="rId394"/>
    <p:sldLayoutId id="2147484471" r:id="rId395"/>
    <p:sldLayoutId id="2147484472" r:id="rId396"/>
    <p:sldLayoutId id="2147484473" r:id="rId397"/>
    <p:sldLayoutId id="2147484474" r:id="rId398"/>
    <p:sldLayoutId id="2147494109" r:id="rId399"/>
    <p:sldLayoutId id="2147484476" r:id="rId400"/>
    <p:sldLayoutId id="2147484477" r:id="rId401"/>
    <p:sldLayoutId id="2147484478" r:id="rId402"/>
    <p:sldLayoutId id="2147484479" r:id="rId403"/>
    <p:sldLayoutId id="2147484480" r:id="rId404"/>
    <p:sldLayoutId id="2147484481" r:id="rId405"/>
    <p:sldLayoutId id="2147484482" r:id="rId406"/>
    <p:sldLayoutId id="2147484483" r:id="rId407"/>
    <p:sldLayoutId id="2147484484" r:id="rId408"/>
    <p:sldLayoutId id="2147484485" r:id="rId409"/>
    <p:sldLayoutId id="2147484486" r:id="rId410"/>
    <p:sldLayoutId id="2147484487" r:id="rId411"/>
    <p:sldLayoutId id="2147484488" r:id="rId412"/>
    <p:sldLayoutId id="2147484489" r:id="rId413"/>
    <p:sldLayoutId id="2147484490" r:id="rId414"/>
    <p:sldLayoutId id="2147484491" r:id="rId415"/>
    <p:sldLayoutId id="2147484492" r:id="rId416"/>
    <p:sldLayoutId id="2147484493" r:id="rId417"/>
    <p:sldLayoutId id="2147484494" r:id="rId418"/>
    <p:sldLayoutId id="2147484495" r:id="rId419"/>
    <p:sldLayoutId id="2147484496" r:id="rId420"/>
    <p:sldLayoutId id="2147484497" r:id="rId421"/>
    <p:sldLayoutId id="2147484498" r:id="rId422"/>
    <p:sldLayoutId id="2147484499" r:id="rId423"/>
    <p:sldLayoutId id="2147484500" r:id="rId424"/>
    <p:sldLayoutId id="2147484501" r:id="rId425"/>
    <p:sldLayoutId id="2147484502" r:id="rId426"/>
    <p:sldLayoutId id="2147484503" r:id="rId427"/>
    <p:sldLayoutId id="2147484504" r:id="rId428"/>
    <p:sldLayoutId id="2147484505" r:id="rId4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9" name="Google Shape;8209;g3681a448973_2_532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10" name="Google Shape;8210;g3681a448973_2_532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11" name="Google Shape;8211;g3681a448973_2_53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212" name="Google Shape;8212;g3681a448973_2_53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  <p:sldLayoutId id="2147484512" r:id="rId6"/>
    <p:sldLayoutId id="2147484513" r:id="rId7"/>
    <p:sldLayoutId id="2147484514" r:id="rId8"/>
    <p:sldLayoutId id="2147484515" r:id="rId9"/>
    <p:sldLayoutId id="2147484516" r:id="rId10"/>
    <p:sldLayoutId id="2147484517" r:id="rId11"/>
    <p:sldLayoutId id="2147484518" r:id="rId12"/>
    <p:sldLayoutId id="2147484519" r:id="rId13"/>
    <p:sldLayoutId id="2147484520" r:id="rId14"/>
    <p:sldLayoutId id="2147484521" r:id="rId15"/>
    <p:sldLayoutId id="2147484522" r:id="rId16"/>
    <p:sldLayoutId id="2147484523" r:id="rId17"/>
    <p:sldLayoutId id="2147484524" r:id="rId18"/>
    <p:sldLayoutId id="2147484525" r:id="rId19"/>
    <p:sldLayoutId id="2147484526" r:id="rId20"/>
    <p:sldLayoutId id="2147484527" r:id="rId21"/>
    <p:sldLayoutId id="2147484528" r:id="rId22"/>
    <p:sldLayoutId id="2147484529" r:id="rId23"/>
    <p:sldLayoutId id="2147484530" r:id="rId24"/>
    <p:sldLayoutId id="2147484531" r:id="rId25"/>
    <p:sldLayoutId id="2147484532" r:id="rId26"/>
    <p:sldLayoutId id="2147484533" r:id="rId27"/>
    <p:sldLayoutId id="2147484534" r:id="rId28"/>
    <p:sldLayoutId id="2147484535" r:id="rId29"/>
    <p:sldLayoutId id="2147484536" r:id="rId30"/>
    <p:sldLayoutId id="2147484537" r:id="rId31"/>
    <p:sldLayoutId id="2147484538" r:id="rId32"/>
    <p:sldLayoutId id="2147484539" r:id="rId33"/>
    <p:sldLayoutId id="2147484540" r:id="rId34"/>
    <p:sldLayoutId id="2147484541" r:id="rId35"/>
    <p:sldLayoutId id="2147484542" r:id="rId36"/>
    <p:sldLayoutId id="2147484543" r:id="rId37"/>
    <p:sldLayoutId id="2147484544" r:id="rId38"/>
    <p:sldLayoutId id="2147484545" r:id="rId39"/>
    <p:sldLayoutId id="2147484546" r:id="rId40"/>
    <p:sldLayoutId id="2147484547" r:id="rId41"/>
    <p:sldLayoutId id="2147484548" r:id="rId42"/>
    <p:sldLayoutId id="2147484549" r:id="rId43"/>
    <p:sldLayoutId id="2147484550" r:id="rId44"/>
    <p:sldLayoutId id="2147484551" r:id="rId45"/>
    <p:sldLayoutId id="2147484552" r:id="rId46"/>
    <p:sldLayoutId id="2147484553" r:id="rId47"/>
    <p:sldLayoutId id="2147484554" r:id="rId48"/>
    <p:sldLayoutId id="2147484555" r:id="rId49"/>
    <p:sldLayoutId id="2147484556" r:id="rId50"/>
    <p:sldLayoutId id="2147494074" r:id="rId51"/>
    <p:sldLayoutId id="2147484558" r:id="rId52"/>
    <p:sldLayoutId id="2147494106" r:id="rId53"/>
    <p:sldLayoutId id="2147484560" r:id="rId54"/>
    <p:sldLayoutId id="2147484561" r:id="rId55"/>
    <p:sldLayoutId id="2147484562" r:id="rId56"/>
    <p:sldLayoutId id="2147494079" r:id="rId57"/>
    <p:sldLayoutId id="2147484564" r:id="rId58"/>
    <p:sldLayoutId id="2147484565" r:id="rId59"/>
    <p:sldLayoutId id="2147494119" r:id="rId60"/>
    <p:sldLayoutId id="2147484567" r:id="rId61"/>
    <p:sldLayoutId id="2147484568" r:id="rId62"/>
    <p:sldLayoutId id="2147484569" r:id="rId63"/>
    <p:sldLayoutId id="2147494085" r:id="rId64"/>
    <p:sldLayoutId id="2147484571" r:id="rId65"/>
    <p:sldLayoutId id="2147494087" r:id="rId66"/>
    <p:sldLayoutId id="2147484573" r:id="rId67"/>
    <p:sldLayoutId id="2147484574" r:id="rId68"/>
    <p:sldLayoutId id="2147484575" r:id="rId69"/>
    <p:sldLayoutId id="2147484576" r:id="rId70"/>
    <p:sldLayoutId id="2147484577" r:id="rId71"/>
    <p:sldLayoutId id="2147484578" r:id="rId72"/>
    <p:sldLayoutId id="2147484579" r:id="rId73"/>
    <p:sldLayoutId id="2147484580" r:id="rId74"/>
    <p:sldLayoutId id="2147484581" r:id="rId75"/>
    <p:sldLayoutId id="2147484582" r:id="rId76"/>
    <p:sldLayoutId id="2147484583" r:id="rId77"/>
    <p:sldLayoutId id="2147484584" r:id="rId78"/>
    <p:sldLayoutId id="2147484585" r:id="rId79"/>
    <p:sldLayoutId id="2147484586" r:id="rId80"/>
    <p:sldLayoutId id="2147484587" r:id="rId81"/>
    <p:sldLayoutId id="2147484588" r:id="rId82"/>
    <p:sldLayoutId id="2147484589" r:id="rId83"/>
    <p:sldLayoutId id="2147484590" r:id="rId84"/>
    <p:sldLayoutId id="2147484591" r:id="rId85"/>
    <p:sldLayoutId id="2147484592" r:id="rId86"/>
    <p:sldLayoutId id="2147484593" r:id="rId87"/>
    <p:sldLayoutId id="2147484594" r:id="rId88"/>
    <p:sldLayoutId id="2147484595" r:id="rId89"/>
    <p:sldLayoutId id="2147484596" r:id="rId90"/>
    <p:sldLayoutId id="2147484597" r:id="rId91"/>
    <p:sldLayoutId id="2147484598" r:id="rId92"/>
    <p:sldLayoutId id="2147484599" r:id="rId93"/>
    <p:sldLayoutId id="2147484600" r:id="rId94"/>
    <p:sldLayoutId id="2147484601" r:id="rId95"/>
    <p:sldLayoutId id="2147484602" r:id="rId96"/>
    <p:sldLayoutId id="2147484603" r:id="rId97"/>
    <p:sldLayoutId id="2147484604" r:id="rId98"/>
    <p:sldLayoutId id="2147484605" r:id="rId99"/>
    <p:sldLayoutId id="2147484606" r:id="rId100"/>
    <p:sldLayoutId id="2147484607" r:id="rId101"/>
    <p:sldLayoutId id="2147484608" r:id="rId102"/>
    <p:sldLayoutId id="2147484609" r:id="rId103"/>
    <p:sldLayoutId id="2147484610" r:id="rId104"/>
    <p:sldLayoutId id="2147484611" r:id="rId105"/>
    <p:sldLayoutId id="2147484612" r:id="rId106"/>
    <p:sldLayoutId id="2147484613" r:id="rId107"/>
    <p:sldLayoutId id="2147484614" r:id="rId108"/>
    <p:sldLayoutId id="2147484615" r:id="rId109"/>
    <p:sldLayoutId id="2147484616" r:id="rId110"/>
    <p:sldLayoutId id="2147484617" r:id="rId111"/>
    <p:sldLayoutId id="2147484618" r:id="rId112"/>
    <p:sldLayoutId id="2147484619" r:id="rId113"/>
    <p:sldLayoutId id="2147484620" r:id="rId114"/>
    <p:sldLayoutId id="2147484621" r:id="rId115"/>
    <p:sldLayoutId id="2147484622" r:id="rId116"/>
    <p:sldLayoutId id="2147484623" r:id="rId117"/>
    <p:sldLayoutId id="2147484624" r:id="rId118"/>
    <p:sldLayoutId id="2147484625" r:id="rId119"/>
    <p:sldLayoutId id="2147484626" r:id="rId120"/>
    <p:sldLayoutId id="2147484627" r:id="rId121"/>
    <p:sldLayoutId id="2147484628" r:id="rId122"/>
    <p:sldLayoutId id="2147484629" r:id="rId123"/>
    <p:sldLayoutId id="2147484630" r:id="rId124"/>
    <p:sldLayoutId id="2147484631" r:id="rId125"/>
    <p:sldLayoutId id="2147484632" r:id="rId126"/>
    <p:sldLayoutId id="2147484633" r:id="rId127"/>
    <p:sldLayoutId id="2147484634" r:id="rId128"/>
    <p:sldLayoutId id="2147484635" r:id="rId129"/>
    <p:sldLayoutId id="2147484636" r:id="rId130"/>
    <p:sldLayoutId id="2147484637" r:id="rId131"/>
    <p:sldLayoutId id="2147484638" r:id="rId132"/>
    <p:sldLayoutId id="2147484639" r:id="rId133"/>
    <p:sldLayoutId id="2147484640" r:id="rId134"/>
    <p:sldLayoutId id="2147484641" r:id="rId135"/>
    <p:sldLayoutId id="2147484642" r:id="rId136"/>
    <p:sldLayoutId id="2147484643" r:id="rId137"/>
    <p:sldLayoutId id="2147484644" r:id="rId138"/>
    <p:sldLayoutId id="2147484645" r:id="rId139"/>
    <p:sldLayoutId id="2147484646" r:id="rId140"/>
    <p:sldLayoutId id="2147484647" r:id="rId141"/>
    <p:sldLayoutId id="2147484648" r:id="rId142"/>
    <p:sldLayoutId id="2147484649" r:id="rId143"/>
    <p:sldLayoutId id="2147484650" r:id="rId144"/>
    <p:sldLayoutId id="2147484651" r:id="rId145"/>
    <p:sldLayoutId id="2147484652" r:id="rId146"/>
    <p:sldLayoutId id="2147484653" r:id="rId147"/>
    <p:sldLayoutId id="2147484654" r:id="rId148"/>
    <p:sldLayoutId id="2147484655" r:id="rId149"/>
    <p:sldLayoutId id="2147494075" r:id="rId150"/>
    <p:sldLayoutId id="2147484657" r:id="rId151"/>
    <p:sldLayoutId id="2147484658" r:id="rId152"/>
    <p:sldLayoutId id="2147484659" r:id="rId153"/>
    <p:sldLayoutId id="2147484660" r:id="rId154"/>
    <p:sldLayoutId id="2147484661" r:id="rId155"/>
    <p:sldLayoutId id="2147484662" r:id="rId156"/>
    <p:sldLayoutId id="2147484663" r:id="rId157"/>
    <p:sldLayoutId id="2147484664" r:id="rId158"/>
    <p:sldLayoutId id="2147484665" r:id="rId159"/>
    <p:sldLayoutId id="2147484666" r:id="rId160"/>
    <p:sldLayoutId id="2147484667" r:id="rId161"/>
    <p:sldLayoutId id="2147484668" r:id="rId162"/>
    <p:sldLayoutId id="2147484669" r:id="rId163"/>
    <p:sldLayoutId id="2147484670" r:id="rId164"/>
    <p:sldLayoutId id="2147494089" r:id="rId165"/>
    <p:sldLayoutId id="2147494090" r:id="rId166"/>
    <p:sldLayoutId id="2147484673" r:id="rId167"/>
    <p:sldLayoutId id="2147484674" r:id="rId168"/>
    <p:sldLayoutId id="2147484675" r:id="rId169"/>
    <p:sldLayoutId id="2147484676" r:id="rId170"/>
    <p:sldLayoutId id="2147484677" r:id="rId171"/>
    <p:sldLayoutId id="2147484678" r:id="rId172"/>
    <p:sldLayoutId id="2147484679" r:id="rId173"/>
    <p:sldLayoutId id="2147484680" r:id="rId174"/>
    <p:sldLayoutId id="2147484681" r:id="rId175"/>
    <p:sldLayoutId id="2147494091" r:id="rId176"/>
    <p:sldLayoutId id="2147494092" r:id="rId177"/>
    <p:sldLayoutId id="2147494093" r:id="rId178"/>
    <p:sldLayoutId id="2147484685" r:id="rId179"/>
    <p:sldLayoutId id="2147484686" r:id="rId180"/>
    <p:sldLayoutId id="2147494094" r:id="rId181"/>
    <p:sldLayoutId id="2147494095" r:id="rId182"/>
    <p:sldLayoutId id="2147494096" r:id="rId183"/>
    <p:sldLayoutId id="2147484690" r:id="rId184"/>
    <p:sldLayoutId id="2147494097" r:id="rId185"/>
    <p:sldLayoutId id="2147484692" r:id="rId186"/>
    <p:sldLayoutId id="2147484693" r:id="rId187"/>
    <p:sldLayoutId id="2147484694" r:id="rId188"/>
    <p:sldLayoutId id="2147494076" r:id="rId189"/>
    <p:sldLayoutId id="2147494077" r:id="rId190"/>
    <p:sldLayoutId id="2147484697" r:id="rId191"/>
    <p:sldLayoutId id="2147484698" r:id="rId192"/>
    <p:sldLayoutId id="2147484699" r:id="rId193"/>
    <p:sldLayoutId id="2147484700" r:id="rId194"/>
    <p:sldLayoutId id="2147484701" r:id="rId195"/>
    <p:sldLayoutId id="2147484702" r:id="rId196"/>
    <p:sldLayoutId id="2147494102" r:id="rId197"/>
    <p:sldLayoutId id="2147484704" r:id="rId198"/>
    <p:sldLayoutId id="2147494104" r:id="rId199"/>
    <p:sldLayoutId id="2147494105" r:id="rId200"/>
    <p:sldLayoutId id="2147484707" r:id="rId201"/>
    <p:sldLayoutId id="2147484708" r:id="rId202"/>
    <p:sldLayoutId id="2147484709" r:id="rId203"/>
    <p:sldLayoutId id="2147484710" r:id="rId204"/>
    <p:sldLayoutId id="2147484711" r:id="rId205"/>
    <p:sldLayoutId id="2147484712" r:id="rId206"/>
    <p:sldLayoutId id="2147484713" r:id="rId207"/>
    <p:sldLayoutId id="2147494107" r:id="rId208"/>
    <p:sldLayoutId id="2147484715" r:id="rId209"/>
    <p:sldLayoutId id="2147484716" r:id="rId210"/>
    <p:sldLayoutId id="2147484717" r:id="rId211"/>
    <p:sldLayoutId id="2147484718" r:id="rId212"/>
    <p:sldLayoutId id="2147484719" r:id="rId213"/>
    <p:sldLayoutId id="2147484720" r:id="rId214"/>
    <p:sldLayoutId id="2147484721" r:id="rId215"/>
    <p:sldLayoutId id="2147484722" r:id="rId216"/>
    <p:sldLayoutId id="2147484723" r:id="rId217"/>
    <p:sldLayoutId id="2147484724" r:id="rId218"/>
    <p:sldLayoutId id="2147484725" r:id="rId219"/>
    <p:sldLayoutId id="2147484726" r:id="rId220"/>
    <p:sldLayoutId id="2147484727" r:id="rId221"/>
    <p:sldLayoutId id="2147484728" r:id="rId222"/>
    <p:sldLayoutId id="2147484729" r:id="rId223"/>
    <p:sldLayoutId id="2147484730" r:id="rId224"/>
    <p:sldLayoutId id="2147484731" r:id="rId225"/>
    <p:sldLayoutId id="2147484732" r:id="rId226"/>
    <p:sldLayoutId id="2147484733" r:id="rId227"/>
    <p:sldLayoutId id="2147484734" r:id="rId228"/>
    <p:sldLayoutId id="2147484735" r:id="rId229"/>
    <p:sldLayoutId id="2147484736" r:id="rId230"/>
    <p:sldLayoutId id="2147484737" r:id="rId231"/>
    <p:sldLayoutId id="2147484738" r:id="rId232"/>
    <p:sldLayoutId id="2147484739" r:id="rId233"/>
    <p:sldLayoutId id="2147484740" r:id="rId234"/>
    <p:sldLayoutId id="2147484741" r:id="rId235"/>
    <p:sldLayoutId id="2147494120" r:id="rId236"/>
    <p:sldLayoutId id="2147484743" r:id="rId237"/>
    <p:sldLayoutId id="2147484744" r:id="rId238"/>
    <p:sldLayoutId id="2147484745" r:id="rId239"/>
    <p:sldLayoutId id="2147484746" r:id="rId240"/>
    <p:sldLayoutId id="2147484747" r:id="rId241"/>
    <p:sldLayoutId id="2147484748" r:id="rId242"/>
    <p:sldLayoutId id="2147484749" r:id="rId243"/>
    <p:sldLayoutId id="2147484750" r:id="rId244"/>
    <p:sldLayoutId id="2147484751" r:id="rId245"/>
    <p:sldLayoutId id="2147484752" r:id="rId246"/>
    <p:sldLayoutId id="2147484753" r:id="rId247"/>
    <p:sldLayoutId id="2147484754" r:id="rId248"/>
    <p:sldLayoutId id="2147484755" r:id="rId249"/>
    <p:sldLayoutId id="2147484756" r:id="rId250"/>
    <p:sldLayoutId id="2147484757" r:id="rId251"/>
    <p:sldLayoutId id="2147494124" r:id="rId252"/>
    <p:sldLayoutId id="2147494125" r:id="rId253"/>
    <p:sldLayoutId id="2147494126" r:id="rId254"/>
    <p:sldLayoutId id="2147484761" r:id="rId255"/>
    <p:sldLayoutId id="2147494127" r:id="rId256"/>
    <p:sldLayoutId id="2147494128" r:id="rId257"/>
    <p:sldLayoutId id="2147494129" r:id="rId258"/>
    <p:sldLayoutId id="2147484765" r:id="rId259"/>
    <p:sldLayoutId id="2147484766" r:id="rId260"/>
    <p:sldLayoutId id="2147484767" r:id="rId261"/>
    <p:sldLayoutId id="2147484768" r:id="rId262"/>
    <p:sldLayoutId id="2147484769" r:id="rId263"/>
    <p:sldLayoutId id="2147484770" r:id="rId264"/>
    <p:sldLayoutId id="2147484771" r:id="rId265"/>
    <p:sldLayoutId id="2147484772" r:id="rId266"/>
    <p:sldLayoutId id="2147484773" r:id="rId267"/>
    <p:sldLayoutId id="2147484774" r:id="rId268"/>
    <p:sldLayoutId id="2147494121" r:id="rId269"/>
    <p:sldLayoutId id="2147494122" r:id="rId270"/>
    <p:sldLayoutId id="2147494123" r:id="rId271"/>
    <p:sldLayoutId id="2147484778" r:id="rId272"/>
    <p:sldLayoutId id="2147484779" r:id="rId273"/>
    <p:sldLayoutId id="2147484780" r:id="rId274"/>
    <p:sldLayoutId id="2147484781" r:id="rId275"/>
    <p:sldLayoutId id="2147484782" r:id="rId276"/>
    <p:sldLayoutId id="2147484783" r:id="rId277"/>
    <p:sldLayoutId id="2147484784" r:id="rId278"/>
    <p:sldLayoutId id="2147484785" r:id="rId279"/>
    <p:sldLayoutId id="2147484786" r:id="rId280"/>
    <p:sldLayoutId id="2147484787" r:id="rId281"/>
    <p:sldLayoutId id="2147484788" r:id="rId282"/>
    <p:sldLayoutId id="2147484789" r:id="rId283"/>
    <p:sldLayoutId id="2147484790" r:id="rId284"/>
    <p:sldLayoutId id="2147484791" r:id="rId285"/>
    <p:sldLayoutId id="2147484792" r:id="rId286"/>
    <p:sldLayoutId id="2147484793" r:id="rId287"/>
    <p:sldLayoutId id="2147484794" r:id="rId288"/>
    <p:sldLayoutId id="2147484795" r:id="rId289"/>
    <p:sldLayoutId id="2147484796" r:id="rId290"/>
    <p:sldLayoutId id="2147484797" r:id="rId291"/>
    <p:sldLayoutId id="2147484798" r:id="rId292"/>
    <p:sldLayoutId id="2147494130" r:id="rId293"/>
    <p:sldLayoutId id="2147484800" r:id="rId294"/>
    <p:sldLayoutId id="2147484801" r:id="rId295"/>
    <p:sldLayoutId id="2147494131" r:id="rId296"/>
    <p:sldLayoutId id="2147484803" r:id="rId297"/>
    <p:sldLayoutId id="2147484804" r:id="rId298"/>
    <p:sldLayoutId id="2147484805" r:id="rId299"/>
    <p:sldLayoutId id="2147484806" r:id="rId300"/>
    <p:sldLayoutId id="2147484807" r:id="rId301"/>
    <p:sldLayoutId id="2147484808" r:id="rId302"/>
    <p:sldLayoutId id="2147484809" r:id="rId303"/>
    <p:sldLayoutId id="2147494133" r:id="rId304"/>
    <p:sldLayoutId id="2147484811" r:id="rId305"/>
    <p:sldLayoutId id="2147484812" r:id="rId306"/>
    <p:sldLayoutId id="2147484813" r:id="rId307"/>
    <p:sldLayoutId id="2147484814" r:id="rId308"/>
    <p:sldLayoutId id="2147484815" r:id="rId309"/>
    <p:sldLayoutId id="2147484816" r:id="rId310"/>
    <p:sldLayoutId id="2147484817" r:id="rId311"/>
    <p:sldLayoutId id="2147484818" r:id="rId312"/>
    <p:sldLayoutId id="2147484819" r:id="rId313"/>
    <p:sldLayoutId id="2147484820" r:id="rId314"/>
    <p:sldLayoutId id="2147484821" r:id="rId315"/>
    <p:sldLayoutId id="2147484822" r:id="rId316"/>
    <p:sldLayoutId id="2147484823" r:id="rId317"/>
    <p:sldLayoutId id="2147484824" r:id="rId318"/>
    <p:sldLayoutId id="2147484825" r:id="rId319"/>
    <p:sldLayoutId id="2147484826" r:id="rId320"/>
    <p:sldLayoutId id="2147484827" r:id="rId321"/>
    <p:sldLayoutId id="2147484828" r:id="rId322"/>
    <p:sldLayoutId id="2147484829" r:id="rId323"/>
    <p:sldLayoutId id="2147484830" r:id="rId324"/>
    <p:sldLayoutId id="2147484831" r:id="rId325"/>
    <p:sldLayoutId id="2147494134" r:id="rId326"/>
    <p:sldLayoutId id="2147494135" r:id="rId327"/>
    <p:sldLayoutId id="2147494136" r:id="rId328"/>
    <p:sldLayoutId id="2147484835" r:id="rId329"/>
    <p:sldLayoutId id="2147484836" r:id="rId330"/>
    <p:sldLayoutId id="2147484837" r:id="rId331"/>
    <p:sldLayoutId id="2147484838" r:id="rId332"/>
    <p:sldLayoutId id="2147484839" r:id="rId333"/>
    <p:sldLayoutId id="2147484840" r:id="rId334"/>
    <p:sldLayoutId id="2147494137" r:id="rId335"/>
    <p:sldLayoutId id="2147484842" r:id="rId336"/>
    <p:sldLayoutId id="2147484843" r:id="rId337"/>
    <p:sldLayoutId id="2147484844" r:id="rId338"/>
    <p:sldLayoutId id="2147484845" r:id="rId339"/>
    <p:sldLayoutId id="2147484846" r:id="rId340"/>
    <p:sldLayoutId id="2147494138" r:id="rId341"/>
    <p:sldLayoutId id="2147484848" r:id="rId342"/>
    <p:sldLayoutId id="2147484849" r:id="rId343"/>
    <p:sldLayoutId id="2147484850" r:id="rId344"/>
    <p:sldLayoutId id="2147484851" r:id="rId345"/>
    <p:sldLayoutId id="2147484852" r:id="rId346"/>
    <p:sldLayoutId id="2147484853" r:id="rId347"/>
    <p:sldLayoutId id="2147484854" r:id="rId348"/>
    <p:sldLayoutId id="2147484855" r:id="rId349"/>
    <p:sldLayoutId id="2147484856" r:id="rId350"/>
    <p:sldLayoutId id="2147484857" r:id="rId351"/>
    <p:sldLayoutId id="2147484858" r:id="rId352"/>
    <p:sldLayoutId id="2147484859" r:id="rId353"/>
    <p:sldLayoutId id="2147484860" r:id="rId354"/>
    <p:sldLayoutId id="2147484861" r:id="rId355"/>
    <p:sldLayoutId id="2147484862" r:id="rId356"/>
    <p:sldLayoutId id="2147484863" r:id="rId357"/>
    <p:sldLayoutId id="2147494142" r:id="rId358"/>
    <p:sldLayoutId id="2147494143" r:id="rId359"/>
    <p:sldLayoutId id="2147494144" r:id="rId360"/>
    <p:sldLayoutId id="2147484867" r:id="rId361"/>
    <p:sldLayoutId id="2147484868" r:id="rId362"/>
    <p:sldLayoutId id="2147484869" r:id="rId363"/>
    <p:sldLayoutId id="2147484870" r:id="rId364"/>
    <p:sldLayoutId id="2147484871" r:id="rId365"/>
    <p:sldLayoutId id="2147484872" r:id="rId366"/>
    <p:sldLayoutId id="2147494148" r:id="rId367"/>
    <p:sldLayoutId id="2147484874" r:id="rId368"/>
    <p:sldLayoutId id="2147484875" r:id="rId369"/>
    <p:sldLayoutId id="2147484876" r:id="rId370"/>
    <p:sldLayoutId id="2147484877" r:id="rId371"/>
    <p:sldLayoutId id="2147484878" r:id="rId372"/>
    <p:sldLayoutId id="2147484879" r:id="rId373"/>
    <p:sldLayoutId id="2147484880" r:id="rId374"/>
    <p:sldLayoutId id="2147484881" r:id="rId375"/>
    <p:sldLayoutId id="2147484882" r:id="rId376"/>
    <p:sldLayoutId id="2147484883" r:id="rId377"/>
    <p:sldLayoutId id="2147484884" r:id="rId378"/>
    <p:sldLayoutId id="2147484885" r:id="rId379"/>
    <p:sldLayoutId id="2147484886" r:id="rId380"/>
    <p:sldLayoutId id="2147484887" r:id="rId381"/>
    <p:sldLayoutId id="2147484888" r:id="rId382"/>
    <p:sldLayoutId id="2147484889" r:id="rId383"/>
    <p:sldLayoutId id="2147484890" r:id="rId384"/>
    <p:sldLayoutId id="2147484891" r:id="rId385"/>
    <p:sldLayoutId id="2147484892" r:id="rId386"/>
    <p:sldLayoutId id="2147484893" r:id="rId387"/>
    <p:sldLayoutId id="2147484894" r:id="rId388"/>
    <p:sldLayoutId id="2147484895" r:id="rId389"/>
    <p:sldLayoutId id="2147484896" r:id="rId390"/>
    <p:sldLayoutId id="2147484897" r:id="rId391"/>
    <p:sldLayoutId id="2147484898" r:id="rId392"/>
    <p:sldLayoutId id="2147484899" r:id="rId393"/>
    <p:sldLayoutId id="2147484900" r:id="rId394"/>
    <p:sldLayoutId id="2147484901" r:id="rId395"/>
    <p:sldLayoutId id="2147484902" r:id="rId396"/>
    <p:sldLayoutId id="2147484903" r:id="rId397"/>
    <p:sldLayoutId id="2147484904" r:id="rId398"/>
    <p:sldLayoutId id="2147484905" r:id="rId399"/>
    <p:sldLayoutId id="2147484906" r:id="rId400"/>
    <p:sldLayoutId id="2147484907" r:id="rId401"/>
    <p:sldLayoutId id="2147484908" r:id="rId402"/>
    <p:sldLayoutId id="2147484909" r:id="rId403"/>
    <p:sldLayoutId id="2147484910" r:id="rId404"/>
    <p:sldLayoutId id="2147484911" r:id="rId405"/>
    <p:sldLayoutId id="2147484912" r:id="rId406"/>
    <p:sldLayoutId id="2147484913" r:id="rId407"/>
    <p:sldLayoutId id="2147484914" r:id="rId408"/>
    <p:sldLayoutId id="2147484915" r:id="rId409"/>
    <p:sldLayoutId id="2147484916" r:id="rId410"/>
    <p:sldLayoutId id="2147484917" r:id="rId411"/>
    <p:sldLayoutId id="2147484918" r:id="rId412"/>
    <p:sldLayoutId id="2147484919" r:id="rId413"/>
    <p:sldLayoutId id="2147484920" r:id="rId414"/>
    <p:sldLayoutId id="2147484921" r:id="rId415"/>
    <p:sldLayoutId id="2147484922" r:id="rId416"/>
    <p:sldLayoutId id="2147484923" r:id="rId417"/>
    <p:sldLayoutId id="2147484924" r:id="rId418"/>
    <p:sldLayoutId id="2147484925" r:id="rId419"/>
    <p:sldLayoutId id="2147484926" r:id="rId420"/>
    <p:sldLayoutId id="2147484927" r:id="rId421"/>
    <p:sldLayoutId id="2147484928" r:id="rId422"/>
    <p:sldLayoutId id="2147484929" r:id="rId423"/>
    <p:sldLayoutId id="2147484930" r:id="rId424"/>
    <p:sldLayoutId id="2147484931" r:id="rId425"/>
    <p:sldLayoutId id="2147484932" r:id="rId426"/>
    <p:sldLayoutId id="2147484933" r:id="rId427"/>
    <p:sldLayoutId id="2147484934" r:id="rId428"/>
    <p:sldLayoutId id="2147484935" r:id="rId429"/>
    <p:sldLayoutId id="2147484936" r:id="rId430"/>
    <p:sldLayoutId id="2147484937" r:id="rId431"/>
    <p:sldLayoutId id="2147484938" r:id="rId432"/>
    <p:sldLayoutId id="2147484939" r:id="rId433"/>
    <p:sldLayoutId id="2147484940" r:id="rId434"/>
    <p:sldLayoutId id="2147484941" r:id="rId435"/>
    <p:sldLayoutId id="2147484942" r:id="rId436"/>
    <p:sldLayoutId id="2147484943" r:id="rId437"/>
    <p:sldLayoutId id="2147484944" r:id="rId438"/>
    <p:sldLayoutId id="2147484945" r:id="rId439"/>
    <p:sldLayoutId id="2147484946" r:id="rId440"/>
    <p:sldLayoutId id="2147484947" r:id="rId441"/>
    <p:sldLayoutId id="2147484948" r:id="rId442"/>
    <p:sldLayoutId id="2147484949" r:id="rId443"/>
    <p:sldLayoutId id="2147484950" r:id="rId444"/>
    <p:sldLayoutId id="2147484951" r:id="rId445"/>
    <p:sldLayoutId id="2147484952" r:id="rId446"/>
    <p:sldLayoutId id="2147484953" r:id="rId447"/>
    <p:sldLayoutId id="2147484954" r:id="rId448"/>
    <p:sldLayoutId id="2147484955" r:id="rId449"/>
    <p:sldLayoutId id="2147484956" r:id="rId450"/>
    <p:sldLayoutId id="2147484957" r:id="rId451"/>
    <p:sldLayoutId id="2147484958" r:id="rId452"/>
    <p:sldLayoutId id="2147484959" r:id="rId453"/>
    <p:sldLayoutId id="2147484960" r:id="rId454"/>
    <p:sldLayoutId id="2147484961" r:id="rId455"/>
    <p:sldLayoutId id="2147484962" r:id="rId45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47" name="Google Shape;1274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748" name="Google Shape;12748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49" name="Google Shape;12749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50" name="Google Shape;12750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976" r:id="rId1"/>
    <p:sldLayoutId id="2147484977" r:id="rId2"/>
    <p:sldLayoutId id="2147484978" r:id="rId3"/>
    <p:sldLayoutId id="2147484979" r:id="rId4"/>
    <p:sldLayoutId id="2147484980" r:id="rId5"/>
    <p:sldLayoutId id="2147484981" r:id="rId6"/>
    <p:sldLayoutId id="2147484982" r:id="rId7"/>
    <p:sldLayoutId id="2147484983" r:id="rId8"/>
    <p:sldLayoutId id="2147484984" r:id="rId9"/>
    <p:sldLayoutId id="2147484985" r:id="rId10"/>
    <p:sldLayoutId id="2147484986" r:id="rId11"/>
    <p:sldLayoutId id="2147484987" r:id="rId12"/>
    <p:sldLayoutId id="2147484988" r:id="rId13"/>
    <p:sldLayoutId id="2147484989" r:id="rId14"/>
    <p:sldLayoutId id="2147484990" r:id="rId15"/>
    <p:sldLayoutId id="2147484991" r:id="rId16"/>
    <p:sldLayoutId id="2147484992" r:id="rId17"/>
    <p:sldLayoutId id="2147484993" r:id="rId18"/>
    <p:sldLayoutId id="2147484994" r:id="rId19"/>
    <p:sldLayoutId id="2147484995" r:id="rId20"/>
    <p:sldLayoutId id="2147484996" r:id="rId21"/>
    <p:sldLayoutId id="2147484997" r:id="rId22"/>
    <p:sldLayoutId id="2147484998" r:id="rId23"/>
    <p:sldLayoutId id="2147484999" r:id="rId24"/>
    <p:sldLayoutId id="2147485000" r:id="rId25"/>
    <p:sldLayoutId id="2147485001" r:id="rId26"/>
    <p:sldLayoutId id="2147485002" r:id="rId27"/>
    <p:sldLayoutId id="2147485003" r:id="rId28"/>
    <p:sldLayoutId id="2147485004" r:id="rId29"/>
    <p:sldLayoutId id="2147485005" r:id="rId30"/>
    <p:sldLayoutId id="2147494139" r:id="rId31"/>
    <p:sldLayoutId id="2147494140" r:id="rId32"/>
    <p:sldLayoutId id="2147494141" r:id="rId33"/>
    <p:sldLayoutId id="2147485009" r:id="rId34"/>
    <p:sldLayoutId id="2147485010" r:id="rId35"/>
    <p:sldLayoutId id="2147485011" r:id="rId36"/>
    <p:sldLayoutId id="2147485012" r:id="rId37"/>
    <p:sldLayoutId id="2147485013" r:id="rId38"/>
    <p:sldLayoutId id="2147485014" r:id="rId39"/>
    <p:sldLayoutId id="2147485015" r:id="rId40"/>
    <p:sldLayoutId id="2147485016" r:id="rId41"/>
    <p:sldLayoutId id="2147485017" r:id="rId42"/>
    <p:sldLayoutId id="2147485018" r:id="rId43"/>
    <p:sldLayoutId id="2147485019" r:id="rId44"/>
    <p:sldLayoutId id="2147485020" r:id="rId45"/>
    <p:sldLayoutId id="2147485021" r:id="rId46"/>
    <p:sldLayoutId id="2147485022" r:id="rId47"/>
    <p:sldLayoutId id="2147485023" r:id="rId48"/>
    <p:sldLayoutId id="2147485024" r:id="rId49"/>
    <p:sldLayoutId id="2147485025" r:id="rId50"/>
    <p:sldLayoutId id="2147485026" r:id="rId51"/>
    <p:sldLayoutId id="2147485027" r:id="rId52"/>
    <p:sldLayoutId id="2147485028" r:id="rId53"/>
    <p:sldLayoutId id="2147485029" r:id="rId54"/>
    <p:sldLayoutId id="2147485030" r:id="rId55"/>
    <p:sldLayoutId id="2147485031" r:id="rId56"/>
    <p:sldLayoutId id="2147485032" r:id="rId57"/>
    <p:sldLayoutId id="2147485033" r:id="rId58"/>
    <p:sldLayoutId id="2147485034" r:id="rId59"/>
    <p:sldLayoutId id="2147485035" r:id="rId60"/>
    <p:sldLayoutId id="2147485036" r:id="rId61"/>
    <p:sldLayoutId id="2147485037" r:id="rId62"/>
    <p:sldLayoutId id="2147485038" r:id="rId63"/>
    <p:sldLayoutId id="2147485039" r:id="rId64"/>
    <p:sldLayoutId id="2147485040" r:id="rId65"/>
    <p:sldLayoutId id="2147485041" r:id="rId66"/>
    <p:sldLayoutId id="2147485042" r:id="rId67"/>
    <p:sldLayoutId id="2147485043" r:id="rId68"/>
    <p:sldLayoutId id="2147485044" r:id="rId69"/>
    <p:sldLayoutId id="2147485045" r:id="rId70"/>
    <p:sldLayoutId id="2147485046" r:id="rId71"/>
    <p:sldLayoutId id="2147485047" r:id="rId72"/>
    <p:sldLayoutId id="2147485048" r:id="rId73"/>
    <p:sldLayoutId id="2147485049" r:id="rId74"/>
    <p:sldLayoutId id="2147485050" r:id="rId75"/>
    <p:sldLayoutId id="2147485051" r:id="rId76"/>
    <p:sldLayoutId id="2147485052" r:id="rId77"/>
    <p:sldLayoutId id="2147485053" r:id="rId78"/>
    <p:sldLayoutId id="2147485054" r:id="rId79"/>
    <p:sldLayoutId id="2147485055" r:id="rId80"/>
    <p:sldLayoutId id="2147485056" r:id="rId81"/>
    <p:sldLayoutId id="2147485057" r:id="rId82"/>
    <p:sldLayoutId id="2147485058" r:id="rId83"/>
    <p:sldLayoutId id="2147485059" r:id="rId84"/>
    <p:sldLayoutId id="2147485060" r:id="rId85"/>
    <p:sldLayoutId id="2147485061" r:id="rId86"/>
    <p:sldLayoutId id="2147485062" r:id="rId87"/>
    <p:sldLayoutId id="2147485063" r:id="rId88"/>
    <p:sldLayoutId id="2147485064" r:id="rId89"/>
    <p:sldLayoutId id="2147485065" r:id="rId90"/>
    <p:sldLayoutId id="2147485066" r:id="rId91"/>
    <p:sldLayoutId id="2147485067" r:id="rId92"/>
    <p:sldLayoutId id="2147485068" r:id="rId93"/>
    <p:sldLayoutId id="2147485069" r:id="rId94"/>
    <p:sldLayoutId id="2147494088" r:id="rId95"/>
    <p:sldLayoutId id="2147485071" r:id="rId96"/>
    <p:sldLayoutId id="2147494118" r:id="rId97"/>
    <p:sldLayoutId id="2147485073" r:id="rId98"/>
    <p:sldLayoutId id="2147485074" r:id="rId99"/>
    <p:sldLayoutId id="2147485075" r:id="rId100"/>
    <p:sldLayoutId id="2147485076" r:id="rId101"/>
    <p:sldLayoutId id="2147485077" r:id="rId102"/>
    <p:sldLayoutId id="2147494098" r:id="rId103"/>
    <p:sldLayoutId id="2147494099" r:id="rId104"/>
    <p:sldLayoutId id="2147494100" r:id="rId105"/>
    <p:sldLayoutId id="2147494101" r:id="rId106"/>
    <p:sldLayoutId id="2147485082" r:id="rId107"/>
    <p:sldLayoutId id="2147494103" r:id="rId108"/>
    <p:sldLayoutId id="2147485084" r:id="rId109"/>
    <p:sldLayoutId id="2147485085" r:id="rId110"/>
    <p:sldLayoutId id="2147485086" r:id="rId111"/>
    <p:sldLayoutId id="2147485087" r:id="rId112"/>
    <p:sldLayoutId id="2147485088" r:id="rId113"/>
    <p:sldLayoutId id="2147485089" r:id="rId114"/>
    <p:sldLayoutId id="2147485090" r:id="rId115"/>
    <p:sldLayoutId id="2147485091" r:id="rId116"/>
    <p:sldLayoutId id="2147485092" r:id="rId117"/>
    <p:sldLayoutId id="2147485093" r:id="rId118"/>
    <p:sldLayoutId id="2147485094" r:id="rId119"/>
    <p:sldLayoutId id="2147485095" r:id="rId120"/>
    <p:sldLayoutId id="2147485096" r:id="rId121"/>
    <p:sldLayoutId id="2147485097" r:id="rId122"/>
    <p:sldLayoutId id="2147485098" r:id="rId123"/>
    <p:sldLayoutId id="2147485099" r:id="rId124"/>
    <p:sldLayoutId id="2147485100" r:id="rId125"/>
    <p:sldLayoutId id="2147485101" r:id="rId126"/>
    <p:sldLayoutId id="2147485102" r:id="rId127"/>
    <p:sldLayoutId id="2147485103" r:id="rId128"/>
    <p:sldLayoutId id="2147485104" r:id="rId129"/>
    <p:sldLayoutId id="2147485105" r:id="rId130"/>
    <p:sldLayoutId id="2147485106" r:id="rId131"/>
    <p:sldLayoutId id="2147485107" r:id="rId132"/>
    <p:sldLayoutId id="2147485108" r:id="rId133"/>
    <p:sldLayoutId id="2147485109" r:id="rId134"/>
    <p:sldLayoutId id="2147485110" r:id="rId135"/>
    <p:sldLayoutId id="2147485111" r:id="rId136"/>
    <p:sldLayoutId id="2147485112" r:id="rId137"/>
    <p:sldLayoutId id="2147485113" r:id="rId138"/>
    <p:sldLayoutId id="2147485114" r:id="rId139"/>
    <p:sldLayoutId id="2147485115" r:id="rId140"/>
    <p:sldLayoutId id="2147485116" r:id="rId141"/>
    <p:sldLayoutId id="2147485117" r:id="rId142"/>
    <p:sldLayoutId id="2147485118" r:id="rId143"/>
    <p:sldLayoutId id="2147485119" r:id="rId144"/>
    <p:sldLayoutId id="2147485120" r:id="rId145"/>
    <p:sldLayoutId id="2147485121" r:id="rId146"/>
    <p:sldLayoutId id="2147485122" r:id="rId147"/>
    <p:sldLayoutId id="2147485123" r:id="rId148"/>
    <p:sldLayoutId id="2147485124" r:id="rId149"/>
    <p:sldLayoutId id="2147485125" r:id="rId150"/>
    <p:sldLayoutId id="2147485126" r:id="rId151"/>
    <p:sldLayoutId id="2147485127" r:id="rId152"/>
    <p:sldLayoutId id="2147485128" r:id="rId153"/>
    <p:sldLayoutId id="2147485129" r:id="rId154"/>
    <p:sldLayoutId id="2147485130" r:id="rId155"/>
    <p:sldLayoutId id="2147485131" r:id="rId156"/>
    <p:sldLayoutId id="2147485132" r:id="rId157"/>
    <p:sldLayoutId id="2147485133" r:id="rId158"/>
    <p:sldLayoutId id="2147485134" r:id="rId159"/>
    <p:sldLayoutId id="2147485135" r:id="rId160"/>
    <p:sldLayoutId id="2147485136" r:id="rId161"/>
    <p:sldLayoutId id="2147485137" r:id="rId162"/>
    <p:sldLayoutId id="2147485138" r:id="rId163"/>
    <p:sldLayoutId id="2147485139" r:id="rId164"/>
    <p:sldLayoutId id="2147485140" r:id="rId165"/>
    <p:sldLayoutId id="2147485141" r:id="rId166"/>
    <p:sldLayoutId id="2147485142" r:id="rId167"/>
    <p:sldLayoutId id="2147485143" r:id="rId168"/>
    <p:sldLayoutId id="2147485144" r:id="rId169"/>
    <p:sldLayoutId id="2147485145" r:id="rId170"/>
    <p:sldLayoutId id="2147485146" r:id="rId171"/>
    <p:sldLayoutId id="2147485147" r:id="rId172"/>
    <p:sldLayoutId id="2147485148" r:id="rId173"/>
    <p:sldLayoutId id="2147485149" r:id="rId174"/>
    <p:sldLayoutId id="2147485150" r:id="rId175"/>
    <p:sldLayoutId id="2147485151" r:id="rId176"/>
    <p:sldLayoutId id="2147485152" r:id="rId177"/>
    <p:sldLayoutId id="2147485153" r:id="rId178"/>
    <p:sldLayoutId id="2147485154" r:id="rId179"/>
    <p:sldLayoutId id="2147485155" r:id="rId180"/>
    <p:sldLayoutId id="2147485156" r:id="rId181"/>
    <p:sldLayoutId id="2147485157" r:id="rId182"/>
    <p:sldLayoutId id="2147485158" r:id="rId183"/>
    <p:sldLayoutId id="2147485159" r:id="rId184"/>
    <p:sldLayoutId id="2147485160" r:id="rId185"/>
    <p:sldLayoutId id="2147485161" r:id="rId186"/>
    <p:sldLayoutId id="2147485162" r:id="rId187"/>
    <p:sldLayoutId id="2147485163" r:id="rId188"/>
    <p:sldLayoutId id="2147485164" r:id="rId189"/>
    <p:sldLayoutId id="2147485165" r:id="rId190"/>
    <p:sldLayoutId id="2147485166" r:id="rId191"/>
    <p:sldLayoutId id="2147485167" r:id="rId192"/>
    <p:sldLayoutId id="2147485168" r:id="rId193"/>
    <p:sldLayoutId id="2147485169" r:id="rId194"/>
    <p:sldLayoutId id="2147485170" r:id="rId195"/>
    <p:sldLayoutId id="2147485171" r:id="rId196"/>
    <p:sldLayoutId id="2147485172" r:id="rId197"/>
    <p:sldLayoutId id="2147485173" r:id="rId198"/>
    <p:sldLayoutId id="2147485174" r:id="rId199"/>
    <p:sldLayoutId id="2147485175" r:id="rId200"/>
    <p:sldLayoutId id="2147485176" r:id="rId201"/>
    <p:sldLayoutId id="2147485177" r:id="rId202"/>
    <p:sldLayoutId id="2147485178" r:id="rId203"/>
    <p:sldLayoutId id="2147494152" r:id="rId204"/>
    <p:sldLayoutId id="2147485180" r:id="rId205"/>
    <p:sldLayoutId id="2147485181" r:id="rId206"/>
    <p:sldLayoutId id="2147485182" r:id="rId207"/>
    <p:sldLayoutId id="2147485183" r:id="rId208"/>
    <p:sldLayoutId id="2147485184" r:id="rId209"/>
    <p:sldLayoutId id="2147485185" r:id="rId210"/>
    <p:sldLayoutId id="2147485186" r:id="rId211"/>
    <p:sldLayoutId id="2147485187" r:id="rId212"/>
    <p:sldLayoutId id="2147485188" r:id="rId213"/>
    <p:sldLayoutId id="2147485189" r:id="rId214"/>
    <p:sldLayoutId id="2147485190" r:id="rId215"/>
    <p:sldLayoutId id="2147485191" r:id="rId216"/>
    <p:sldLayoutId id="2147485192" r:id="rId217"/>
    <p:sldLayoutId id="2147485193" r:id="rId218"/>
    <p:sldLayoutId id="2147485194" r:id="rId219"/>
    <p:sldLayoutId id="2147485195" r:id="rId220"/>
    <p:sldLayoutId id="2147485196" r:id="rId221"/>
    <p:sldLayoutId id="2147485197" r:id="rId222"/>
    <p:sldLayoutId id="2147485198" r:id="rId223"/>
    <p:sldLayoutId id="2147485199" r:id="rId224"/>
    <p:sldLayoutId id="2147485200" r:id="rId225"/>
    <p:sldLayoutId id="2147485201" r:id="rId226"/>
    <p:sldLayoutId id="2147485202" r:id="rId227"/>
    <p:sldLayoutId id="2147485203" r:id="rId228"/>
    <p:sldLayoutId id="2147485204" r:id="rId229"/>
    <p:sldLayoutId id="2147485205" r:id="rId230"/>
    <p:sldLayoutId id="2147485206" r:id="rId231"/>
    <p:sldLayoutId id="2147485207" r:id="rId232"/>
    <p:sldLayoutId id="2147485208" r:id="rId233"/>
    <p:sldLayoutId id="2147485209" r:id="rId234"/>
    <p:sldLayoutId id="2147485210" r:id="rId235"/>
    <p:sldLayoutId id="2147485211" r:id="rId236"/>
    <p:sldLayoutId id="2147485212" r:id="rId237"/>
    <p:sldLayoutId id="2147485213" r:id="rId238"/>
    <p:sldLayoutId id="2147485214" r:id="rId239"/>
    <p:sldLayoutId id="2147485215" r:id="rId240"/>
    <p:sldLayoutId id="2147485216" r:id="rId241"/>
    <p:sldLayoutId id="2147485217" r:id="rId242"/>
    <p:sldLayoutId id="2147485218" r:id="rId243"/>
    <p:sldLayoutId id="2147485219" r:id="rId244"/>
    <p:sldLayoutId id="2147485220" r:id="rId245"/>
    <p:sldLayoutId id="2147485221" r:id="rId246"/>
    <p:sldLayoutId id="2147485222" r:id="rId247"/>
    <p:sldLayoutId id="2147485223" r:id="rId248"/>
    <p:sldLayoutId id="2147485224" r:id="rId249"/>
    <p:sldLayoutId id="2147485225" r:id="rId250"/>
    <p:sldLayoutId id="2147485226" r:id="rId251"/>
    <p:sldLayoutId id="2147485227" r:id="rId252"/>
    <p:sldLayoutId id="2147485228" r:id="rId253"/>
    <p:sldLayoutId id="2147485229" r:id="rId254"/>
    <p:sldLayoutId id="2147485230" r:id="rId255"/>
    <p:sldLayoutId id="2147485231" r:id="rId256"/>
    <p:sldLayoutId id="2147485232" r:id="rId257"/>
    <p:sldLayoutId id="2147485233" r:id="rId258"/>
    <p:sldLayoutId id="2147485234" r:id="rId259"/>
    <p:sldLayoutId id="2147485235" r:id="rId260"/>
    <p:sldLayoutId id="2147485236" r:id="rId261"/>
    <p:sldLayoutId id="2147485237" r:id="rId262"/>
    <p:sldLayoutId id="2147485238" r:id="rId263"/>
    <p:sldLayoutId id="2147485239" r:id="rId264"/>
    <p:sldLayoutId id="2147485240" r:id="rId265"/>
    <p:sldLayoutId id="2147485241" r:id="rId266"/>
    <p:sldLayoutId id="2147485242" r:id="rId267"/>
    <p:sldLayoutId id="2147485243" r:id="rId268"/>
    <p:sldLayoutId id="2147485244" r:id="rId269"/>
    <p:sldLayoutId id="2147485245" r:id="rId270"/>
    <p:sldLayoutId id="2147485246" r:id="rId271"/>
    <p:sldLayoutId id="2147485247" r:id="rId272"/>
    <p:sldLayoutId id="2147485248" r:id="rId273"/>
    <p:sldLayoutId id="2147485249" r:id="rId274"/>
    <p:sldLayoutId id="2147485250" r:id="rId275"/>
    <p:sldLayoutId id="2147485251" r:id="rId276"/>
    <p:sldLayoutId id="2147485252" r:id="rId277"/>
    <p:sldLayoutId id="2147485253" r:id="rId278"/>
    <p:sldLayoutId id="2147485254" r:id="rId279"/>
    <p:sldLayoutId id="2147485255" r:id="rId280"/>
    <p:sldLayoutId id="2147485256" r:id="rId281"/>
    <p:sldLayoutId id="2147485257" r:id="rId282"/>
    <p:sldLayoutId id="2147485258" r:id="rId283"/>
    <p:sldLayoutId id="2147485259" r:id="rId284"/>
    <p:sldLayoutId id="2147485260" r:id="rId285"/>
    <p:sldLayoutId id="2147485261" r:id="rId286"/>
    <p:sldLayoutId id="2147485262" r:id="rId287"/>
    <p:sldLayoutId id="2147485263" r:id="rId288"/>
    <p:sldLayoutId id="2147485264" r:id="rId289"/>
    <p:sldLayoutId id="2147485265" r:id="rId290"/>
    <p:sldLayoutId id="2147485266" r:id="rId291"/>
    <p:sldLayoutId id="2147485267" r:id="rId292"/>
    <p:sldLayoutId id="2147485268" r:id="rId293"/>
    <p:sldLayoutId id="2147485269" r:id="rId294"/>
    <p:sldLayoutId id="2147485270" r:id="rId295"/>
    <p:sldLayoutId id="2147485271" r:id="rId296"/>
    <p:sldLayoutId id="2147485272" r:id="rId297"/>
    <p:sldLayoutId id="2147485273" r:id="rId298"/>
    <p:sldLayoutId id="2147485274" r:id="rId299"/>
    <p:sldLayoutId id="2147485275" r:id="rId300"/>
    <p:sldLayoutId id="2147485276" r:id="rId301"/>
    <p:sldLayoutId id="2147485277" r:id="rId302"/>
    <p:sldLayoutId id="2147485278" r:id="rId303"/>
    <p:sldLayoutId id="2147485279" r:id="rId304"/>
    <p:sldLayoutId id="2147485280" r:id="rId305"/>
    <p:sldLayoutId id="2147485281" r:id="rId306"/>
    <p:sldLayoutId id="2147485282" r:id="rId307"/>
    <p:sldLayoutId id="2147485283" r:id="rId308"/>
    <p:sldLayoutId id="2147485284" r:id="rId309"/>
    <p:sldLayoutId id="2147485285" r:id="rId310"/>
    <p:sldLayoutId id="2147485286" r:id="rId311"/>
    <p:sldLayoutId id="2147485287" r:id="rId312"/>
    <p:sldLayoutId id="2147485288" r:id="rId313"/>
    <p:sldLayoutId id="2147485289" r:id="rId314"/>
    <p:sldLayoutId id="2147485290" r:id="rId315"/>
    <p:sldLayoutId id="2147485291" r:id="rId316"/>
    <p:sldLayoutId id="2147485292" r:id="rId317"/>
    <p:sldLayoutId id="2147485293" r:id="rId318"/>
    <p:sldLayoutId id="2147485294" r:id="rId319"/>
    <p:sldLayoutId id="2147485295" r:id="rId320"/>
    <p:sldLayoutId id="2147485296" r:id="rId321"/>
    <p:sldLayoutId id="2147485297" r:id="rId322"/>
    <p:sldLayoutId id="2147485298" r:id="rId323"/>
    <p:sldLayoutId id="2147485299" r:id="rId324"/>
    <p:sldLayoutId id="2147485300" r:id="rId325"/>
    <p:sldLayoutId id="2147485301" r:id="rId326"/>
    <p:sldLayoutId id="2147485302" r:id="rId327"/>
    <p:sldLayoutId id="2147485303" r:id="rId328"/>
    <p:sldLayoutId id="2147485304" r:id="rId329"/>
    <p:sldLayoutId id="2147485305" r:id="rId330"/>
    <p:sldLayoutId id="2147485306" r:id="rId331"/>
    <p:sldLayoutId id="2147485307" r:id="rId332"/>
    <p:sldLayoutId id="2147485308" r:id="rId333"/>
    <p:sldLayoutId id="2147485309" r:id="rId334"/>
    <p:sldLayoutId id="2147485310" r:id="rId335"/>
    <p:sldLayoutId id="2147485311" r:id="rId336"/>
    <p:sldLayoutId id="2147485312" r:id="rId337"/>
    <p:sldLayoutId id="2147485313" r:id="rId338"/>
    <p:sldLayoutId id="2147485314" r:id="rId339"/>
    <p:sldLayoutId id="2147485315" r:id="rId340"/>
    <p:sldLayoutId id="2147485316" r:id="rId341"/>
    <p:sldLayoutId id="2147485317" r:id="rId342"/>
    <p:sldLayoutId id="2147485318" r:id="rId343"/>
    <p:sldLayoutId id="2147485319" r:id="rId344"/>
    <p:sldLayoutId id="2147485320" r:id="rId345"/>
    <p:sldLayoutId id="2147485321" r:id="rId346"/>
    <p:sldLayoutId id="2147485322" r:id="rId347"/>
    <p:sldLayoutId id="2147485323" r:id="rId348"/>
    <p:sldLayoutId id="2147485324" r:id="rId349"/>
    <p:sldLayoutId id="2147485325" r:id="rId350"/>
    <p:sldLayoutId id="2147485326" r:id="rId351"/>
    <p:sldLayoutId id="2147485327" r:id="rId352"/>
    <p:sldLayoutId id="2147485328" r:id="rId353"/>
    <p:sldLayoutId id="2147485329" r:id="rId354"/>
    <p:sldLayoutId id="2147485330" r:id="rId355"/>
    <p:sldLayoutId id="2147485331" r:id="rId356"/>
    <p:sldLayoutId id="2147485332" r:id="rId357"/>
    <p:sldLayoutId id="2147485333" r:id="rId358"/>
    <p:sldLayoutId id="2147485334" r:id="rId359"/>
    <p:sldLayoutId id="2147485335" r:id="rId360"/>
    <p:sldLayoutId id="2147485336" r:id="rId361"/>
    <p:sldLayoutId id="2147485337" r:id="rId362"/>
    <p:sldLayoutId id="2147485338" r:id="rId363"/>
    <p:sldLayoutId id="2147485339" r:id="rId364"/>
    <p:sldLayoutId id="2147485340" r:id="rId365"/>
    <p:sldLayoutId id="2147485341" r:id="rId366"/>
    <p:sldLayoutId id="2147485342" r:id="rId367"/>
    <p:sldLayoutId id="2147485343" r:id="rId368"/>
    <p:sldLayoutId id="2147485344" r:id="rId369"/>
    <p:sldLayoutId id="2147485345" r:id="rId370"/>
    <p:sldLayoutId id="2147485346" r:id="rId371"/>
    <p:sldLayoutId id="2147485347" r:id="rId372"/>
    <p:sldLayoutId id="2147485348" r:id="rId373"/>
    <p:sldLayoutId id="2147485349" r:id="rId374"/>
    <p:sldLayoutId id="2147485350" r:id="rId375"/>
    <p:sldLayoutId id="2147485351" r:id="rId376"/>
    <p:sldLayoutId id="2147485352" r:id="rId377"/>
    <p:sldLayoutId id="2147485353" r:id="rId378"/>
    <p:sldLayoutId id="2147485354" r:id="rId379"/>
    <p:sldLayoutId id="2147485355" r:id="rId380"/>
    <p:sldLayoutId id="2147485356" r:id="rId381"/>
    <p:sldLayoutId id="2147485357" r:id="rId382"/>
    <p:sldLayoutId id="2147485358" r:id="rId383"/>
    <p:sldLayoutId id="2147485359" r:id="rId384"/>
    <p:sldLayoutId id="2147485360" r:id="rId385"/>
    <p:sldLayoutId id="2147485361" r:id="rId386"/>
    <p:sldLayoutId id="2147485362" r:id="rId387"/>
    <p:sldLayoutId id="2147485363" r:id="rId388"/>
    <p:sldLayoutId id="2147485364" r:id="rId389"/>
    <p:sldLayoutId id="2147485365" r:id="rId390"/>
    <p:sldLayoutId id="2147485366" r:id="rId391"/>
    <p:sldLayoutId id="2147485367" r:id="rId392"/>
    <p:sldLayoutId id="2147485368" r:id="rId393"/>
    <p:sldLayoutId id="2147485369" r:id="rId394"/>
    <p:sldLayoutId id="2147485370" r:id="rId395"/>
    <p:sldLayoutId id="2147485371" r:id="rId396"/>
    <p:sldLayoutId id="2147485372" r:id="rId397"/>
    <p:sldLayoutId id="2147485373" r:id="rId398"/>
    <p:sldLayoutId id="2147485374" r:id="rId399"/>
    <p:sldLayoutId id="2147485375" r:id="rId400"/>
    <p:sldLayoutId id="2147485376" r:id="rId401"/>
    <p:sldLayoutId id="2147485377" r:id="rId402"/>
    <p:sldLayoutId id="2147485378" r:id="rId403"/>
    <p:sldLayoutId id="2147485379" r:id="rId404"/>
    <p:sldLayoutId id="2147485380" r:id="rId405"/>
    <p:sldLayoutId id="2147485381" r:id="rId406"/>
    <p:sldLayoutId id="2147485382" r:id="rId407"/>
    <p:sldLayoutId id="2147485383" r:id="rId408"/>
    <p:sldLayoutId id="2147485384" r:id="rId409"/>
    <p:sldLayoutId id="2147494115" r:id="rId410"/>
    <p:sldLayoutId id="2147485386" r:id="rId411"/>
    <p:sldLayoutId id="2147485387" r:id="rId412"/>
    <p:sldLayoutId id="2147485388" r:id="rId413"/>
    <p:sldLayoutId id="2147485389" r:id="rId414"/>
    <p:sldLayoutId id="2147485390" r:id="rId415"/>
    <p:sldLayoutId id="2147485391" r:id="rId416"/>
    <p:sldLayoutId id="2147485392" r:id="rId417"/>
    <p:sldLayoutId id="2147485393" r:id="rId418"/>
    <p:sldLayoutId id="2147494146" r:id="rId419"/>
    <p:sldLayoutId id="2147494147" r:id="rId420"/>
    <p:sldLayoutId id="2147494149" r:id="rId421"/>
    <p:sldLayoutId id="2147485397" r:id="rId422"/>
    <p:sldLayoutId id="2147485398" r:id="rId423"/>
    <p:sldLayoutId id="2147485399" r:id="rId424"/>
    <p:sldLayoutId id="2147485400" r:id="rId425"/>
    <p:sldLayoutId id="2147485401" r:id="rId426"/>
    <p:sldLayoutId id="2147485402" r:id="rId427"/>
    <p:sldLayoutId id="2147485403" r:id="rId428"/>
    <p:sldLayoutId id="2147485404" r:id="rId429"/>
    <p:sldLayoutId id="2147485405" r:id="rId430"/>
    <p:sldLayoutId id="2147485406" r:id="rId431"/>
    <p:sldLayoutId id="2147485407" r:id="rId432"/>
    <p:sldLayoutId id="2147485408" r:id="rId433"/>
    <p:sldLayoutId id="2147485409" r:id="rId434"/>
    <p:sldLayoutId id="2147494132" r:id="rId435"/>
    <p:sldLayoutId id="2147485411" r:id="rId436"/>
    <p:sldLayoutId id="2147485412" r:id="rId437"/>
    <p:sldLayoutId id="2147485413" r:id="rId438"/>
    <p:sldLayoutId id="2147485414" r:id="rId439"/>
    <p:sldLayoutId id="2147485415" r:id="rId440"/>
    <p:sldLayoutId id="2147485416" r:id="rId441"/>
    <p:sldLayoutId id="2147485417" r:id="rId442"/>
    <p:sldLayoutId id="2147485418" r:id="rId443"/>
    <p:sldLayoutId id="2147494150" r:id="rId444"/>
    <p:sldLayoutId id="2147494151" r:id="rId445"/>
    <p:sldLayoutId id="2147485421" r:id="rId446"/>
    <p:sldLayoutId id="2147485422" r:id="rId447"/>
    <p:sldLayoutId id="2147485423" r:id="rId448"/>
    <p:sldLayoutId id="2147485424" r:id="rId449"/>
    <p:sldLayoutId id="2147494110" r:id="rId450"/>
    <p:sldLayoutId id="2147485426" r:id="rId451"/>
    <p:sldLayoutId id="2147485427" r:id="rId452"/>
    <p:sldLayoutId id="2147485428" r:id="rId453"/>
    <p:sldLayoutId id="2147485429" r:id="rId454"/>
    <p:sldLayoutId id="2147485430" r:id="rId45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662" r:id="rId1"/>
    <p:sldLayoutId id="2147491437" r:id="rId2"/>
    <p:sldLayoutId id="2147490663" r:id="rId3"/>
    <p:sldLayoutId id="2147491438" r:id="rId4"/>
    <p:sldLayoutId id="2147493992" r:id="rId5"/>
    <p:sldLayoutId id="2147491439" r:id="rId6"/>
    <p:sldLayoutId id="2147488691" r:id="rId7"/>
    <p:sldLayoutId id="2147491440" r:id="rId8"/>
    <p:sldLayoutId id="2147488647" r:id="rId9"/>
    <p:sldLayoutId id="2147488648" r:id="rId10"/>
    <p:sldLayoutId id="2147490048" r:id="rId11"/>
    <p:sldLayoutId id="2147488649" r:id="rId12"/>
    <p:sldLayoutId id="2147490970" r:id="rId13"/>
    <p:sldLayoutId id="2147490971" r:id="rId14"/>
    <p:sldLayoutId id="2147490972" r:id="rId15"/>
    <p:sldLayoutId id="2147490973" r:id="rId16"/>
    <p:sldLayoutId id="2147490974" r:id="rId17"/>
    <p:sldLayoutId id="2147490975" r:id="rId18"/>
    <p:sldLayoutId id="2147490976" r:id="rId19"/>
    <p:sldLayoutId id="2147487673" r:id="rId20"/>
    <p:sldLayoutId id="2147488650" r:id="rId21"/>
    <p:sldLayoutId id="2147485558" r:id="rId22"/>
    <p:sldLayoutId id="2147485559" r:id="rId23"/>
    <p:sldLayoutId id="2147491441" r:id="rId24"/>
    <p:sldLayoutId id="2147485561" r:id="rId25"/>
    <p:sldLayoutId id="2147488491" r:id="rId26"/>
    <p:sldLayoutId id="2147488492" r:id="rId27"/>
    <p:sldLayoutId id="2147488493" r:id="rId28"/>
    <p:sldLayoutId id="2147494039" r:id="rId29"/>
    <p:sldLayoutId id="2147494041" r:id="rId30"/>
    <p:sldLayoutId id="2147494042" r:id="rId31"/>
    <p:sldLayoutId id="2147494058" r:id="rId32"/>
    <p:sldLayoutId id="2147494060" r:id="rId33"/>
    <p:sldLayoutId id="2147494062" r:id="rId34"/>
    <p:sldLayoutId id="2147494064" r:id="rId35"/>
    <p:sldLayoutId id="2147494056" r:id="rId36"/>
    <p:sldLayoutId id="2147494057" r:id="rId37"/>
    <p:sldLayoutId id="2147491442" r:id="rId38"/>
    <p:sldLayoutId id="2147485563" r:id="rId39"/>
    <p:sldLayoutId id="2147485564" r:id="rId40"/>
    <p:sldLayoutId id="2147485565" r:id="rId41"/>
    <p:sldLayoutId id="2147485566" r:id="rId42"/>
    <p:sldLayoutId id="2147485567" r:id="rId43"/>
    <p:sldLayoutId id="2147485568" r:id="rId44"/>
    <p:sldLayoutId id="2147494159" r:id="rId45"/>
    <p:sldLayoutId id="2147488243" r:id="rId46"/>
    <p:sldLayoutId id="2147484557" r:id="rId47"/>
    <p:sldLayoutId id="2147491096" r:id="rId48"/>
    <p:sldLayoutId id="2147484656" r:id="rId49"/>
    <p:sldLayoutId id="2147488246" r:id="rId50"/>
    <p:sldLayoutId id="2147488247" r:id="rId51"/>
    <p:sldLayoutId id="2147488248" r:id="rId52"/>
    <p:sldLayoutId id="2147488249" r:id="rId53"/>
    <p:sldLayoutId id="2147488250" r:id="rId54"/>
    <p:sldLayoutId id="2147488251" r:id="rId55"/>
    <p:sldLayoutId id="2147488252" r:id="rId56"/>
    <p:sldLayoutId id="2147488302" r:id="rId57"/>
    <p:sldLayoutId id="2147487028" r:id="rId58"/>
    <p:sldLayoutId id="2147491445" r:id="rId59"/>
    <p:sldLayoutId id="2147490037" r:id="rId60"/>
    <p:sldLayoutId id="2147487030" r:id="rId61"/>
    <p:sldLayoutId id="2147490038" r:id="rId62"/>
    <p:sldLayoutId id="2147491446" r:id="rId63"/>
    <p:sldLayoutId id="2147487582" r:id="rId64"/>
    <p:sldLayoutId id="2147487033" r:id="rId65"/>
    <p:sldLayoutId id="2147487690" r:id="rId66"/>
    <p:sldLayoutId id="2147487583" r:id="rId67"/>
    <p:sldLayoutId id="2147487035" r:id="rId68"/>
    <p:sldLayoutId id="2147491447" r:id="rId69"/>
    <p:sldLayoutId id="2147491069" r:id="rId70"/>
    <p:sldLayoutId id="2147491448" r:id="rId71"/>
    <p:sldLayoutId id="2147488652" r:id="rId72"/>
    <p:sldLayoutId id="2147491070" r:id="rId73"/>
    <p:sldLayoutId id="2147487699" r:id="rId74"/>
    <p:sldLayoutId id="2147487700" r:id="rId75"/>
    <p:sldLayoutId id="2147488655" r:id="rId76"/>
    <p:sldLayoutId id="2147491449" r:id="rId77"/>
    <p:sldLayoutId id="2147491450" r:id="rId78"/>
    <p:sldLayoutId id="2147490631" r:id="rId79"/>
    <p:sldLayoutId id="2147491071" r:id="rId80"/>
    <p:sldLayoutId id="2147488658" r:id="rId81"/>
    <p:sldLayoutId id="2147488659" r:id="rId82"/>
    <p:sldLayoutId id="2147488660" r:id="rId83"/>
    <p:sldLayoutId id="2147490962" r:id="rId84"/>
    <p:sldLayoutId id="2147491451" r:id="rId85"/>
    <p:sldLayoutId id="2147488661" r:id="rId86"/>
    <p:sldLayoutId id="2147487713" r:id="rId87"/>
    <p:sldLayoutId id="2147493991" r:id="rId88"/>
    <p:sldLayoutId id="2147491452" r:id="rId89"/>
    <p:sldLayoutId id="2147488694" r:id="rId90"/>
    <p:sldLayoutId id="2147487182" r:id="rId91"/>
    <p:sldLayoutId id="2147487183" r:id="rId92"/>
    <p:sldLayoutId id="2147487184" r:id="rId93"/>
    <p:sldLayoutId id="2147491072" r:id="rId94"/>
    <p:sldLayoutId id="2147491073" r:id="rId95"/>
    <p:sldLayoutId id="2147487720" r:id="rId96"/>
    <p:sldLayoutId id="2147487721" r:id="rId97"/>
    <p:sldLayoutId id="2147491453" r:id="rId98"/>
    <p:sldLayoutId id="2147491454" r:id="rId99"/>
    <p:sldLayoutId id="2147487730" r:id="rId100"/>
    <p:sldLayoutId id="2147487731" r:id="rId101"/>
    <p:sldLayoutId id="2147487732" r:id="rId102"/>
    <p:sldLayoutId id="2147487041" r:id="rId103"/>
    <p:sldLayoutId id="2147487188" r:id="rId104"/>
    <p:sldLayoutId id="2147490044" r:id="rId105"/>
    <p:sldLayoutId id="2147487189" r:id="rId106"/>
    <p:sldLayoutId id="2147487190" r:id="rId107"/>
    <p:sldLayoutId id="2147487042" r:id="rId108"/>
    <p:sldLayoutId id="2147487584" r:id="rId109"/>
    <p:sldLayoutId id="2147487193" r:id="rId110"/>
    <p:sldLayoutId id="2147487043" r:id="rId111"/>
    <p:sldLayoutId id="2147487044" r:id="rId112"/>
    <p:sldLayoutId id="2147491455" r:id="rId113"/>
    <p:sldLayoutId id="2147487046" r:id="rId114"/>
    <p:sldLayoutId id="2147487047" r:id="rId115"/>
    <p:sldLayoutId id="2147490047" r:id="rId116"/>
    <p:sldLayoutId id="2147487048" r:id="rId117"/>
    <p:sldLayoutId id="2147487049" r:id="rId118"/>
    <p:sldLayoutId id="2147487050" r:id="rId119"/>
    <p:sldLayoutId id="2147487051" r:id="rId120"/>
    <p:sldLayoutId id="2147491456" r:id="rId121"/>
    <p:sldLayoutId id="2147491457" r:id="rId122"/>
    <p:sldLayoutId id="2147491458" r:id="rId123"/>
    <p:sldLayoutId id="2147491459" r:id="rId124"/>
    <p:sldLayoutId id="2147487053" r:id="rId125"/>
    <p:sldLayoutId id="2147491460" r:id="rId126"/>
    <p:sldLayoutId id="2147487209" r:id="rId127"/>
    <p:sldLayoutId id="2147487210" r:id="rId128"/>
    <p:sldLayoutId id="2147487211" r:id="rId129"/>
    <p:sldLayoutId id="2147491074" r:id="rId130"/>
    <p:sldLayoutId id="2147491075" r:id="rId131"/>
    <p:sldLayoutId id="2147491076" r:id="rId132"/>
    <p:sldLayoutId id="2147487212" r:id="rId133"/>
    <p:sldLayoutId id="2147487213" r:id="rId134"/>
    <p:sldLayoutId id="2147487214" r:id="rId135"/>
    <p:sldLayoutId id="2147491461" r:id="rId136"/>
    <p:sldLayoutId id="2147487774" r:id="rId137"/>
    <p:sldLayoutId id="2147487775" r:id="rId138"/>
    <p:sldLayoutId id="2147487776" r:id="rId139"/>
    <p:sldLayoutId id="2147489853" r:id="rId140"/>
    <p:sldLayoutId id="2147487778" r:id="rId141"/>
    <p:sldLayoutId id="2147487779" r:id="rId142"/>
    <p:sldLayoutId id="2147491462" r:id="rId143"/>
    <p:sldLayoutId id="2147487215" r:id="rId144"/>
    <p:sldLayoutId id="2147487226" r:id="rId145"/>
    <p:sldLayoutId id="2147487227" r:id="rId146"/>
    <p:sldLayoutId id="2147491463" r:id="rId147"/>
    <p:sldLayoutId id="2147491464" r:id="rId148"/>
    <p:sldLayoutId id="2147491465" r:id="rId149"/>
    <p:sldLayoutId id="2147487058" r:id="rId150"/>
    <p:sldLayoutId id="2147487231" r:id="rId151"/>
    <p:sldLayoutId id="2147490053" r:id="rId152"/>
    <p:sldLayoutId id="2147487232" r:id="rId153"/>
    <p:sldLayoutId id="2147487233" r:id="rId154"/>
    <p:sldLayoutId id="2147487234" r:id="rId155"/>
    <p:sldLayoutId id="2147487235" r:id="rId156"/>
    <p:sldLayoutId id="2147490745" r:id="rId157"/>
    <p:sldLayoutId id="2147490746" r:id="rId158"/>
    <p:sldLayoutId id="2147487236" r:id="rId159"/>
    <p:sldLayoutId id="2147487237" r:id="rId160"/>
    <p:sldLayoutId id="2147491466" r:id="rId161"/>
    <p:sldLayoutId id="2147491467" r:id="rId162"/>
    <p:sldLayoutId id="2147487060" r:id="rId163"/>
    <p:sldLayoutId id="2147487061" r:id="rId164"/>
    <p:sldLayoutId id="2147490054" r:id="rId165"/>
    <p:sldLayoutId id="2147487062" r:id="rId166"/>
    <p:sldLayoutId id="2147490384" r:id="rId167"/>
    <p:sldLayoutId id="2147487242" r:id="rId168"/>
    <p:sldLayoutId id="2147487063" r:id="rId169"/>
    <p:sldLayoutId id="2147487244" r:id="rId170"/>
    <p:sldLayoutId id="2147487245" r:id="rId171"/>
    <p:sldLayoutId id="2147490747" r:id="rId172"/>
    <p:sldLayoutId id="2147490748" r:id="rId173"/>
    <p:sldLayoutId id="2147487246" r:id="rId174"/>
    <p:sldLayoutId id="2147487064" r:id="rId175"/>
    <p:sldLayoutId id="2147491468" r:id="rId176"/>
    <p:sldLayoutId id="2147487820" r:id="rId177"/>
    <p:sldLayoutId id="2147487821" r:id="rId178"/>
    <p:sldLayoutId id="2147487822" r:id="rId179"/>
    <p:sldLayoutId id="2147491469" r:id="rId180"/>
    <p:sldLayoutId id="2147487249" r:id="rId181"/>
    <p:sldLayoutId id="2147487250" r:id="rId182"/>
    <p:sldLayoutId id="2147490055" r:id="rId183"/>
    <p:sldLayoutId id="2147487251" r:id="rId184"/>
    <p:sldLayoutId id="2147487829" r:id="rId185"/>
    <p:sldLayoutId id="2147487252" r:id="rId186"/>
    <p:sldLayoutId id="2147491470" r:id="rId187"/>
    <p:sldLayoutId id="2147487066" r:id="rId188"/>
    <p:sldLayoutId id="2147487067" r:id="rId189"/>
    <p:sldLayoutId id="2147487068" r:id="rId190"/>
    <p:sldLayoutId id="2147491471" r:id="rId191"/>
    <p:sldLayoutId id="2147491472" r:id="rId192"/>
    <p:sldLayoutId id="2147487070" r:id="rId193"/>
    <p:sldLayoutId id="2147487071" r:id="rId194"/>
    <p:sldLayoutId id="2147490056" r:id="rId195"/>
    <p:sldLayoutId id="2147487072" r:id="rId196"/>
    <p:sldLayoutId id="2147487073" r:id="rId197"/>
    <p:sldLayoutId id="2147487074" r:id="rId198"/>
    <p:sldLayoutId id="2147487075" r:id="rId199"/>
    <p:sldLayoutId id="2147487842" r:id="rId200"/>
    <p:sldLayoutId id="2147487843" r:id="rId201"/>
    <p:sldLayoutId id="2147491473" r:id="rId202"/>
    <p:sldLayoutId id="2147490121" r:id="rId203"/>
    <p:sldLayoutId id="2147488140" r:id="rId204"/>
    <p:sldLayoutId id="2147488141" r:id="rId205"/>
    <p:sldLayoutId id="2147490124" r:id="rId206"/>
    <p:sldLayoutId id="2147488143" r:id="rId207"/>
    <p:sldLayoutId id="2147488144" r:id="rId208"/>
    <p:sldLayoutId id="2147490127" r:id="rId209"/>
    <p:sldLayoutId id="2147491088" r:id="rId210"/>
    <p:sldLayoutId id="2147487351" r:id="rId211"/>
    <p:sldLayoutId id="2147488151" r:id="rId212"/>
    <p:sldLayoutId id="2147488152" r:id="rId213"/>
    <p:sldLayoutId id="2147488153" r:id="rId214"/>
    <p:sldLayoutId id="2147488154" r:id="rId215"/>
    <p:sldLayoutId id="2147488155" r:id="rId216"/>
    <p:sldLayoutId id="2147488156" r:id="rId217"/>
    <p:sldLayoutId id="2147488157" r:id="rId218"/>
    <p:sldLayoutId id="2147488158" r:id="rId219"/>
    <p:sldLayoutId id="2147488159" r:id="rId220"/>
    <p:sldLayoutId id="2147488160" r:id="rId221"/>
    <p:sldLayoutId id="2147488161" r:id="rId222"/>
    <p:sldLayoutId id="2147488162" r:id="rId223"/>
    <p:sldLayoutId id="2147488163" r:id="rId224"/>
    <p:sldLayoutId id="2147488164" r:id="rId225"/>
    <p:sldLayoutId id="2147488165" r:id="rId226"/>
    <p:sldLayoutId id="2147488166" r:id="rId227"/>
    <p:sldLayoutId id="2147488167" r:id="rId228"/>
    <p:sldLayoutId id="2147488168" r:id="rId229"/>
    <p:sldLayoutId id="2147488169" r:id="rId230"/>
    <p:sldLayoutId id="2147488170" r:id="rId231"/>
    <p:sldLayoutId id="2147488171" r:id="rId232"/>
    <p:sldLayoutId id="2147488172" r:id="rId233"/>
    <p:sldLayoutId id="2147488173" r:id="rId234"/>
    <p:sldLayoutId id="2147488174" r:id="rId235"/>
    <p:sldLayoutId id="2147488176" r:id="rId236"/>
    <p:sldLayoutId id="2147488177" r:id="rId237"/>
    <p:sldLayoutId id="2147488178" r:id="rId238"/>
    <p:sldLayoutId id="2147488182" r:id="rId239"/>
    <p:sldLayoutId id="2147488183" r:id="rId240"/>
    <p:sldLayoutId id="2147488184" r:id="rId241"/>
    <p:sldLayoutId id="2147488185" r:id="rId242"/>
    <p:sldLayoutId id="2147488186" r:id="rId243"/>
    <p:sldLayoutId id="2147490131" r:id="rId244"/>
    <p:sldLayoutId id="2147488189" r:id="rId245"/>
    <p:sldLayoutId id="2147490132" r:id="rId246"/>
    <p:sldLayoutId id="2147490133" r:id="rId247"/>
    <p:sldLayoutId id="2147487265" r:id="rId248"/>
    <p:sldLayoutId id="2147487266" r:id="rId249"/>
    <p:sldLayoutId id="2147487076" r:id="rId250"/>
    <p:sldLayoutId id="2147487078" r:id="rId251"/>
    <p:sldLayoutId id="2147487270" r:id="rId252"/>
    <p:sldLayoutId id="2147490057" r:id="rId253"/>
    <p:sldLayoutId id="2147487271" r:id="rId254"/>
    <p:sldLayoutId id="2147487272" r:id="rId255"/>
    <p:sldLayoutId id="2147487273" r:id="rId256"/>
    <p:sldLayoutId id="2147487274" r:id="rId257"/>
    <p:sldLayoutId id="2147490749" r:id="rId258"/>
    <p:sldLayoutId id="2147490750" r:id="rId259"/>
    <p:sldLayoutId id="2147487275" r:id="rId260"/>
    <p:sldLayoutId id="2147487276" r:id="rId261"/>
    <p:sldLayoutId id="2147491474" r:id="rId262"/>
    <p:sldLayoutId id="2147487859" r:id="rId263"/>
    <p:sldLayoutId id="2147491475" r:id="rId264"/>
    <p:sldLayoutId id="2147491476" r:id="rId265"/>
    <p:sldLayoutId id="2147487081" r:id="rId266"/>
    <p:sldLayoutId id="2147487082" r:id="rId267"/>
    <p:sldLayoutId id="2147491083" r:id="rId268"/>
    <p:sldLayoutId id="2147490058" r:id="rId269"/>
    <p:sldLayoutId id="2147487083" r:id="rId270"/>
    <p:sldLayoutId id="2147487084" r:id="rId271"/>
    <p:sldLayoutId id="2147487086" r:id="rId272"/>
    <p:sldLayoutId id="2147487087" r:id="rId273"/>
    <p:sldLayoutId id="2147487869" r:id="rId274"/>
    <p:sldLayoutId id="2147487870" r:id="rId275"/>
    <p:sldLayoutId id="2147487871" r:id="rId276"/>
    <p:sldLayoutId id="2147487872" r:id="rId277"/>
    <p:sldLayoutId id="2147491477" r:id="rId278"/>
    <p:sldLayoutId id="2147491478" r:id="rId279"/>
    <p:sldLayoutId id="2147491479" r:id="rId280"/>
    <p:sldLayoutId id="2147491480" r:id="rId281"/>
    <p:sldLayoutId id="2147491481" r:id="rId282"/>
    <p:sldLayoutId id="2147490984" r:id="rId283"/>
    <p:sldLayoutId id="2147487294" r:id="rId284"/>
    <p:sldLayoutId id="2147491084" r:id="rId285"/>
    <p:sldLayoutId id="2147490061" r:id="rId286"/>
    <p:sldLayoutId id="2147487295" r:id="rId287"/>
    <p:sldLayoutId id="2147487296" r:id="rId288"/>
    <p:sldLayoutId id="2147487882" r:id="rId289"/>
    <p:sldLayoutId id="2147487298" r:id="rId290"/>
    <p:sldLayoutId id="2147491482" r:id="rId291"/>
    <p:sldLayoutId id="2147490985" r:id="rId292"/>
    <p:sldLayoutId id="2147490986" r:id="rId293"/>
    <p:sldLayoutId id="2147491483" r:id="rId294"/>
    <p:sldLayoutId id="2147491484" r:id="rId295"/>
    <p:sldLayoutId id="2147490989" r:id="rId296"/>
    <p:sldLayoutId id="2147490990" r:id="rId297"/>
    <p:sldLayoutId id="2147491485" r:id="rId298"/>
    <p:sldLayoutId id="2147490992" r:id="rId299"/>
    <p:sldLayoutId id="2147490993" r:id="rId300"/>
    <p:sldLayoutId id="2147490994" r:id="rId301"/>
    <p:sldLayoutId id="2147490995" r:id="rId302"/>
    <p:sldLayoutId id="2147490996" r:id="rId303"/>
    <p:sldLayoutId id="2147490997" r:id="rId304"/>
    <p:sldLayoutId id="2147490998" r:id="rId305"/>
    <p:sldLayoutId id="2147490999" r:id="rId306"/>
    <p:sldLayoutId id="2147491486" r:id="rId307"/>
    <p:sldLayoutId id="2147491487" r:id="rId308"/>
    <p:sldLayoutId id="2147487311" r:id="rId309"/>
    <p:sldLayoutId id="2147491488" r:id="rId310"/>
    <p:sldLayoutId id="2147491489" r:id="rId311"/>
    <p:sldLayoutId id="2147487651" r:id="rId312"/>
    <p:sldLayoutId id="2147491490" r:id="rId313"/>
    <p:sldLayoutId id="2147491491" r:id="rId314"/>
    <p:sldLayoutId id="2147491492" r:id="rId315"/>
    <p:sldLayoutId id="2147491002" r:id="rId316"/>
    <p:sldLayoutId id="2147491003" r:id="rId317"/>
    <p:sldLayoutId id="2147487098" r:id="rId318"/>
    <p:sldLayoutId id="2147487907" r:id="rId319"/>
    <p:sldLayoutId id="2147487908" r:id="rId320"/>
    <p:sldLayoutId id="2147491493" r:id="rId321"/>
    <p:sldLayoutId id="2147491494" r:id="rId322"/>
    <p:sldLayoutId id="2147491495" r:id="rId323"/>
    <p:sldLayoutId id="2147487104" r:id="rId324"/>
    <p:sldLayoutId id="2147487326" r:id="rId325"/>
    <p:sldLayoutId id="2147487105" r:id="rId326"/>
    <p:sldLayoutId id="2147491496" r:id="rId327"/>
    <p:sldLayoutId id="2147491497" r:id="rId328"/>
    <p:sldLayoutId id="2147491498" r:id="rId329"/>
    <p:sldLayoutId id="2147487108" r:id="rId330"/>
    <p:sldLayoutId id="2147487109" r:id="rId331"/>
    <p:sldLayoutId id="2147490065" r:id="rId332"/>
    <p:sldLayoutId id="2147487110" r:id="rId333"/>
    <p:sldLayoutId id="2147487111" r:id="rId334"/>
    <p:sldLayoutId id="2147487112" r:id="rId335"/>
    <p:sldLayoutId id="2147487113" r:id="rId336"/>
    <p:sldLayoutId id="2147487926" r:id="rId337"/>
    <p:sldLayoutId id="2147487927" r:id="rId338"/>
    <p:sldLayoutId id="2147491499" r:id="rId339"/>
    <p:sldLayoutId id="2147491500" r:id="rId340"/>
    <p:sldLayoutId id="2147487122" r:id="rId341"/>
    <p:sldLayoutId id="2147487123" r:id="rId342"/>
    <p:sldLayoutId id="2147487346" r:id="rId343"/>
    <p:sldLayoutId id="2147491501" r:id="rId344"/>
    <p:sldLayoutId id="2147487348" r:id="rId345"/>
    <p:sldLayoutId id="2147487349" r:id="rId346"/>
    <p:sldLayoutId id="2147490265" r:id="rId347"/>
    <p:sldLayoutId id="2147491282" r:id="rId348"/>
    <p:sldLayoutId id="2147491283" r:id="rId349"/>
    <p:sldLayoutId id="2147491284" r:id="rId350"/>
    <p:sldLayoutId id="2147491285" r:id="rId351"/>
    <p:sldLayoutId id="2147487939" r:id="rId352"/>
    <p:sldLayoutId id="2147487940" r:id="rId353"/>
    <p:sldLayoutId id="2147487942" r:id="rId354"/>
    <p:sldLayoutId id="2147487943" r:id="rId355"/>
    <p:sldLayoutId id="2147490071" r:id="rId356"/>
    <p:sldLayoutId id="2147490072" r:id="rId357"/>
    <p:sldLayoutId id="2147491502" r:id="rId358"/>
    <p:sldLayoutId id="2147491503" r:id="rId359"/>
    <p:sldLayoutId id="2147491504" r:id="rId360"/>
    <p:sldLayoutId id="2147491505" r:id="rId361"/>
    <p:sldLayoutId id="2147491292" r:id="rId362"/>
    <p:sldLayoutId id="2147493990" r:id="rId363"/>
    <p:sldLayoutId id="2147491287" r:id="rId364"/>
    <p:sldLayoutId id="2147491288" r:id="rId365"/>
    <p:sldLayoutId id="2147491289" r:id="rId366"/>
    <p:sldLayoutId id="2147491507" r:id="rId367"/>
    <p:sldLayoutId id="2147491508" r:id="rId368"/>
    <p:sldLayoutId id="2147487307" r:id="rId369"/>
    <p:sldLayoutId id="2147488765" r:id="rId370"/>
    <p:sldLayoutId id="2147491509" r:id="rId371"/>
    <p:sldLayoutId id="2147488767" r:id="rId372"/>
    <p:sldLayoutId id="2147491510" r:id="rId373"/>
    <p:sldLayoutId id="2147491068" r:id="rId374"/>
    <p:sldLayoutId id="2147491290" r:id="rId375"/>
    <p:sldLayoutId id="2147487005" r:id="rId376"/>
    <p:sldLayoutId id="2147493983" r:id="rId377"/>
    <p:sldLayoutId id="2147491512" r:id="rId378"/>
    <p:sldLayoutId id="2147494018" r:id="rId379"/>
    <p:sldLayoutId id="2147490287" r:id="rId380"/>
    <p:sldLayoutId id="2147489792" r:id="rId381"/>
    <p:sldLayoutId id="2147490077" r:id="rId382"/>
    <p:sldLayoutId id="2147490290" r:id="rId383"/>
    <p:sldLayoutId id="2147490078" r:id="rId384"/>
    <p:sldLayoutId id="2147490079" r:id="rId385"/>
    <p:sldLayoutId id="2147490293" r:id="rId386"/>
    <p:sldLayoutId id="2147490294" r:id="rId387"/>
    <p:sldLayoutId id="2147490295" r:id="rId388"/>
    <p:sldLayoutId id="2147490296" r:id="rId389"/>
    <p:sldLayoutId id="2147490297" r:id="rId390"/>
    <p:sldLayoutId id="2147490084" r:id="rId391"/>
    <p:sldLayoutId id="2147490085" r:id="rId392"/>
    <p:sldLayoutId id="2147490300" r:id="rId393"/>
    <p:sldLayoutId id="2147490086" r:id="rId394"/>
    <p:sldLayoutId id="2147490302" r:id="rId395"/>
    <p:sldLayoutId id="2147490088" r:id="rId396"/>
    <p:sldLayoutId id="2147490304" r:id="rId397"/>
    <p:sldLayoutId id="2147490089" r:id="rId398"/>
    <p:sldLayoutId id="2147490306" r:id="rId399"/>
    <p:sldLayoutId id="2147491008" r:id="rId400"/>
    <p:sldLayoutId id="2147491085" r:id="rId401"/>
    <p:sldLayoutId id="2147491009" r:id="rId402"/>
    <p:sldLayoutId id="2147491010" r:id="rId403"/>
    <p:sldLayoutId id="2147491011" r:id="rId404"/>
    <p:sldLayoutId id="2147490091" r:id="rId405"/>
    <p:sldLayoutId id="2147491065" r:id="rId406"/>
    <p:sldLayoutId id="2147491066" r:id="rId407"/>
    <p:sldLayoutId id="2147488417" r:id="rId408"/>
    <p:sldLayoutId id="2147490311" r:id="rId409"/>
    <p:sldLayoutId id="2147490312" r:id="rId410"/>
    <p:sldLayoutId id="2147490313" r:id="rId411"/>
    <p:sldLayoutId id="2147490093" r:id="rId412"/>
    <p:sldLayoutId id="2147490315" r:id="rId413"/>
    <p:sldLayoutId id="2147490316" r:id="rId414"/>
    <p:sldLayoutId id="2147490317" r:id="rId415"/>
    <p:sldLayoutId id="2147491086" r:id="rId416"/>
    <p:sldLayoutId id="2147491087" r:id="rId417"/>
    <p:sldLayoutId id="2147491294" r:id="rId418"/>
    <p:sldLayoutId id="2147491295" r:id="rId419"/>
    <p:sldLayoutId id="2147488298" r:id="rId420"/>
    <p:sldLayoutId id="2147488299" r:id="rId421"/>
    <p:sldLayoutId id="2147491297" r:id="rId422"/>
    <p:sldLayoutId id="2147491298" r:id="rId423"/>
    <p:sldLayoutId id="2147491299" r:id="rId424"/>
    <p:sldLayoutId id="2147491300" r:id="rId425"/>
    <p:sldLayoutId id="2147491301" r:id="rId426"/>
    <p:sldLayoutId id="2147491302" r:id="rId427"/>
    <p:sldLayoutId id="2147491303" r:id="rId428"/>
    <p:sldLayoutId id="2147491304" r:id="rId429"/>
    <p:sldLayoutId id="2147491305" r:id="rId430"/>
    <p:sldLayoutId id="2147491306" r:id="rId431"/>
    <p:sldLayoutId id="2147491307" r:id="rId432"/>
    <p:sldLayoutId id="2147491308" r:id="rId433"/>
    <p:sldLayoutId id="2147491309" r:id="rId434"/>
    <p:sldLayoutId id="2147491310" r:id="rId435"/>
    <p:sldLayoutId id="2147491311" r:id="rId436"/>
    <p:sldLayoutId id="2147491312" r:id="rId437"/>
    <p:sldLayoutId id="2147491313" r:id="rId438"/>
    <p:sldLayoutId id="2147493993" r:id="rId439"/>
    <p:sldLayoutId id="2147488669" r:id="rId440"/>
    <p:sldLayoutId id="2147488670" r:id="rId441"/>
    <p:sldLayoutId id="2147488671" r:id="rId442"/>
    <p:sldLayoutId id="2147488242" r:id="rId443"/>
    <p:sldLayoutId id="2147491314" r:id="rId444"/>
    <p:sldLayoutId id="2147491315" r:id="rId445"/>
    <p:sldLayoutId id="2147491316" r:id="rId446"/>
    <p:sldLayoutId id="2147487126" r:id="rId447"/>
    <p:sldLayoutId id="2147487127" r:id="rId448"/>
    <p:sldLayoutId id="2147487128" r:id="rId449"/>
    <p:sldLayoutId id="2147491514" r:id="rId450"/>
    <p:sldLayoutId id="2147491515" r:id="rId451"/>
    <p:sldLayoutId id="2147491516" r:id="rId452"/>
    <p:sldLayoutId id="2147491317" r:id="rId453"/>
    <p:sldLayoutId id="2147491517" r:id="rId454"/>
    <p:sldLayoutId id="2147491518" r:id="rId455"/>
    <p:sldLayoutId id="2147491519" r:id="rId456"/>
    <p:sldLayoutId id="2147484695" r:id="rId457"/>
    <p:sldLayoutId id="2147484696" r:id="rId458"/>
    <p:sldLayoutId id="2147485639" r:id="rId459"/>
    <p:sldLayoutId id="2147484563" r:id="rId460"/>
    <p:sldLayoutId id="2147494002" r:id="rId461"/>
    <p:sldLayoutId id="2147494003" r:id="rId462"/>
    <p:sldLayoutId id="2147485641" r:id="rId463"/>
    <p:sldLayoutId id="2147491520" r:id="rId464"/>
    <p:sldLayoutId id="2147491521" r:id="rId465"/>
    <p:sldLayoutId id="2147485644" r:id="rId466"/>
    <p:sldLayoutId id="2147491522" r:id="rId467"/>
    <p:sldLayoutId id="2147491523" r:id="rId468"/>
    <p:sldLayoutId id="2147485645" r:id="rId469"/>
    <p:sldLayoutId id="2147488078" r:id="rId470"/>
    <p:sldLayoutId id="2147485646" r:id="rId471"/>
    <p:sldLayoutId id="2147491524" r:id="rId472"/>
    <p:sldLayoutId id="2147485647" r:id="rId473"/>
    <p:sldLayoutId id="2147484570" r:id="rId474"/>
    <p:sldLayoutId id="2147491525" r:id="rId475"/>
    <p:sldLayoutId id="2147491400" r:id="rId476"/>
    <p:sldLayoutId id="2147494153" r:id="rId477"/>
    <p:sldLayoutId id="2147494154" r:id="rId478"/>
    <p:sldLayoutId id="2147485649" r:id="rId479"/>
    <p:sldLayoutId id="2147484572" r:id="rId480"/>
    <p:sldLayoutId id="2147491526" r:id="rId481"/>
    <p:sldLayoutId id="2147491527" r:id="rId482"/>
    <p:sldLayoutId id="2147491379" r:id="rId483"/>
    <p:sldLayoutId id="2147491269" r:id="rId484"/>
    <p:sldLayoutId id="2147491380" r:id="rId485"/>
    <p:sldLayoutId id="2147491528" r:id="rId486"/>
    <p:sldLayoutId id="2147485070" r:id="rId487"/>
    <p:sldLayoutId id="2147491381" r:id="rId488"/>
    <p:sldLayoutId id="2147491382" r:id="rId489"/>
    <p:sldLayoutId id="2147491383" r:id="rId490"/>
    <p:sldLayoutId id="2147491384" r:id="rId491"/>
    <p:sldLayoutId id="2147491529" r:id="rId492"/>
    <p:sldLayoutId id="2147491385" r:id="rId493"/>
    <p:sldLayoutId id="2147491530" r:id="rId494"/>
    <p:sldLayoutId id="2147491531" r:id="rId495"/>
    <p:sldLayoutId id="2147491532" r:id="rId496"/>
    <p:sldLayoutId id="2147491352" r:id="rId497"/>
    <p:sldLayoutId id="2147491353" r:id="rId498"/>
    <p:sldLayoutId id="2147491354" r:id="rId499"/>
    <p:sldLayoutId id="2147491355" r:id="rId500"/>
    <p:sldLayoutId id="2147494160" r:id="rId501"/>
    <p:sldLayoutId id="2147491356" r:id="rId502"/>
    <p:sldLayoutId id="2147494161" r:id="rId503"/>
    <p:sldLayoutId id="2147494162" r:id="rId504"/>
    <p:sldLayoutId id="2147491533" r:id="rId505"/>
    <p:sldLayoutId id="2147488564" r:id="rId506"/>
    <p:sldLayoutId id="2147494008" r:id="rId507"/>
    <p:sldLayoutId id="2147488566" r:id="rId508"/>
    <p:sldLayoutId id="2147494009" r:id="rId509"/>
    <p:sldLayoutId id="2147494010" r:id="rId510"/>
    <p:sldLayoutId id="2147494011" r:id="rId511"/>
    <p:sldLayoutId id="2147494012" r:id="rId512"/>
    <p:sldLayoutId id="2147494013" r:id="rId513"/>
    <p:sldLayoutId id="2147494014" r:id="rId514"/>
    <p:sldLayoutId id="2147494015" r:id="rId515"/>
    <p:sldLayoutId id="2147494016" r:id="rId516"/>
    <p:sldLayoutId id="2147494017" r:id="rId517"/>
    <p:sldLayoutId id="2147491534" r:id="rId518"/>
    <p:sldLayoutId id="2147491357" r:id="rId519"/>
    <p:sldLayoutId id="2147491358" r:id="rId520"/>
    <p:sldLayoutId id="2147491359" r:id="rId521"/>
    <p:sldLayoutId id="2147484671" r:id="rId522"/>
    <p:sldLayoutId id="2147484672" r:id="rId523"/>
    <p:sldLayoutId id="2147491344" r:id="rId524"/>
    <p:sldLayoutId id="2147491360" r:id="rId525"/>
    <p:sldLayoutId id="2147491535" r:id="rId526"/>
    <p:sldLayoutId id="2147491536" r:id="rId527"/>
    <p:sldLayoutId id="2147484682" r:id="rId528"/>
    <p:sldLayoutId id="2147484683" r:id="rId529"/>
    <p:sldLayoutId id="2147484684" r:id="rId530"/>
    <p:sldLayoutId id="2147491537" r:id="rId531"/>
    <p:sldLayoutId id="2147491538" r:id="rId532"/>
    <p:sldLayoutId id="2147491539" r:id="rId533"/>
    <p:sldLayoutId id="2147491540" r:id="rId534"/>
    <p:sldLayoutId id="2147491094" r:id="rId535"/>
    <p:sldLayoutId id="2147484687" r:id="rId536"/>
    <p:sldLayoutId id="2147484688" r:id="rId537"/>
    <p:sldLayoutId id="2147484689" r:id="rId538"/>
    <p:sldLayoutId id="2147488325" r:id="rId539"/>
    <p:sldLayoutId id="2147484691" r:id="rId540"/>
    <p:sldLayoutId id="2147491541" r:id="rId541"/>
    <p:sldLayoutId id="2147491542" r:id="rId542"/>
    <p:sldLayoutId id="2147491543" r:id="rId543"/>
    <p:sldLayoutId id="2147491544" r:id="rId544"/>
    <p:sldLayoutId id="2147491545" r:id="rId545"/>
    <p:sldLayoutId id="2147491546" r:id="rId546"/>
    <p:sldLayoutId id="2147488280" r:id="rId547"/>
    <p:sldLayoutId id="2147488281" r:id="rId548"/>
    <p:sldLayoutId id="2147491093" r:id="rId549"/>
    <p:sldLayoutId id="2147488283" r:id="rId550"/>
    <p:sldLayoutId id="2147488284" r:id="rId551"/>
    <p:sldLayoutId id="2147488285" r:id="rId552"/>
    <p:sldLayoutId id="2147491547" r:id="rId553"/>
    <p:sldLayoutId id="2147485078" r:id="rId554"/>
    <p:sldLayoutId id="2147485079" r:id="rId555"/>
    <p:sldLayoutId id="2147485080" r:id="rId556"/>
    <p:sldLayoutId id="2147485081" r:id="rId557"/>
    <p:sldLayoutId id="2147484703" r:id="rId558"/>
    <p:sldLayoutId id="2147485083" r:id="rId559"/>
    <p:sldLayoutId id="2147484705" r:id="rId560"/>
    <p:sldLayoutId id="2147484706" r:id="rId561"/>
    <p:sldLayoutId id="2147491548" r:id="rId562"/>
    <p:sldLayoutId id="2147488313" r:id="rId563"/>
    <p:sldLayoutId id="2147484559" r:id="rId564"/>
    <p:sldLayoutId id="2147491550" r:id="rId565"/>
    <p:sldLayoutId id="2147486834" r:id="rId566"/>
    <p:sldLayoutId id="2147486835" r:id="rId567"/>
    <p:sldLayoutId id="2147486836" r:id="rId568"/>
    <p:sldLayoutId id="2147484714" r:id="rId569"/>
    <p:sldLayoutId id="2147486837" r:id="rId570"/>
    <p:sldLayoutId id="2147486839" r:id="rId571"/>
    <p:sldLayoutId id="2147485444" r:id="rId572"/>
    <p:sldLayoutId id="2147491372" r:id="rId573"/>
    <p:sldLayoutId id="2147491551" r:id="rId574"/>
    <p:sldLayoutId id="2147491552" r:id="rId575"/>
    <p:sldLayoutId id="2147491553" r:id="rId576"/>
    <p:sldLayoutId id="2147491373" r:id="rId577"/>
    <p:sldLayoutId id="2147491374" r:id="rId578"/>
    <p:sldLayoutId id="2147491375" r:id="rId579"/>
    <p:sldLayoutId id="2147491386" r:id="rId580"/>
    <p:sldLayoutId id="2147491387" r:id="rId581"/>
    <p:sldLayoutId id="2147491376" r:id="rId582"/>
    <p:sldLayoutId id="2147484475" r:id="rId583"/>
    <p:sldLayoutId id="2147486926" r:id="rId584"/>
    <p:sldLayoutId id="2147485425" r:id="rId585"/>
    <p:sldLayoutId id="2147491555" r:id="rId586"/>
    <p:sldLayoutId id="2147484418" r:id="rId587"/>
    <p:sldLayoutId id="2147491389" r:id="rId588"/>
    <p:sldLayoutId id="2147491390" r:id="rId589"/>
    <p:sldLayoutId id="2147491377" r:id="rId590"/>
    <p:sldLayoutId id="2147491378" r:id="rId591"/>
    <p:sldLayoutId id="2147494155" r:id="rId592"/>
    <p:sldLayoutId id="2147491391" r:id="rId593"/>
    <p:sldLayoutId id="2147494156" r:id="rId594"/>
    <p:sldLayoutId id="2147494157" r:id="rId595"/>
    <p:sldLayoutId id="2147494158" r:id="rId596"/>
    <p:sldLayoutId id="2147491296" r:id="rId597"/>
    <p:sldLayoutId id="2147486079" r:id="rId598"/>
    <p:sldLayoutId id="2147490979" r:id="rId599"/>
    <p:sldLayoutId id="2147490980" r:id="rId600"/>
    <p:sldLayoutId id="2147490981" r:id="rId601"/>
    <p:sldLayoutId id="2147490982" r:id="rId602"/>
    <p:sldLayoutId id="2147490983" r:id="rId603"/>
    <p:sldLayoutId id="2147487747" r:id="rId604"/>
    <p:sldLayoutId id="2147487748" r:id="rId605"/>
    <p:sldLayoutId id="2147491131" r:id="rId606"/>
    <p:sldLayoutId id="2147487353" r:id="rId607"/>
    <p:sldLayoutId id="2147487354" r:id="rId608"/>
    <p:sldLayoutId id="2147491249" r:id="rId609"/>
    <p:sldLayoutId id="2147491250" r:id="rId610"/>
    <p:sldLayoutId id="2147491251" r:id="rId611"/>
    <p:sldLayoutId id="2147488306" r:id="rId612"/>
    <p:sldLayoutId id="2147486396" r:id="rId613"/>
    <p:sldLayoutId id="2147486397" r:id="rId614"/>
    <p:sldLayoutId id="2147486418" r:id="rId615"/>
    <p:sldLayoutId id="2147487453" r:id="rId616"/>
    <p:sldLayoutId id="2147491557" r:id="rId617"/>
    <p:sldLayoutId id="2147485630" r:id="rId618"/>
    <p:sldLayoutId id="2147485631" r:id="rId619"/>
    <p:sldLayoutId id="2147485632" r:id="rId620"/>
    <p:sldLayoutId id="2147485385" r:id="rId621"/>
    <p:sldLayoutId id="2147485469" r:id="rId622"/>
    <p:sldLayoutId id="2147493982" r:id="rId623"/>
    <p:sldLayoutId id="2147491340" r:id="rId624"/>
    <p:sldLayoutId id="2147491559" r:id="rId625"/>
    <p:sldLayoutId id="2147487132" r:id="rId626"/>
    <p:sldLayoutId id="2147487133" r:id="rId627"/>
    <p:sldLayoutId id="2147491021" r:id="rId628"/>
    <p:sldLayoutId id="2147487134" r:id="rId629"/>
    <p:sldLayoutId id="2147490286" r:id="rId630"/>
    <p:sldLayoutId id="2147491560" r:id="rId631"/>
    <p:sldLayoutId id="2147487136" r:id="rId632"/>
    <p:sldLayoutId id="2147487137" r:id="rId633"/>
    <p:sldLayoutId id="2147490095" r:id="rId634"/>
    <p:sldLayoutId id="2147487138" r:id="rId635"/>
    <p:sldLayoutId id="2147487139" r:id="rId636"/>
    <p:sldLayoutId id="2147487140" r:id="rId637"/>
    <p:sldLayoutId id="2147487141" r:id="rId638"/>
    <p:sldLayoutId id="2147490096" r:id="rId639"/>
    <p:sldLayoutId id="2147490338" r:id="rId640"/>
    <p:sldLayoutId id="2147490099" r:id="rId641"/>
    <p:sldLayoutId id="2147490100" r:id="rId642"/>
    <p:sldLayoutId id="2147490101" r:id="rId643"/>
    <p:sldLayoutId id="2147491318" r:id="rId644"/>
    <p:sldLayoutId id="2147491319" r:id="rId645"/>
    <p:sldLayoutId id="2147490339" r:id="rId646"/>
    <p:sldLayoutId id="2147490102" r:id="rId647"/>
    <p:sldLayoutId id="2147488097" r:id="rId648"/>
    <p:sldLayoutId id="2147488098" r:id="rId649"/>
    <p:sldLayoutId id="2147490533" r:id="rId650"/>
    <p:sldLayoutId id="2147488100" r:id="rId651"/>
    <p:sldLayoutId id="2147488101" r:id="rId652"/>
    <p:sldLayoutId id="2147490105" r:id="rId653"/>
    <p:sldLayoutId id="2147490106" r:id="rId654"/>
    <p:sldLayoutId id="2147488104" r:id="rId655"/>
    <p:sldLayoutId id="2147488105" r:id="rId656"/>
    <p:sldLayoutId id="2147490107" r:id="rId657"/>
    <p:sldLayoutId id="2147488107" r:id="rId658"/>
    <p:sldLayoutId id="2147488108" r:id="rId659"/>
    <p:sldLayoutId id="2147490108" r:id="rId660"/>
    <p:sldLayoutId id="2147488110" r:id="rId661"/>
    <p:sldLayoutId id="2147488111" r:id="rId662"/>
    <p:sldLayoutId id="2147488112" r:id="rId663"/>
    <p:sldLayoutId id="2147488113" r:id="rId664"/>
    <p:sldLayoutId id="2147488114" r:id="rId665"/>
    <p:sldLayoutId id="2147488118" r:id="rId666"/>
    <p:sldLayoutId id="2147491024" r:id="rId667"/>
    <p:sldLayoutId id="2147491025" r:id="rId668"/>
    <p:sldLayoutId id="2147491026" r:id="rId669"/>
    <p:sldLayoutId id="2147490109" r:id="rId670"/>
    <p:sldLayoutId id="2147490110" r:id="rId671"/>
    <p:sldLayoutId id="2147488121" r:id="rId672"/>
    <p:sldLayoutId id="2147490111" r:id="rId673"/>
    <p:sldLayoutId id="2147485556" r:id="rId674"/>
    <p:sldLayoutId id="2147491027" r:id="rId675"/>
    <p:sldLayoutId id="2147490113" r:id="rId676"/>
    <p:sldLayoutId id="2147488127" r:id="rId677"/>
    <p:sldLayoutId id="2147488128" r:id="rId678"/>
    <p:sldLayoutId id="2147490544" r:id="rId679"/>
    <p:sldLayoutId id="2147488130" r:id="rId680"/>
    <p:sldLayoutId id="2147488131" r:id="rId681"/>
    <p:sldLayoutId id="2147490116" r:id="rId682"/>
    <p:sldLayoutId id="2147490117" r:id="rId683"/>
    <p:sldLayoutId id="2147490118" r:id="rId684"/>
    <p:sldLayoutId id="2147488135" r:id="rId685"/>
    <p:sldLayoutId id="2147491561" r:id="rId686"/>
    <p:sldLayoutId id="2147488137" r:id="rId687"/>
    <p:sldLayoutId id="2147491320" r:id="rId688"/>
    <p:sldLayoutId id="2147485072" r:id="rId689"/>
    <p:sldLayoutId id="2147491562" r:id="rId690"/>
    <p:sldLayoutId id="2147491563" r:id="rId691"/>
    <p:sldLayoutId id="2147484566" r:id="rId692"/>
    <p:sldLayoutId id="2147491565" r:id="rId693"/>
    <p:sldLayoutId id="2147491341" r:id="rId694"/>
    <p:sldLayoutId id="2147491349" r:id="rId695"/>
    <p:sldLayoutId id="2147491343" r:id="rId696"/>
    <p:sldLayoutId id="2147491566" r:id="rId697"/>
    <p:sldLayoutId id="2147491345" r:id="rId698"/>
    <p:sldLayoutId id="2147491347" r:id="rId699"/>
    <p:sldLayoutId id="2147491361" r:id="rId700"/>
    <p:sldLayoutId id="2147491362" r:id="rId701"/>
    <p:sldLayoutId id="2147484742" r:id="rId702"/>
    <p:sldLayoutId id="2147491342" r:id="rId703"/>
    <p:sldLayoutId id="2147491102" r:id="rId704"/>
    <p:sldLayoutId id="2147484775" r:id="rId705"/>
    <p:sldLayoutId id="2147491567" r:id="rId706"/>
    <p:sldLayoutId id="2147484776" r:id="rId707"/>
    <p:sldLayoutId id="2147484777" r:id="rId708"/>
    <p:sldLayoutId id="2147486387" r:id="rId709"/>
    <p:sldLayoutId id="2147486389" r:id="rId710"/>
    <p:sldLayoutId id="2147486391" r:id="rId711"/>
    <p:sldLayoutId id="2147486949" r:id="rId712"/>
    <p:sldLayoutId id="2147491568" r:id="rId713"/>
    <p:sldLayoutId id="2147491569" r:id="rId714"/>
    <p:sldLayoutId id="2147491570" r:id="rId715"/>
    <p:sldLayoutId id="2147491369" r:id="rId716"/>
    <p:sldLayoutId id="2147488296" r:id="rId717"/>
    <p:sldLayoutId id="2147484758" r:id="rId718"/>
    <p:sldLayoutId id="2147484759" r:id="rId719"/>
    <p:sldLayoutId id="2147484760" r:id="rId720"/>
    <p:sldLayoutId id="2147484762" r:id="rId721"/>
    <p:sldLayoutId id="2147484763" r:id="rId722"/>
    <p:sldLayoutId id="2147484764" r:id="rId723"/>
    <p:sldLayoutId id="2147494005" r:id="rId724"/>
    <p:sldLayoutId id="2147494006" r:id="rId725"/>
    <p:sldLayoutId id="2147494007" r:id="rId726"/>
    <p:sldLayoutId id="2147491571" r:id="rId727"/>
    <p:sldLayoutId id="2147491572" r:id="rId728"/>
    <p:sldLayoutId id="2147491365" r:id="rId729"/>
    <p:sldLayoutId id="2147491348" r:id="rId730"/>
    <p:sldLayoutId id="2147491366" r:id="rId731"/>
    <p:sldLayoutId id="2147491367" r:id="rId732"/>
    <p:sldLayoutId id="2147484799" r:id="rId733"/>
    <p:sldLayoutId id="2147491368" r:id="rId734"/>
    <p:sldLayoutId id="2147484802" r:id="rId735"/>
    <p:sldLayoutId id="2147485410" r:id="rId736"/>
    <p:sldLayoutId id="2147490978" r:id="rId737"/>
    <p:sldLayoutId id="2147488393" r:id="rId738"/>
    <p:sldLayoutId id="2147488394" r:id="rId739"/>
    <p:sldLayoutId id="2147488387" r:id="rId740"/>
    <p:sldLayoutId id="2147487006" r:id="rId741"/>
    <p:sldLayoutId id="2147488384" r:id="rId742"/>
    <p:sldLayoutId id="2147491573" r:id="rId743"/>
    <p:sldLayoutId id="2147488385" r:id="rId744"/>
    <p:sldLayoutId id="2147494019" r:id="rId745"/>
    <p:sldLayoutId id="2147486367" r:id="rId746"/>
    <p:sldLayoutId id="2147487007" r:id="rId747"/>
    <p:sldLayoutId id="2147484810" r:id="rId748"/>
    <p:sldLayoutId id="2147490134" r:id="rId749"/>
    <p:sldLayoutId id="2147488438" r:id="rId750"/>
    <p:sldLayoutId id="2147488439" r:id="rId751"/>
    <p:sldLayoutId id="2147488440" r:id="rId752"/>
    <p:sldLayoutId id="2147488419" r:id="rId753"/>
    <p:sldLayoutId id="2147488390" r:id="rId754"/>
    <p:sldLayoutId id="2147493994" r:id="rId755"/>
    <p:sldLayoutId id="2147488380" r:id="rId756"/>
    <p:sldLayoutId id="2147494021" r:id="rId757"/>
    <p:sldLayoutId id="2147494022" r:id="rId758"/>
    <p:sldLayoutId id="2147494023" r:id="rId759"/>
    <p:sldLayoutId id="2147494024" r:id="rId760"/>
    <p:sldLayoutId id="2147490345" r:id="rId761"/>
    <p:sldLayoutId id="2147490346" r:id="rId762"/>
    <p:sldLayoutId id="2147488450" r:id="rId763"/>
    <p:sldLayoutId id="2147488451" r:id="rId764"/>
    <p:sldLayoutId id="2147488453" r:id="rId765"/>
    <p:sldLayoutId id="2147488454" r:id="rId766"/>
    <p:sldLayoutId id="2147488455" r:id="rId767"/>
    <p:sldLayoutId id="2147488456" r:id="rId768"/>
    <p:sldLayoutId id="2147491028" r:id="rId769"/>
    <p:sldLayoutId id="2147491029" r:id="rId770"/>
    <p:sldLayoutId id="2147490359" r:id="rId771"/>
    <p:sldLayoutId id="2147490140" r:id="rId772"/>
    <p:sldLayoutId id="2147488459" r:id="rId773"/>
    <p:sldLayoutId id="2147490363" r:id="rId774"/>
    <p:sldLayoutId id="2147490364" r:id="rId775"/>
    <p:sldLayoutId id="2147491030" r:id="rId776"/>
    <p:sldLayoutId id="2147491031" r:id="rId777"/>
    <p:sldLayoutId id="2147491032" r:id="rId778"/>
    <p:sldLayoutId id="2147491033" r:id="rId779"/>
    <p:sldLayoutId id="2147490365" r:id="rId780"/>
    <p:sldLayoutId id="2147488467" r:id="rId781"/>
    <p:sldLayoutId id="2147491321" r:id="rId782"/>
    <p:sldLayoutId id="2147491322" r:id="rId783"/>
    <p:sldLayoutId id="2147488706" r:id="rId784"/>
    <p:sldLayoutId id="2147491323" r:id="rId785"/>
    <p:sldLayoutId id="2147491034" r:id="rId786"/>
    <p:sldLayoutId id="2147491035" r:id="rId787"/>
    <p:sldLayoutId id="2147491036" r:id="rId788"/>
    <p:sldLayoutId id="2147491324" r:id="rId789"/>
    <p:sldLayoutId id="2147491325" r:id="rId790"/>
    <p:sldLayoutId id="2147491326" r:id="rId791"/>
    <p:sldLayoutId id="2147488388" r:id="rId792"/>
    <p:sldLayoutId id="2147491327" r:id="rId793"/>
    <p:sldLayoutId id="2147491328" r:id="rId794"/>
    <p:sldLayoutId id="2147488499" r:id="rId795"/>
    <p:sldLayoutId id="2147491329" r:id="rId796"/>
    <p:sldLayoutId id="2147491330" r:id="rId797"/>
    <p:sldLayoutId id="2147491574" r:id="rId798"/>
    <p:sldLayoutId id="2147491575" r:id="rId799"/>
    <p:sldLayoutId id="2147484832" r:id="rId800"/>
    <p:sldLayoutId id="2147484833" r:id="rId801"/>
    <p:sldLayoutId id="2147484834" r:id="rId802"/>
    <p:sldLayoutId id="2147494025" r:id="rId803"/>
    <p:sldLayoutId id="2147494026" r:id="rId804"/>
    <p:sldLayoutId id="2147490375" r:id="rId805"/>
    <p:sldLayoutId id="2147490376" r:id="rId806"/>
    <p:sldLayoutId id="2147491578" r:id="rId807"/>
    <p:sldLayoutId id="2147491579" r:id="rId808"/>
    <p:sldLayoutId id="2147494030" r:id="rId809"/>
    <p:sldLayoutId id="2147494031" r:id="rId810"/>
    <p:sldLayoutId id="2147491335" r:id="rId811"/>
    <p:sldLayoutId id="2147491336" r:id="rId812"/>
    <p:sldLayoutId id="2147490380" r:id="rId813"/>
    <p:sldLayoutId id="2147491337" r:id="rId814"/>
    <p:sldLayoutId id="2147491338" r:id="rId815"/>
    <p:sldLayoutId id="2147484841" r:id="rId816"/>
    <p:sldLayoutId id="2147488527" r:id="rId817"/>
    <p:sldLayoutId id="2147491339" r:id="rId818"/>
    <p:sldLayoutId id="2147490147" r:id="rId819"/>
    <p:sldLayoutId id="2147490148" r:id="rId820"/>
    <p:sldLayoutId id="2147491089" r:id="rId821"/>
    <p:sldLayoutId id="2147491090" r:id="rId822"/>
    <p:sldLayoutId id="2147484847" r:id="rId823"/>
    <p:sldLayoutId id="2147488727" r:id="rId824"/>
    <p:sldLayoutId id="2147488728" r:id="rId825"/>
    <p:sldLayoutId id="2147488729" r:id="rId826"/>
    <p:sldLayoutId id="2147488730" r:id="rId827"/>
    <p:sldLayoutId id="2147487008" r:id="rId828"/>
    <p:sldLayoutId id="2147487009" r:id="rId829"/>
    <p:sldLayoutId id="2147491108" r:id="rId830"/>
    <p:sldLayoutId id="2147490800" r:id="rId831"/>
    <p:sldLayoutId id="2147488708" r:id="rId832"/>
    <p:sldLayoutId id="2147491042" r:id="rId833"/>
    <p:sldLayoutId id="2147491043" r:id="rId834"/>
    <p:sldLayoutId id="2147491044" r:id="rId835"/>
    <p:sldLayoutId id="2147491037" r:id="rId836"/>
    <p:sldLayoutId id="2147491038" r:id="rId837"/>
    <p:sldLayoutId id="2147491039" r:id="rId838"/>
    <p:sldLayoutId id="2147488709" r:id="rId839"/>
    <p:sldLayoutId id="2147488710" r:id="rId840"/>
    <p:sldLayoutId id="2147491109" r:id="rId841"/>
    <p:sldLayoutId id="2147488711" r:id="rId842"/>
    <p:sldLayoutId id="2147485006" r:id="rId843"/>
    <p:sldLayoutId id="2147485007" r:id="rId844"/>
    <p:sldLayoutId id="2147485008" r:id="rId845"/>
    <p:sldLayoutId id="2147491110" r:id="rId846"/>
    <p:sldLayoutId id="2147490644" r:id="rId847"/>
    <p:sldLayoutId id="2147488554" r:id="rId848"/>
    <p:sldLayoutId id="2147488555" r:id="rId849"/>
    <p:sldLayoutId id="2147490150" r:id="rId850"/>
    <p:sldLayoutId id="2147491111" r:id="rId851"/>
    <p:sldLayoutId id="2147491112" r:id="rId852"/>
    <p:sldLayoutId id="2147488560" r:id="rId853"/>
    <p:sldLayoutId id="2147491040" r:id="rId854"/>
    <p:sldLayoutId id="2147490629" r:id="rId855"/>
    <p:sldLayoutId id="2147488794" r:id="rId856"/>
    <p:sldLayoutId id="2147491582" r:id="rId857"/>
    <p:sldLayoutId id="2147484864" r:id="rId858"/>
    <p:sldLayoutId id="2147484865" r:id="rId859"/>
    <p:sldLayoutId id="2147484866" r:id="rId860"/>
    <p:sldLayoutId id="2147491583" r:id="rId861"/>
    <p:sldLayoutId id="2147494038" r:id="rId862"/>
    <p:sldLayoutId id="2147491585" r:id="rId863"/>
    <p:sldLayoutId id="2147491586" r:id="rId864"/>
    <p:sldLayoutId id="2147491587" r:id="rId865"/>
    <p:sldLayoutId id="2147491588" r:id="rId866"/>
    <p:sldLayoutId id="2147491589" r:id="rId867"/>
    <p:sldLayoutId id="2147484354" r:id="rId868"/>
    <p:sldLayoutId id="2147485394" r:id="rId869"/>
    <p:sldLayoutId id="2147485395" r:id="rId870"/>
    <p:sldLayoutId id="2147486864" r:id="rId871"/>
    <p:sldLayoutId id="2147486865" r:id="rId872"/>
    <p:sldLayoutId id="2147484873" r:id="rId873"/>
    <p:sldLayoutId id="2147485396" r:id="rId874"/>
    <p:sldLayoutId id="2147493995" r:id="rId875"/>
    <p:sldLayoutId id="2147490226" r:id="rId876"/>
    <p:sldLayoutId id="2147490227" r:id="rId877"/>
    <p:sldLayoutId id="2147488079" r:id="rId878"/>
    <p:sldLayoutId id="2147488712" r:id="rId879"/>
    <p:sldLayoutId id="2147488240" r:id="rId880"/>
    <p:sldLayoutId id="2147488241" r:id="rId881"/>
    <p:sldLayoutId id="2147485419" r:id="rId882"/>
    <p:sldLayoutId id="2147485420" r:id="rId883"/>
    <p:sldLayoutId id="2147485179" r:id="rId884"/>
    <p:sldLayoutId id="2147486360" r:id="rId885"/>
    <p:sldLayoutId id="2147491591" r:id="rId886"/>
    <p:sldLayoutId id="2147488392" r:id="rId887"/>
    <p:sldLayoutId id="2147488297" r:id="rId888"/>
    <p:sldLayoutId id="2147488585" r:id="rId889"/>
    <p:sldLayoutId id="2147488421" r:id="rId890"/>
    <p:sldLayoutId id="2147494163" r:id="rId89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87C90F-CAC2-F168-3AEB-EB7AA1F3DB4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3" y="365130"/>
            <a:ext cx="109728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012E94-5BCD-0F03-66D8-285BC9B4A1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3" y="1825627"/>
            <a:ext cx="109728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49911402-507A-04CA-A792-96D21EAADA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39203" y="6356352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r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939699"/>
                </a:solidFill>
                <a:uFillTx/>
                <a:latin typeface="Calibri"/>
              </a:defRPr>
            </a:lvl1pPr>
          </a:lstStyle>
          <a:p>
            <a:pPr lvl="0"/>
            <a:fld id="{E31A6302-2714-493F-BF2B-DFE7C04558F7}" type="slidenum">
              <a:t>‹#›</a:t>
            </a:fld>
            <a:endParaRPr lang="en-US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69EBF1BC-DA92-1DE5-02D6-D35305EDC5E4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609603" y="6356352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9144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939699"/>
                </a:solidFill>
                <a:uFillTx/>
                <a:latin typeface="Calibri"/>
              </a:defRPr>
            </a:lvl1pPr>
          </a:lstStyle>
          <a:p>
            <a:pPr lvl="0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0850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402" r:id="rId1"/>
    <p:sldLayoutId id="2147491403" r:id="rId2"/>
    <p:sldLayoutId id="2147491404" r:id="rId3"/>
    <p:sldLayoutId id="2147491405" r:id="rId4"/>
    <p:sldLayoutId id="2147491406" r:id="rId5"/>
    <p:sldLayoutId id="2147491407" r:id="rId6"/>
    <p:sldLayoutId id="2147491408" r:id="rId7"/>
    <p:sldLayoutId id="2147491409" r:id="rId8"/>
    <p:sldLayoutId id="2147491410" r:id="rId9"/>
    <p:sldLayoutId id="2147491411" r:id="rId10"/>
    <p:sldLayoutId id="2147491412" r:id="rId11"/>
    <p:sldLayoutId id="2147491413" r:id="rId12"/>
    <p:sldLayoutId id="2147491414" r:id="rId13"/>
    <p:sldLayoutId id="2147491415" r:id="rId14"/>
    <p:sldLayoutId id="2147491416" r:id="rId15"/>
    <p:sldLayoutId id="2147491427" r:id="rId16"/>
  </p:sldLayoutIdLst>
  <p:txStyles>
    <p:titleStyle>
      <a:lvl1pPr marL="0" marR="0" lvl="0" indent="0" algn="l" defTabSz="1371600" rtl="0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5400" b="1" i="0" u="none" strike="noStrike" kern="1200" cap="none" spc="0" baseline="0">
          <a:solidFill>
            <a:srgbClr val="1C498B"/>
          </a:solidFill>
          <a:uFillTx/>
          <a:latin typeface="Calibri"/>
          <a:ea typeface="Lato Medium" pitchFamily="34"/>
          <a:cs typeface="Lato Medium" pitchFamily="34"/>
        </a:defRPr>
      </a:lvl1pPr>
    </p:titleStyle>
    <p:bodyStyle>
      <a:lvl1pPr marL="342900" marR="0" lvl="0" indent="-342900" algn="l" defTabSz="1371600" rtl="0" fontAlgn="auto" hangingPunct="1">
        <a:lnSpc>
          <a:spcPct val="100000"/>
        </a:lnSpc>
        <a:spcBef>
          <a:spcPts val="1500"/>
        </a:spcBef>
        <a:spcAft>
          <a:spcPts val="1500"/>
        </a:spcAft>
        <a:buClr>
          <a:srgbClr val="F5668F"/>
        </a:buClr>
        <a:buSzPct val="100000"/>
        <a:buFont typeface="Arial" pitchFamily="34"/>
        <a:buChar char="•"/>
        <a:tabLst/>
        <a:defRPr lang="en-US" sz="3600" b="0" i="0" u="none" strike="noStrike" kern="1200" cap="none" spc="0" baseline="0">
          <a:solidFill>
            <a:srgbClr val="444C55"/>
          </a:solidFill>
          <a:uFillTx/>
          <a:latin typeface="Calibri"/>
          <a:ea typeface="Lato" pitchFamily="34"/>
          <a:cs typeface="Lato" pitchFamily="34"/>
        </a:defRPr>
      </a:lvl1pPr>
      <a:lvl2pPr marL="1028700" marR="0" lvl="1" indent="-342900" algn="l" defTabSz="1371600" rtl="0" fontAlgn="auto" hangingPunct="1">
        <a:lnSpc>
          <a:spcPct val="100000"/>
        </a:lnSpc>
        <a:spcBef>
          <a:spcPts val="750"/>
        </a:spcBef>
        <a:spcAft>
          <a:spcPts val="1500"/>
        </a:spcAft>
        <a:buClr>
          <a:srgbClr val="1C498B"/>
        </a:buClr>
        <a:buSzPct val="100000"/>
        <a:buFont typeface="Arial" pitchFamily="34"/>
        <a:buChar char="•"/>
        <a:tabLst/>
        <a:defRPr lang="en-US" sz="3000" b="0" i="0" u="none" strike="noStrike" kern="1200" cap="none" spc="0" baseline="0">
          <a:solidFill>
            <a:srgbClr val="444C55"/>
          </a:solidFill>
          <a:uFillTx/>
          <a:latin typeface="Calibri"/>
          <a:ea typeface="Lato" pitchFamily="34"/>
          <a:cs typeface="Lato" pitchFamily="34"/>
        </a:defRPr>
      </a:lvl2pPr>
      <a:lvl3pPr marL="1714500" marR="0" lvl="2" indent="-342900" algn="l" defTabSz="1371600" rtl="0" fontAlgn="auto" hangingPunct="1">
        <a:lnSpc>
          <a:spcPct val="100000"/>
        </a:lnSpc>
        <a:spcBef>
          <a:spcPts val="750"/>
        </a:spcBef>
        <a:spcAft>
          <a:spcPts val="1500"/>
        </a:spcAft>
        <a:buClr>
          <a:srgbClr val="F5668F"/>
        </a:buClr>
        <a:buSzPct val="100000"/>
        <a:buFont typeface="Arial" pitchFamily="34"/>
        <a:buChar char="•"/>
        <a:tabLst/>
        <a:defRPr lang="en-US" sz="2700" b="0" i="0" u="none" strike="noStrike" kern="1200" cap="none" spc="0" baseline="0">
          <a:solidFill>
            <a:srgbClr val="444C55"/>
          </a:solidFill>
          <a:uFillTx/>
          <a:latin typeface="Calibri"/>
          <a:ea typeface="Lato" pitchFamily="34"/>
          <a:cs typeface="Lato" pitchFamily="34"/>
        </a:defRPr>
      </a:lvl3pPr>
      <a:lvl4pPr marL="2400300" marR="0" lvl="3" indent="-342900" algn="l" defTabSz="1371600" rtl="0" fontAlgn="auto" hangingPunct="1">
        <a:lnSpc>
          <a:spcPct val="100000"/>
        </a:lnSpc>
        <a:spcBef>
          <a:spcPts val="750"/>
        </a:spcBef>
        <a:spcAft>
          <a:spcPts val="1500"/>
        </a:spcAft>
        <a:buClr>
          <a:srgbClr val="F5668F"/>
        </a:buClr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444C55"/>
          </a:solidFill>
          <a:uFillTx/>
          <a:latin typeface="Calibri"/>
          <a:ea typeface="Lato" pitchFamily="34"/>
          <a:cs typeface="Lato" pitchFamily="34"/>
        </a:defRPr>
      </a:lvl4pPr>
      <a:lvl5pPr marL="3086100" marR="0" lvl="4" indent="-342900" algn="l" defTabSz="1371600" rtl="0" fontAlgn="auto" hangingPunct="1">
        <a:lnSpc>
          <a:spcPct val="100000"/>
        </a:lnSpc>
        <a:spcBef>
          <a:spcPts val="750"/>
        </a:spcBef>
        <a:spcAft>
          <a:spcPts val="1500"/>
        </a:spcAft>
        <a:buClr>
          <a:srgbClr val="F5668F"/>
        </a:buClr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444C55"/>
          </a:solidFill>
          <a:uFillTx/>
          <a:latin typeface="Calibri"/>
          <a:ea typeface="Lato" pitchFamily="34"/>
          <a:cs typeface="Lato" pitchFamily="34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68" name="Google Shape;51368;p75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369" name="Google Shape;51369;p75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70" name="Google Shape;51370;p75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71" name="Google Shape;51371;p75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72" name="Google Shape;51372;p75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9027" r:id="rId1"/>
    <p:sldLayoutId id="2147489028" r:id="rId2"/>
    <p:sldLayoutId id="2147489029" r:id="rId3"/>
    <p:sldLayoutId id="2147489030" r:id="rId4"/>
    <p:sldLayoutId id="2147489031" r:id="rId5"/>
    <p:sldLayoutId id="2147489032" r:id="rId6"/>
    <p:sldLayoutId id="2147489033" r:id="rId7"/>
    <p:sldLayoutId id="2147489034" r:id="rId8"/>
    <p:sldLayoutId id="2147489035" r:id="rId9"/>
    <p:sldLayoutId id="2147489036" r:id="rId10"/>
    <p:sldLayoutId id="2147489037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7" name="Google Shape;2127;p14"/>
          <p:cNvSpPr txBox="1"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28" name="Google Shape;2128;p14"/>
          <p:cNvSpPr txBox="1"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29" name="Google Shape;2129;p14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30" name="Google Shape;2130;p14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31" name="Google Shape;2131;p14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94165" r:id="rId1"/>
    <p:sldLayoutId id="2147494166" r:id="rId2"/>
    <p:sldLayoutId id="2147494167" r:id="rId3"/>
    <p:sldLayoutId id="2147494168" r:id="rId4"/>
    <p:sldLayoutId id="2147494169" r:id="rId5"/>
    <p:sldLayoutId id="2147494170" r:id="rId6"/>
    <p:sldLayoutId id="2147494171" r:id="rId7"/>
    <p:sldLayoutId id="2147494172" r:id="rId8"/>
    <p:sldLayoutId id="2147494173" r:id="rId9"/>
    <p:sldLayoutId id="2147494174" r:id="rId10"/>
    <p:sldLayoutId id="2147494175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0" name="Google Shape;9450;p36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1" name="Google Shape;9451;p36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52" name="Google Shape;9452;p36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3" name="Google Shape;9453;p3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4" name="Google Shape;9454;p36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91430" r:id="rId1"/>
    <p:sldLayoutId id="2147491431" r:id="rId2"/>
    <p:sldLayoutId id="2147491432" r:id="rId3"/>
    <p:sldLayoutId id="2147491433" r:id="rId4"/>
    <p:sldLayoutId id="2147491434" r:id="rId5"/>
    <p:sldLayoutId id="2147491435" r:id="rId6"/>
    <p:sldLayoutId id="2147491436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7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5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858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858.xml"/></Relationships>
</file>

<file path=ppt/slides/_rels/slide14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A6E_BC6AD10F.xml"/><Relationship Id="rId1" Type="http://schemas.openxmlformats.org/officeDocument/2006/relationships/slideLayout" Target="../slideLayouts/slideLayout2233.xml"/></Relationships>
</file>

<file path=ppt/slides/_rels/slide15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A50_CEC8E8E0.xml"/><Relationship Id="rId1" Type="http://schemas.openxmlformats.org/officeDocument/2006/relationships/slideLayout" Target="../slideLayouts/slideLayout2233.xml"/></Relationships>
</file>

<file path=ppt/slides/_rels/slide16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A5D_F1DA543A.xml"/><Relationship Id="rId1" Type="http://schemas.openxmlformats.org/officeDocument/2006/relationships/slideLayout" Target="../slideLayouts/slideLayout223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2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2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2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23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2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223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5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3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5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5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86.xml"/><Relationship Id="rId4" Type="http://schemas.openxmlformats.org/officeDocument/2006/relationships/image" Target="../media/image13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674.xml"/><Relationship Id="rId4" Type="http://schemas.openxmlformats.org/officeDocument/2006/relationships/image" Target="../media/image13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75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98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5_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5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36" name="Google Shape;20936;g3681a448973_2_12900"/>
          <p:cNvSpPr txBox="1">
            <a:spLocks noGrp="1"/>
          </p:cNvSpPr>
          <p:nvPr>
            <p:ph type="ctrTitle"/>
          </p:nvPr>
        </p:nvSpPr>
        <p:spPr>
          <a:xfrm>
            <a:off x="775854" y="2438801"/>
            <a:ext cx="6400800" cy="169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1" algn="ctr"/>
            <a:r>
              <a:rPr lang="en-US" sz="35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Equity and Safe Sleep for Infants</a:t>
            </a:r>
            <a:br>
              <a:rPr lang="en-US" sz="3500" b="1" dirty="0">
                <a:latin typeface="DM Sans"/>
                <a:ea typeface="DM Sans"/>
                <a:cs typeface="DM Sans"/>
                <a:sym typeface="DM Sans"/>
              </a:rPr>
            </a:br>
            <a:br>
              <a:rPr lang="en-US" sz="3500" b="1" dirty="0">
                <a:latin typeface="DM Sans"/>
                <a:ea typeface="DM Sans"/>
                <a:cs typeface="DM Sans"/>
                <a:sym typeface="DM Sans"/>
              </a:rPr>
            </a:br>
            <a:r>
              <a:rPr lang="en-US" sz="2400" b="1" i="1" dirty="0">
                <a:latin typeface="DM Sans"/>
                <a:ea typeface="DM Sans"/>
                <a:cs typeface="DM Sans"/>
                <a:sym typeface="DM Sans"/>
              </a:rPr>
              <a:t>ESSI Sustainability Launch Call</a:t>
            </a:r>
            <a:endParaRPr lang="en-US" sz="2400" b="1" i="1" dirty="0">
              <a:latin typeface="DM Sans"/>
              <a:ea typeface="DM Sans"/>
              <a:cs typeface="DM Sans"/>
            </a:endParaRPr>
          </a:p>
        </p:txBody>
      </p:sp>
      <p:sp>
        <p:nvSpPr>
          <p:cNvPr id="20937" name="Google Shape;20937;g3681a448973_2_12900"/>
          <p:cNvSpPr/>
          <p:nvPr/>
        </p:nvSpPr>
        <p:spPr>
          <a:xfrm>
            <a:off x="1262754" y="4382941"/>
            <a:ext cx="54270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F5668F"/>
              </a:buClr>
              <a:buSzPts val="2400"/>
            </a:pPr>
            <a:r>
              <a:rPr lang="en-US" sz="2400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June 15</a:t>
            </a:r>
            <a:r>
              <a:rPr lang="en-US" sz="2400" b="0" i="0" u="none" strike="noStrike" cap="none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, 2</a:t>
            </a:r>
            <a:r>
              <a:rPr lang="en-US" sz="2400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:00</a:t>
            </a:r>
            <a:r>
              <a:rPr lang="en-US" sz="2400" b="0" i="0" u="none" strike="noStrike" cap="none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 PM </a:t>
            </a:r>
            <a:endParaRPr sz="2400" b="0" i="0" u="none" strike="noStrike" cap="none" dirty="0">
              <a:solidFill>
                <a:srgbClr val="444C55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20938" name="Google Shape;20938;g3681a448973_2_12900" descr="A person holding a baby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21046" y="1953892"/>
            <a:ext cx="4063800" cy="2660100"/>
          </a:xfrm>
          <a:prstGeom prst="round2DiagRect">
            <a:avLst>
              <a:gd name="adj1" fmla="val 16667"/>
              <a:gd name="adj2" fmla="val 0"/>
            </a:avLst>
          </a:prstGeom>
          <a:noFill/>
          <a:ln w="88900" cap="sq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254000" algn="tl" rotWithShape="0">
              <a:srgbClr val="000000">
                <a:alpha val="42352"/>
              </a:srgbClr>
            </a:outerShdw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6" name="Google Shape;9316;g3dea1330d01_2_490"/>
          <p:cNvSpPr/>
          <p:nvPr/>
        </p:nvSpPr>
        <p:spPr>
          <a:xfrm>
            <a:off x="6685645" y="1589"/>
            <a:ext cx="5555700" cy="1547100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17" name="Google Shape;9317;g3dea1330d01_2_490"/>
          <p:cNvSpPr txBox="1">
            <a:spLocks noGrp="1"/>
          </p:cNvSpPr>
          <p:nvPr>
            <p:ph type="title"/>
          </p:nvPr>
        </p:nvSpPr>
        <p:spPr>
          <a:xfrm>
            <a:off x="2849" y="1602"/>
            <a:ext cx="10670876" cy="11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3000">
                <a:latin typeface="DM Sans"/>
                <a:ea typeface="DM Sans"/>
                <a:cs typeface="DM Sans"/>
                <a:sym typeface="DM Sans"/>
              </a:rPr>
              <a:t>ESSI Sustainability</a:t>
            </a:r>
            <a:endParaRPr sz="30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9318" name="Google Shape;9318;g3dea1330d01_2_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9319" name="Google Shape;9319;g3dea1330d01_2_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Illinois Perinatal Quality Collaborative</a:t>
            </a:r>
            <a:endParaRPr/>
          </a:p>
        </p:txBody>
      </p:sp>
      <p:grpSp>
        <p:nvGrpSpPr>
          <p:cNvPr id="9320" name="Google Shape;9320;g3dea1330d01_2_490"/>
          <p:cNvGrpSpPr/>
          <p:nvPr/>
        </p:nvGrpSpPr>
        <p:grpSpPr>
          <a:xfrm>
            <a:off x="377506" y="1515052"/>
            <a:ext cx="11234400" cy="4072640"/>
            <a:chOff x="0" y="509071"/>
            <a:chExt cx="11234400" cy="4072640"/>
          </a:xfrm>
        </p:grpSpPr>
        <p:cxnSp>
          <p:nvCxnSpPr>
            <p:cNvPr id="9321" name="Google Shape;9321;g3dea1330d01_2_490"/>
            <p:cNvCxnSpPr/>
            <p:nvPr/>
          </p:nvCxnSpPr>
          <p:spPr>
            <a:xfrm>
              <a:off x="0" y="2545358"/>
              <a:ext cx="11234400" cy="0"/>
            </a:xfrm>
            <a:prstGeom prst="straightConnector1">
              <a:avLst/>
            </a:prstGeom>
            <a:solidFill>
              <a:schemeClr val="lt1">
                <a:alpha val="90200"/>
              </a:schemeClr>
            </a:solidFill>
            <a:ln w="19050" cap="flat" cmpd="sng">
              <a:solidFill>
                <a:srgbClr val="19498B"/>
              </a:solidFill>
              <a:prstDash val="solid"/>
              <a:round/>
              <a:headEnd type="none" w="sm" len="sm"/>
              <a:tailEnd type="triangle" w="lg" len="lg"/>
            </a:ln>
          </p:spPr>
        </p:cxnSp>
        <p:sp>
          <p:nvSpPr>
            <p:cNvPr id="9322" name="Google Shape;9322;g3dea1330d01_2_490"/>
            <p:cNvSpPr/>
            <p:nvPr/>
          </p:nvSpPr>
          <p:spPr>
            <a:xfrm rot="8100000">
              <a:off x="75276" y="59411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3" name="Google Shape;9323;g3dea1330d01_2_490"/>
            <p:cNvSpPr/>
            <p:nvPr/>
          </p:nvSpPr>
          <p:spPr>
            <a:xfrm>
              <a:off x="115050" y="633982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g3dea1330d01_2_490"/>
            <p:cNvSpPr/>
            <p:nvPr/>
          </p:nvSpPr>
          <p:spPr>
            <a:xfrm>
              <a:off x="509052" y="1038506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g3dea1330d01_2_490"/>
            <p:cNvSpPr txBox="1"/>
            <p:nvPr/>
          </p:nvSpPr>
          <p:spPr>
            <a:xfrm>
              <a:off x="509052" y="1038506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5250" rIns="95250" bIns="14287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b="0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Face-to-Face Meeting </a:t>
              </a:r>
              <a:endParaRPr/>
            </a:p>
          </p:txBody>
        </p:sp>
        <p:sp>
          <p:nvSpPr>
            <p:cNvPr id="9326" name="Google Shape;9326;g3dea1330d01_2_490"/>
            <p:cNvSpPr/>
            <p:nvPr/>
          </p:nvSpPr>
          <p:spPr>
            <a:xfrm>
              <a:off x="509052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g3dea1330d01_2_490"/>
            <p:cNvSpPr txBox="1"/>
            <p:nvPr/>
          </p:nvSpPr>
          <p:spPr>
            <a:xfrm>
              <a:off x="509052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May </a:t>
              </a:r>
              <a:endParaRPr/>
            </a:p>
          </p:txBody>
        </p:sp>
        <p:cxnSp>
          <p:nvCxnSpPr>
            <p:cNvPr id="9328" name="Google Shape;9328;g3dea1330d01_2_490"/>
            <p:cNvCxnSpPr/>
            <p:nvPr/>
          </p:nvCxnSpPr>
          <p:spPr>
            <a:xfrm>
              <a:off x="254857" y="1038506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29" name="Google Shape;9329;g3dea1330d01_2_490"/>
            <p:cNvSpPr/>
            <p:nvPr/>
          </p:nvSpPr>
          <p:spPr>
            <a:xfrm>
              <a:off x="219625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g3dea1330d01_2_490"/>
            <p:cNvSpPr/>
            <p:nvPr/>
          </p:nvSpPr>
          <p:spPr>
            <a:xfrm rot="-2700000">
              <a:off x="1322009" y="413725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1" name="Google Shape;9331;g3dea1330d01_2_490"/>
            <p:cNvSpPr/>
            <p:nvPr/>
          </p:nvSpPr>
          <p:spPr>
            <a:xfrm>
              <a:off x="1361973" y="4177121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2" name="Google Shape;9332;g3dea1330d01_2_490"/>
            <p:cNvSpPr/>
            <p:nvPr/>
          </p:nvSpPr>
          <p:spPr>
            <a:xfrm>
              <a:off x="1755975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g3dea1330d01_2_490"/>
            <p:cNvSpPr txBox="1"/>
            <p:nvPr/>
          </p:nvSpPr>
          <p:spPr>
            <a:xfrm>
              <a:off x="1755975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42875" rIns="0" bIns="952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b="0" i="0" u="none" strike="noStrike" cap="none" dirty="0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Sustainability Launch Call</a:t>
              </a:r>
              <a:endParaRPr dirty="0"/>
            </a:p>
          </p:txBody>
        </p:sp>
        <p:sp>
          <p:nvSpPr>
            <p:cNvPr id="9334" name="Google Shape;9334;g3dea1330d01_2_490"/>
            <p:cNvSpPr/>
            <p:nvPr/>
          </p:nvSpPr>
          <p:spPr>
            <a:xfrm>
              <a:off x="1755975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5" name="Google Shape;9335;g3dea1330d01_2_490"/>
            <p:cNvSpPr txBox="1"/>
            <p:nvPr/>
          </p:nvSpPr>
          <p:spPr>
            <a:xfrm>
              <a:off x="1755975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June</a:t>
              </a:r>
              <a:endParaRPr/>
            </a:p>
          </p:txBody>
        </p:sp>
        <p:cxnSp>
          <p:nvCxnSpPr>
            <p:cNvPr id="9336" name="Google Shape;9336;g3dea1330d01_2_490"/>
            <p:cNvCxnSpPr/>
            <p:nvPr/>
          </p:nvCxnSpPr>
          <p:spPr>
            <a:xfrm>
              <a:off x="1501780" y="2545358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37" name="Google Shape;9337;g3dea1330d01_2_490"/>
            <p:cNvSpPr/>
            <p:nvPr/>
          </p:nvSpPr>
          <p:spPr>
            <a:xfrm>
              <a:off x="1466548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8" name="Google Shape;9338;g3dea1330d01_2_490"/>
            <p:cNvSpPr/>
            <p:nvPr/>
          </p:nvSpPr>
          <p:spPr>
            <a:xfrm rot="8100000">
              <a:off x="2569121" y="59411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9" name="Google Shape;9339;g3dea1330d01_2_490"/>
            <p:cNvSpPr/>
            <p:nvPr/>
          </p:nvSpPr>
          <p:spPr>
            <a:xfrm>
              <a:off x="2608896" y="633982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0" name="Google Shape;9340;g3dea1330d01_2_490"/>
            <p:cNvSpPr/>
            <p:nvPr/>
          </p:nvSpPr>
          <p:spPr>
            <a:xfrm>
              <a:off x="3002898" y="1038506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1" name="Google Shape;9341;g3dea1330d01_2_490"/>
            <p:cNvSpPr/>
            <p:nvPr/>
          </p:nvSpPr>
          <p:spPr>
            <a:xfrm>
              <a:off x="3002898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2" name="Google Shape;9342;g3dea1330d01_2_490"/>
            <p:cNvSpPr txBox="1"/>
            <p:nvPr/>
          </p:nvSpPr>
          <p:spPr>
            <a:xfrm>
              <a:off x="3002898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July</a:t>
              </a:r>
              <a:endParaRPr/>
            </a:p>
          </p:txBody>
        </p:sp>
        <p:cxnSp>
          <p:nvCxnSpPr>
            <p:cNvPr id="9343" name="Google Shape;9343;g3dea1330d01_2_490"/>
            <p:cNvCxnSpPr/>
            <p:nvPr/>
          </p:nvCxnSpPr>
          <p:spPr>
            <a:xfrm>
              <a:off x="2748703" y="1038506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44" name="Google Shape;9344;g3dea1330d01_2_490"/>
            <p:cNvSpPr/>
            <p:nvPr/>
          </p:nvSpPr>
          <p:spPr>
            <a:xfrm>
              <a:off x="2713471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5" name="Google Shape;9345;g3dea1330d01_2_490"/>
            <p:cNvSpPr/>
            <p:nvPr/>
          </p:nvSpPr>
          <p:spPr>
            <a:xfrm rot="-2700000">
              <a:off x="3815855" y="413725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6" name="Google Shape;9346;g3dea1330d01_2_490"/>
            <p:cNvSpPr/>
            <p:nvPr/>
          </p:nvSpPr>
          <p:spPr>
            <a:xfrm>
              <a:off x="3855819" y="4177121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7" name="Google Shape;9347;g3dea1330d01_2_490"/>
            <p:cNvSpPr/>
            <p:nvPr/>
          </p:nvSpPr>
          <p:spPr>
            <a:xfrm>
              <a:off x="4249820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g3dea1330d01_2_490"/>
            <p:cNvSpPr txBox="1"/>
            <p:nvPr/>
          </p:nvSpPr>
          <p:spPr>
            <a:xfrm>
              <a:off x="4249820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42875" rIns="0" bIns="952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b="0" i="0" u="none" strike="noStrike" cap="none" dirty="0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QI Topic Call</a:t>
              </a: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endParaRPr lang="en-US" sz="1500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b="0" i="0" u="none" strike="noStrike" cap="none" dirty="0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Submission of Sustainability Plan</a:t>
              </a:r>
              <a:endParaRPr dirty="0"/>
            </a:p>
          </p:txBody>
        </p:sp>
        <p:sp>
          <p:nvSpPr>
            <p:cNvPr id="9349" name="Google Shape;9349;g3dea1330d01_2_490"/>
            <p:cNvSpPr/>
            <p:nvPr/>
          </p:nvSpPr>
          <p:spPr>
            <a:xfrm>
              <a:off x="4249820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g3dea1330d01_2_490"/>
            <p:cNvSpPr txBox="1"/>
            <p:nvPr/>
          </p:nvSpPr>
          <p:spPr>
            <a:xfrm>
              <a:off x="4249820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August</a:t>
              </a:r>
              <a:endParaRPr/>
            </a:p>
          </p:txBody>
        </p:sp>
        <p:cxnSp>
          <p:nvCxnSpPr>
            <p:cNvPr id="9351" name="Google Shape;9351;g3dea1330d01_2_490"/>
            <p:cNvCxnSpPr/>
            <p:nvPr/>
          </p:nvCxnSpPr>
          <p:spPr>
            <a:xfrm>
              <a:off x="3995626" y="2545358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52" name="Google Shape;9352;g3dea1330d01_2_490"/>
            <p:cNvSpPr/>
            <p:nvPr/>
          </p:nvSpPr>
          <p:spPr>
            <a:xfrm>
              <a:off x="3960393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g3dea1330d01_2_490"/>
            <p:cNvSpPr/>
            <p:nvPr/>
          </p:nvSpPr>
          <p:spPr>
            <a:xfrm rot="8100000">
              <a:off x="5062967" y="59411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g3dea1330d01_2_490"/>
            <p:cNvSpPr/>
            <p:nvPr/>
          </p:nvSpPr>
          <p:spPr>
            <a:xfrm>
              <a:off x="5102741" y="633982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g3dea1330d01_2_490"/>
            <p:cNvSpPr/>
            <p:nvPr/>
          </p:nvSpPr>
          <p:spPr>
            <a:xfrm>
              <a:off x="5496743" y="1038506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g3dea1330d01_2_490"/>
            <p:cNvSpPr txBox="1"/>
            <p:nvPr/>
          </p:nvSpPr>
          <p:spPr>
            <a:xfrm>
              <a:off x="5496742" y="1038506"/>
              <a:ext cx="2285627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5250" rIns="95250" bIns="14287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b="0" i="0" u="none" strike="noStrike" cap="none" dirty="0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Sustainability Call 1</a:t>
              </a: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endParaRPr lang="en-US" sz="1500" dirty="0">
                <a:solidFill>
                  <a:srgbClr val="444C55"/>
                </a:solidFill>
                <a:latin typeface="DM Sans"/>
                <a:sym typeface="DM Sans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dirty="0">
                  <a:solidFill>
                    <a:srgbClr val="444C55"/>
                  </a:solidFill>
                  <a:latin typeface="DM Sans"/>
                  <a:sym typeface="DM Sans"/>
                </a:rPr>
                <a:t>Data due for </a:t>
              </a:r>
              <a:r>
                <a:rPr lang="en-US" sz="1500" i="1" dirty="0">
                  <a:solidFill>
                    <a:srgbClr val="444C55"/>
                  </a:solidFill>
                  <a:latin typeface="DM Sans"/>
                  <a:sym typeface="DM Sans"/>
                </a:rPr>
                <a:t>QI Excellence </a:t>
              </a:r>
              <a:r>
                <a:rPr lang="en-US" sz="1500" dirty="0">
                  <a:solidFill>
                    <a:srgbClr val="444C55"/>
                  </a:solidFill>
                  <a:latin typeface="DM Sans"/>
                  <a:sym typeface="DM Sans"/>
                </a:rPr>
                <a:t>Consideration</a:t>
              </a:r>
              <a:endParaRPr dirty="0"/>
            </a:p>
          </p:txBody>
        </p:sp>
        <p:sp>
          <p:nvSpPr>
            <p:cNvPr id="9357" name="Google Shape;9357;g3dea1330d01_2_490"/>
            <p:cNvSpPr/>
            <p:nvPr/>
          </p:nvSpPr>
          <p:spPr>
            <a:xfrm>
              <a:off x="5496743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g3dea1330d01_2_490"/>
            <p:cNvSpPr txBox="1"/>
            <p:nvPr/>
          </p:nvSpPr>
          <p:spPr>
            <a:xfrm>
              <a:off x="5496743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September </a:t>
              </a:r>
              <a:endParaRPr/>
            </a:p>
          </p:txBody>
        </p:sp>
        <p:cxnSp>
          <p:nvCxnSpPr>
            <p:cNvPr id="9359" name="Google Shape;9359;g3dea1330d01_2_490"/>
            <p:cNvCxnSpPr/>
            <p:nvPr/>
          </p:nvCxnSpPr>
          <p:spPr>
            <a:xfrm>
              <a:off x="5242549" y="1038506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60" name="Google Shape;9360;g3dea1330d01_2_490"/>
            <p:cNvSpPr/>
            <p:nvPr/>
          </p:nvSpPr>
          <p:spPr>
            <a:xfrm>
              <a:off x="5207316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1" name="Google Shape;9361;g3dea1330d01_2_490"/>
            <p:cNvSpPr/>
            <p:nvPr/>
          </p:nvSpPr>
          <p:spPr>
            <a:xfrm rot="-2700000">
              <a:off x="6309701" y="413725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2" name="Google Shape;9362;g3dea1330d01_2_490"/>
            <p:cNvSpPr/>
            <p:nvPr/>
          </p:nvSpPr>
          <p:spPr>
            <a:xfrm>
              <a:off x="6349664" y="4177121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3" name="Google Shape;9363;g3dea1330d01_2_490"/>
            <p:cNvSpPr/>
            <p:nvPr/>
          </p:nvSpPr>
          <p:spPr>
            <a:xfrm>
              <a:off x="6743666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4" name="Google Shape;9364;g3dea1330d01_2_490"/>
            <p:cNvSpPr/>
            <p:nvPr/>
          </p:nvSpPr>
          <p:spPr>
            <a:xfrm>
              <a:off x="6743666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5" name="Google Shape;9365;g3dea1330d01_2_490"/>
            <p:cNvSpPr txBox="1"/>
            <p:nvPr/>
          </p:nvSpPr>
          <p:spPr>
            <a:xfrm>
              <a:off x="6743666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October</a:t>
              </a:r>
              <a:endParaRPr/>
            </a:p>
          </p:txBody>
        </p:sp>
        <p:cxnSp>
          <p:nvCxnSpPr>
            <p:cNvPr id="9366" name="Google Shape;9366;g3dea1330d01_2_490"/>
            <p:cNvCxnSpPr/>
            <p:nvPr/>
          </p:nvCxnSpPr>
          <p:spPr>
            <a:xfrm>
              <a:off x="6489471" y="2545358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67" name="Google Shape;9367;g3dea1330d01_2_490"/>
            <p:cNvSpPr/>
            <p:nvPr/>
          </p:nvSpPr>
          <p:spPr>
            <a:xfrm>
              <a:off x="6454239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8" name="Google Shape;9368;g3dea1330d01_2_490"/>
            <p:cNvSpPr/>
            <p:nvPr/>
          </p:nvSpPr>
          <p:spPr>
            <a:xfrm rot="8100000">
              <a:off x="7556812" y="59411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9" name="Google Shape;9369;g3dea1330d01_2_490"/>
            <p:cNvSpPr/>
            <p:nvPr/>
          </p:nvSpPr>
          <p:spPr>
            <a:xfrm>
              <a:off x="7596587" y="633982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0" name="Google Shape;9370;g3dea1330d01_2_490"/>
            <p:cNvSpPr/>
            <p:nvPr/>
          </p:nvSpPr>
          <p:spPr>
            <a:xfrm>
              <a:off x="7990589" y="1038506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1" name="Google Shape;9371;g3dea1330d01_2_490"/>
            <p:cNvSpPr/>
            <p:nvPr/>
          </p:nvSpPr>
          <p:spPr>
            <a:xfrm>
              <a:off x="7990589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2" name="Google Shape;9372;g3dea1330d01_2_490"/>
            <p:cNvSpPr txBox="1"/>
            <p:nvPr/>
          </p:nvSpPr>
          <p:spPr>
            <a:xfrm>
              <a:off x="7990589" y="50907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November</a:t>
              </a:r>
              <a:endParaRPr/>
            </a:p>
          </p:txBody>
        </p:sp>
        <p:cxnSp>
          <p:nvCxnSpPr>
            <p:cNvPr id="9373" name="Google Shape;9373;g3dea1330d01_2_490"/>
            <p:cNvCxnSpPr/>
            <p:nvPr/>
          </p:nvCxnSpPr>
          <p:spPr>
            <a:xfrm>
              <a:off x="7736394" y="1038506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74" name="Google Shape;9374;g3dea1330d01_2_490"/>
            <p:cNvSpPr/>
            <p:nvPr/>
          </p:nvSpPr>
          <p:spPr>
            <a:xfrm>
              <a:off x="7701162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5" name="Google Shape;9375;g3dea1330d01_2_490"/>
            <p:cNvSpPr/>
            <p:nvPr/>
          </p:nvSpPr>
          <p:spPr>
            <a:xfrm rot="-2700000">
              <a:off x="8803546" y="4137253"/>
              <a:ext cx="359352" cy="359352"/>
            </a:xfrm>
            <a:prstGeom prst="teardrop">
              <a:avLst>
                <a:gd name="adj" fmla="val 115000"/>
              </a:avLst>
            </a:prstGeom>
            <a:solidFill>
              <a:srgbClr val="19498B"/>
            </a:solidFill>
            <a:ln w="25400" cap="flat" cmpd="sng">
              <a:solidFill>
                <a:srgbClr val="19498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6" name="Google Shape;9376;g3dea1330d01_2_490"/>
            <p:cNvSpPr/>
            <p:nvPr/>
          </p:nvSpPr>
          <p:spPr>
            <a:xfrm>
              <a:off x="8843510" y="4177121"/>
              <a:ext cx="279600" cy="279600"/>
            </a:xfrm>
            <a:prstGeom prst="ellipse">
              <a:avLst/>
            </a:prstGeom>
            <a:solidFill>
              <a:schemeClr val="lt1">
                <a:alpha val="902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7" name="Google Shape;9377;g3dea1330d01_2_490"/>
            <p:cNvSpPr/>
            <p:nvPr/>
          </p:nvSpPr>
          <p:spPr>
            <a:xfrm>
              <a:off x="9237512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8" name="Google Shape;9378;g3dea1330d01_2_490"/>
            <p:cNvSpPr txBox="1"/>
            <p:nvPr/>
          </p:nvSpPr>
          <p:spPr>
            <a:xfrm>
              <a:off x="9237512" y="2545358"/>
              <a:ext cx="1996200" cy="1506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42875" rIns="0" bIns="952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 typeface="Arial"/>
                <a:buNone/>
              </a:pPr>
              <a:r>
                <a:rPr lang="en-US" sz="1500" i="0" u="none" strike="noStrike" cap="none" dirty="0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Sustainability Call 2</a:t>
              </a:r>
              <a:endParaRPr dirty="0"/>
            </a:p>
          </p:txBody>
        </p:sp>
        <p:sp>
          <p:nvSpPr>
            <p:cNvPr id="9379" name="Google Shape;9379;g3dea1330d01_2_490"/>
            <p:cNvSpPr/>
            <p:nvPr/>
          </p:nvSpPr>
          <p:spPr>
            <a:xfrm>
              <a:off x="9237512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0" name="Google Shape;9380;g3dea1330d01_2_490"/>
            <p:cNvSpPr txBox="1"/>
            <p:nvPr/>
          </p:nvSpPr>
          <p:spPr>
            <a:xfrm>
              <a:off x="9237512" y="4052211"/>
              <a:ext cx="1996200" cy="52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270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n-US" sz="2000" b="1" i="0" u="none" strike="noStrike" cap="none">
                  <a:solidFill>
                    <a:srgbClr val="444C55"/>
                  </a:solidFill>
                  <a:latin typeface="DM Sans"/>
                  <a:ea typeface="DM Sans"/>
                  <a:cs typeface="DM Sans"/>
                  <a:sym typeface="DM Sans"/>
                </a:rPr>
                <a:t>December </a:t>
              </a:r>
              <a:endParaRPr/>
            </a:p>
          </p:txBody>
        </p:sp>
        <p:cxnSp>
          <p:nvCxnSpPr>
            <p:cNvPr id="9381" name="Google Shape;9381;g3dea1330d01_2_490"/>
            <p:cNvCxnSpPr/>
            <p:nvPr/>
          </p:nvCxnSpPr>
          <p:spPr>
            <a:xfrm>
              <a:off x="8983317" y="2545358"/>
              <a:ext cx="0" cy="1506900"/>
            </a:xfrm>
            <a:prstGeom prst="straightConnector1">
              <a:avLst/>
            </a:prstGeom>
            <a:noFill/>
            <a:ln w="12700" cap="flat" cmpd="sng">
              <a:solidFill>
                <a:srgbClr val="19498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382" name="Google Shape;9382;g3dea1330d01_2_490"/>
            <p:cNvSpPr/>
            <p:nvPr/>
          </p:nvSpPr>
          <p:spPr>
            <a:xfrm>
              <a:off x="8948085" y="2497709"/>
              <a:ext cx="91500" cy="95400"/>
            </a:xfrm>
            <a:prstGeom prst="ellipse">
              <a:avLst/>
            </a:prstGeom>
            <a:solidFill>
              <a:srgbClr val="19498B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4E931E81-760A-BF35-399E-7F8E7022878E}"/>
              </a:ext>
            </a:extLst>
          </p:cNvPr>
          <p:cNvSpPr/>
          <p:nvPr/>
        </p:nvSpPr>
        <p:spPr>
          <a:xfrm>
            <a:off x="924593" y="4127750"/>
            <a:ext cx="3326517" cy="1543545"/>
          </a:xfrm>
          <a:prstGeom prst="ellipse">
            <a:avLst/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Google Shape;9333;g3dea1330d01_2_490">
            <a:extLst>
              <a:ext uri="{FF2B5EF4-FFF2-40B4-BE49-F238E27FC236}">
                <a16:creationId xmlns:a16="http://schemas.microsoft.com/office/drawing/2014/main" id="{E6BF5498-B99D-FD42-90BF-5AE654FF9772}"/>
              </a:ext>
            </a:extLst>
          </p:cNvPr>
          <p:cNvSpPr txBox="1"/>
          <p:nvPr/>
        </p:nvSpPr>
        <p:spPr>
          <a:xfrm>
            <a:off x="3290925" y="1191172"/>
            <a:ext cx="1996200" cy="15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2875" rIns="0" bIns="95250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-US" sz="1500" dirty="0">
                <a:solidFill>
                  <a:srgbClr val="444C55"/>
                </a:solidFill>
                <a:latin typeface="DM Sans"/>
                <a:sym typeface="DM Sans"/>
              </a:rPr>
              <a:t>QI Topic Call</a:t>
            </a:r>
            <a:endParaRPr dirty="0"/>
          </a:p>
        </p:txBody>
      </p:sp>
      <p:sp>
        <p:nvSpPr>
          <p:cNvPr id="5" name="Google Shape;9333;g3dea1330d01_2_490">
            <a:extLst>
              <a:ext uri="{FF2B5EF4-FFF2-40B4-BE49-F238E27FC236}">
                <a16:creationId xmlns:a16="http://schemas.microsoft.com/office/drawing/2014/main" id="{A8AB3495-DBFB-16DE-4D94-28DE246E398B}"/>
              </a:ext>
            </a:extLst>
          </p:cNvPr>
          <p:cNvSpPr txBox="1"/>
          <p:nvPr/>
        </p:nvSpPr>
        <p:spPr>
          <a:xfrm>
            <a:off x="8321698" y="1132804"/>
            <a:ext cx="1996200" cy="15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2875" rIns="0" bIns="95250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-US" sz="1500" dirty="0">
                <a:solidFill>
                  <a:srgbClr val="444C55"/>
                </a:solidFill>
                <a:latin typeface="DM Sans"/>
                <a:sym typeface="DM Sans"/>
              </a:rPr>
              <a:t>Annual Confer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918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76">
          <a:extLst>
            <a:ext uri="{FF2B5EF4-FFF2-40B4-BE49-F238E27FC236}">
              <a16:creationId xmlns:a16="http://schemas.microsoft.com/office/drawing/2014/main" id="{B42C1E13-559D-9A73-024E-80504273E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7" name="Google Shape;20977;g3681a448973_2_12940">
            <a:extLst>
              <a:ext uri="{FF2B5EF4-FFF2-40B4-BE49-F238E27FC236}">
                <a16:creationId xmlns:a16="http://schemas.microsoft.com/office/drawing/2014/main" id="{2C2C5D1F-3EF9-529B-35C3-5BB3C736DA9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99403" y="1867233"/>
            <a:ext cx="103932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SzPts val="3600"/>
              <a:buFont typeface="DM Sans"/>
            </a:pPr>
            <a:r>
              <a:rPr lang="en-US" dirty="0">
                <a:latin typeface="DM Sans"/>
                <a:ea typeface="DM Sans"/>
                <a:cs typeface="DM Sans"/>
                <a:sym typeface="DM Sans"/>
              </a:rPr>
              <a:t>ESSI Pathways for the Next Year</a:t>
            </a:r>
            <a:endParaRPr lang="en-US" dirty="0">
              <a:latin typeface="DM Sans"/>
            </a:endParaRPr>
          </a:p>
        </p:txBody>
      </p:sp>
      <p:sp>
        <p:nvSpPr>
          <p:cNvPr id="20978" name="Google Shape;20978;g3681a448973_2_12940">
            <a:extLst>
              <a:ext uri="{FF2B5EF4-FFF2-40B4-BE49-F238E27FC236}">
                <a16:creationId xmlns:a16="http://schemas.microsoft.com/office/drawing/2014/main" id="{59361325-50A3-7305-D449-8BE314D2317A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sz="1200" b="0" i="0" u="none" strike="noStrike" cap="none">
              <a:solidFill>
                <a:srgbClr val="91949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79" name="Google Shape;20979;g3681a448973_2_12940">
            <a:extLst>
              <a:ext uri="{FF2B5EF4-FFF2-40B4-BE49-F238E27FC236}">
                <a16:creationId xmlns:a16="http://schemas.microsoft.com/office/drawing/2014/main" id="{62467F50-0C9E-E7D8-4132-14743EE076B7}"/>
              </a:ext>
            </a:extLst>
          </p:cNvPr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37566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7851" b="-7851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4" name="Freeform 4"/>
          <p:cNvSpPr/>
          <p:nvPr/>
        </p:nvSpPr>
        <p:spPr>
          <a:xfrm>
            <a:off x="-118627" y="1847615"/>
            <a:ext cx="3181566" cy="3162771"/>
          </a:xfrm>
          <a:custGeom>
            <a:avLst/>
            <a:gdLst/>
            <a:ahLst/>
            <a:cxnLst/>
            <a:rect l="l" t="t" r="r" b="b"/>
            <a:pathLst>
              <a:path w="4772349" h="4744156">
                <a:moveTo>
                  <a:pt x="0" y="0"/>
                </a:moveTo>
                <a:lnTo>
                  <a:pt x="4772349" y="0"/>
                </a:lnTo>
                <a:lnTo>
                  <a:pt x="4772349" y="4744156"/>
                </a:lnTo>
                <a:lnTo>
                  <a:pt x="0" y="474415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75000"/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5" name="Group 5"/>
          <p:cNvGrpSpPr/>
          <p:nvPr/>
        </p:nvGrpSpPr>
        <p:grpSpPr>
          <a:xfrm>
            <a:off x="-1757578" y="2831823"/>
            <a:ext cx="8921013" cy="33883"/>
            <a:chOff x="0" y="0"/>
            <a:chExt cx="17842025" cy="6776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4517656" cy="67765"/>
            </a:xfrm>
            <a:custGeom>
              <a:avLst/>
              <a:gdLst/>
              <a:ahLst/>
              <a:cxnLst/>
              <a:rect l="l" t="t" r="r" b="b"/>
              <a:pathLst>
                <a:path w="4517656" h="67765">
                  <a:moveTo>
                    <a:pt x="0" y="0"/>
                  </a:moveTo>
                  <a:lnTo>
                    <a:pt x="4517656" y="0"/>
                  </a:lnTo>
                  <a:lnTo>
                    <a:pt x="4517656" y="67765"/>
                  </a:lnTo>
                  <a:lnTo>
                    <a:pt x="0" y="6776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latin typeface="DM Sans"/>
              </a:endParaRPr>
            </a:p>
          </p:txBody>
        </p:sp>
        <p:sp>
          <p:nvSpPr>
            <p:cNvPr id="7" name="Freeform 7"/>
            <p:cNvSpPr/>
            <p:nvPr/>
          </p:nvSpPr>
          <p:spPr>
            <a:xfrm flipH="1">
              <a:off x="4441456" y="0"/>
              <a:ext cx="4517656" cy="67765"/>
            </a:xfrm>
            <a:custGeom>
              <a:avLst/>
              <a:gdLst/>
              <a:ahLst/>
              <a:cxnLst/>
              <a:rect l="l" t="t" r="r" b="b"/>
              <a:pathLst>
                <a:path w="4517656" h="67765">
                  <a:moveTo>
                    <a:pt x="4517657" y="0"/>
                  </a:moveTo>
                  <a:lnTo>
                    <a:pt x="0" y="0"/>
                  </a:lnTo>
                  <a:lnTo>
                    <a:pt x="0" y="67765"/>
                  </a:lnTo>
                  <a:lnTo>
                    <a:pt x="4517657" y="67765"/>
                  </a:lnTo>
                  <a:lnTo>
                    <a:pt x="4517657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latin typeface="DM Sans"/>
              </a:endParaRPr>
            </a:p>
          </p:txBody>
        </p:sp>
        <p:sp>
          <p:nvSpPr>
            <p:cNvPr id="8" name="Freeform 8"/>
            <p:cNvSpPr/>
            <p:nvPr/>
          </p:nvSpPr>
          <p:spPr>
            <a:xfrm>
              <a:off x="8882913" y="0"/>
              <a:ext cx="4517656" cy="67765"/>
            </a:xfrm>
            <a:custGeom>
              <a:avLst/>
              <a:gdLst/>
              <a:ahLst/>
              <a:cxnLst/>
              <a:rect l="l" t="t" r="r" b="b"/>
              <a:pathLst>
                <a:path w="4517656" h="67765">
                  <a:moveTo>
                    <a:pt x="0" y="0"/>
                  </a:moveTo>
                  <a:lnTo>
                    <a:pt x="4517656" y="0"/>
                  </a:lnTo>
                  <a:lnTo>
                    <a:pt x="4517656" y="67765"/>
                  </a:lnTo>
                  <a:lnTo>
                    <a:pt x="0" y="6776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latin typeface="DM Sans"/>
              </a:endParaRPr>
            </a:p>
          </p:txBody>
        </p:sp>
        <p:sp>
          <p:nvSpPr>
            <p:cNvPr id="9" name="Freeform 9"/>
            <p:cNvSpPr/>
            <p:nvPr/>
          </p:nvSpPr>
          <p:spPr>
            <a:xfrm flipH="1">
              <a:off x="13324369" y="0"/>
              <a:ext cx="4517656" cy="67765"/>
            </a:xfrm>
            <a:custGeom>
              <a:avLst/>
              <a:gdLst/>
              <a:ahLst/>
              <a:cxnLst/>
              <a:rect l="l" t="t" r="r" b="b"/>
              <a:pathLst>
                <a:path w="4517656" h="67765">
                  <a:moveTo>
                    <a:pt x="4517656" y="0"/>
                  </a:moveTo>
                  <a:lnTo>
                    <a:pt x="0" y="0"/>
                  </a:lnTo>
                  <a:lnTo>
                    <a:pt x="0" y="67765"/>
                  </a:lnTo>
                  <a:lnTo>
                    <a:pt x="4517656" y="67765"/>
                  </a:lnTo>
                  <a:lnTo>
                    <a:pt x="4517656" y="0"/>
                  </a:lnTo>
                  <a:close/>
                </a:path>
              </a:pathLst>
            </a:custGeom>
            <a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latin typeface="DM Sans"/>
              </a:endParaRPr>
            </a:p>
          </p:txBody>
        </p:sp>
      </p:grpSp>
      <p:sp>
        <p:nvSpPr>
          <p:cNvPr id="10" name="Freeform 10"/>
          <p:cNvSpPr/>
          <p:nvPr/>
        </p:nvSpPr>
        <p:spPr>
          <a:xfrm rot="1925378">
            <a:off x="-1536886" y="4385205"/>
            <a:ext cx="5931271" cy="3106503"/>
          </a:xfrm>
          <a:custGeom>
            <a:avLst/>
            <a:gdLst/>
            <a:ahLst/>
            <a:cxnLst/>
            <a:rect l="l" t="t" r="r" b="b"/>
            <a:pathLst>
              <a:path w="8896907" h="4659755">
                <a:moveTo>
                  <a:pt x="0" y="0"/>
                </a:moveTo>
                <a:lnTo>
                  <a:pt x="8896908" y="0"/>
                </a:lnTo>
                <a:lnTo>
                  <a:pt x="8896908" y="4659755"/>
                </a:lnTo>
                <a:lnTo>
                  <a:pt x="0" y="4659755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1" name="TextBox 11"/>
          <p:cNvSpPr txBox="1"/>
          <p:nvPr/>
        </p:nvSpPr>
        <p:spPr>
          <a:xfrm>
            <a:off x="2432445" y="3364725"/>
            <a:ext cx="9243588" cy="16630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2645" lvl="1" indent="-514350" algn="l">
              <a:lnSpc>
                <a:spcPts val="4260"/>
              </a:lnSpc>
              <a:buAutoNum type="arabicPeriod"/>
            </a:pPr>
            <a:r>
              <a:rPr lang="en-US" sz="3600">
                <a:solidFill>
                  <a:schemeClr val="bg1"/>
                </a:solidFill>
                <a:latin typeface="DM Sans"/>
                <a:ea typeface="Lora Italics"/>
                <a:cs typeface="Lora Italics"/>
                <a:sym typeface="Lora Italics"/>
              </a:rPr>
              <a:t>All Structure Measures in Place</a:t>
            </a:r>
            <a:endParaRPr lang="en-US" sz="3600">
              <a:solidFill>
                <a:schemeClr val="bg1"/>
              </a:solidFill>
              <a:latin typeface="DM Sans"/>
              <a:ea typeface="Lora Italics"/>
              <a:cs typeface="Lora Italics"/>
            </a:endParaRPr>
          </a:p>
          <a:p>
            <a:pPr marL="842645" lvl="1" indent="-514350">
              <a:lnSpc>
                <a:spcPts val="4260"/>
              </a:lnSpc>
              <a:buAutoNum type="arabicPeriod"/>
            </a:pPr>
            <a:r>
              <a:rPr lang="en-US" sz="3600">
                <a:solidFill>
                  <a:schemeClr val="bg1"/>
                </a:solidFill>
                <a:latin typeface="DM Sans"/>
                <a:ea typeface="Lora Italics"/>
                <a:cs typeface="Lora Italics"/>
                <a:sym typeface="Lora Italics"/>
              </a:rPr>
              <a:t>Safe </a:t>
            </a:r>
            <a:r>
              <a:rPr lang="en-US" sz="3600">
                <a:solidFill>
                  <a:schemeClr val="bg1"/>
                </a:solidFill>
                <a:latin typeface="DM Sans"/>
              </a:rPr>
              <a:t>Sleep Audits</a:t>
            </a:r>
            <a:r>
              <a:rPr lang="en-US" sz="3600" dirty="0">
                <a:solidFill>
                  <a:schemeClr val="bg1"/>
                </a:solidFill>
                <a:latin typeface="DM Sans"/>
              </a:rPr>
              <a:t> ≥80%</a:t>
            </a:r>
            <a:r>
              <a:rPr lang="en-US" sz="4000" dirty="0">
                <a:solidFill>
                  <a:schemeClr val="bg1"/>
                </a:solidFill>
                <a:latin typeface="DM Sans"/>
              </a:rPr>
              <a:t> </a:t>
            </a:r>
            <a:r>
              <a:rPr lang="en-US" sz="3600">
                <a:solidFill>
                  <a:schemeClr val="bg1"/>
                </a:solidFill>
                <a:latin typeface="DM Sans"/>
              </a:rPr>
              <a:t>Threshold</a:t>
            </a:r>
            <a:endParaRPr lang="en-US" sz="3600" dirty="0">
              <a:solidFill>
                <a:schemeClr val="bg1"/>
              </a:solidFill>
              <a:latin typeface="DM Sans"/>
            </a:endParaRPr>
          </a:p>
          <a:p>
            <a:pPr marL="842645" lvl="1" indent="-514350">
              <a:lnSpc>
                <a:spcPts val="4260"/>
              </a:lnSpc>
              <a:buAutoNum type="arabicPeriod"/>
            </a:pPr>
            <a:r>
              <a:rPr lang="en-US" sz="3600">
                <a:solidFill>
                  <a:schemeClr val="bg1"/>
                </a:solidFill>
                <a:latin typeface="DM Sans"/>
              </a:rPr>
              <a:t>ESSI</a:t>
            </a:r>
            <a:r>
              <a:rPr lang="en-US" sz="3600">
                <a:solidFill>
                  <a:schemeClr val="bg1"/>
                </a:solidFill>
                <a:latin typeface="DM Sans"/>
                <a:ea typeface="Lora Italics"/>
                <a:cs typeface="Lora Italics"/>
              </a:rPr>
              <a:t> Bundle Components ≥80%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321315" y="206279"/>
            <a:ext cx="7518493" cy="22080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5731"/>
              </a:lnSpc>
              <a:spcBef>
                <a:spcPct val="0"/>
              </a:spcBef>
            </a:pPr>
            <a:r>
              <a:rPr lang="en-US" sz="4800" dirty="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Equity and Safe Sleep for Infants </a:t>
            </a:r>
            <a:r>
              <a:rPr lang="en-US" sz="480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Initiative</a:t>
            </a:r>
            <a:endParaRPr lang="en-US" sz="4800" dirty="0">
              <a:solidFill>
                <a:srgbClr val="F5D182"/>
              </a:solidFill>
              <a:latin typeface="DM Sans"/>
              <a:ea typeface="Cinzel"/>
              <a:cs typeface="Cinzel"/>
            </a:endParaRPr>
          </a:p>
          <a:p>
            <a:pPr>
              <a:lnSpc>
                <a:spcPts val="5731"/>
              </a:lnSpc>
              <a:spcBef>
                <a:spcPct val="0"/>
              </a:spcBef>
            </a:pPr>
            <a:r>
              <a:rPr lang="en-US" sz="480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QI Excellence Award</a:t>
            </a:r>
            <a:endParaRPr lang="en-US" sz="4800" dirty="0">
              <a:solidFill>
                <a:srgbClr val="F5D182"/>
              </a:solidFill>
              <a:latin typeface="DM Sans"/>
              <a:ea typeface="Cinzel"/>
              <a:cs typeface="Cinze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8E614A9-7DDD-9784-6D4F-EAB388AE2FA2}"/>
              </a:ext>
            </a:extLst>
          </p:cNvPr>
          <p:cNvGrpSpPr/>
          <p:nvPr/>
        </p:nvGrpSpPr>
        <p:grpSpPr>
          <a:xfrm>
            <a:off x="8556262" y="200750"/>
            <a:ext cx="3112770" cy="2078355"/>
            <a:chOff x="7217977" y="-1846431"/>
            <a:chExt cx="3143250" cy="2124075"/>
          </a:xfrm>
        </p:grpSpPr>
        <p:pic>
          <p:nvPicPr>
            <p:cNvPr id="3" name="Google Shape;9105;p32">
              <a:extLst>
                <a:ext uri="{FF2B5EF4-FFF2-40B4-BE49-F238E27FC236}">
                  <a16:creationId xmlns:a16="http://schemas.microsoft.com/office/drawing/2014/main" id="{0A0BEF60-BA2D-9465-2DFB-718DE1712BD1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217977" y="-1046331"/>
              <a:ext cx="3143250" cy="6096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" name="Google Shape;9106;p32">
              <a:extLst>
                <a:ext uri="{FF2B5EF4-FFF2-40B4-BE49-F238E27FC236}">
                  <a16:creationId xmlns:a16="http://schemas.microsoft.com/office/drawing/2014/main" id="{AED6E676-F46A-CE2E-4FC5-59DD323F61AE}"/>
                </a:ext>
              </a:extLst>
            </p:cNvPr>
            <p:cNvSpPr txBox="1"/>
            <p:nvPr/>
          </p:nvSpPr>
          <p:spPr>
            <a:xfrm>
              <a:off x="7957752" y="-877358"/>
              <a:ext cx="1559700" cy="37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5875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270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</a:pPr>
              <a:r>
                <a:rPr lang="en-US" sz="2300" b="0" i="0" u="none" strike="noStrike" cap="none">
                  <a:solidFill>
                    <a:srgbClr val="FFFFFF"/>
                  </a:solidFill>
                  <a:latin typeface="DM Sans"/>
                  <a:ea typeface="DM Sans"/>
                  <a:cs typeface="DM Sans"/>
                  <a:sym typeface="DM Sans"/>
                </a:rPr>
                <a:t>READINESS</a:t>
              </a:r>
              <a:endParaRPr sz="2300" b="0" i="0" u="none" strike="noStrike" cap="none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  <p:pic>
          <p:nvPicPr>
            <p:cNvPr id="14" name="Google Shape;9107;p32">
              <a:extLst>
                <a:ext uri="{FF2B5EF4-FFF2-40B4-BE49-F238E27FC236}">
                  <a16:creationId xmlns:a16="http://schemas.microsoft.com/office/drawing/2014/main" id="{68D2708D-9337-FFE7-CDEB-66F874177CDE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7217977" y="-284331"/>
              <a:ext cx="3143250" cy="5619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5" name="Google Shape;9108;p32">
              <a:extLst>
                <a:ext uri="{FF2B5EF4-FFF2-40B4-BE49-F238E27FC236}">
                  <a16:creationId xmlns:a16="http://schemas.microsoft.com/office/drawing/2014/main" id="{C05F3544-17AE-D9B4-C5C6-F9CF7AEBB26D}"/>
                </a:ext>
              </a:extLst>
            </p:cNvPr>
            <p:cNvSpPr txBox="1"/>
            <p:nvPr/>
          </p:nvSpPr>
          <p:spPr>
            <a:xfrm>
              <a:off x="7402444" y="-136694"/>
              <a:ext cx="2743200" cy="37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5875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270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</a:pPr>
              <a:r>
                <a:rPr lang="en-US" sz="2300" b="0" i="0" u="none" strike="noStrike" cap="none">
                  <a:solidFill>
                    <a:srgbClr val="FFFFFF"/>
                  </a:solidFill>
                  <a:latin typeface="DM Sans"/>
                  <a:ea typeface="DM Sans"/>
                  <a:cs typeface="DM Sans"/>
                  <a:sym typeface="DM Sans"/>
                </a:rPr>
                <a:t>TRANSFER OF CARE</a:t>
              </a:r>
              <a:endParaRPr sz="2300" b="0" i="0" u="none" strike="noStrike" cap="none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  <p:pic>
          <p:nvPicPr>
            <p:cNvPr id="16" name="Google Shape;9109;p32">
              <a:extLst>
                <a:ext uri="{FF2B5EF4-FFF2-40B4-BE49-F238E27FC236}">
                  <a16:creationId xmlns:a16="http://schemas.microsoft.com/office/drawing/2014/main" id="{918CC442-1B48-DC04-5CC8-CB0E9F4E737F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7217977" y="-1846431"/>
              <a:ext cx="3143250" cy="6096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" name="Google Shape;9110;p32">
              <a:extLst>
                <a:ext uri="{FF2B5EF4-FFF2-40B4-BE49-F238E27FC236}">
                  <a16:creationId xmlns:a16="http://schemas.microsoft.com/office/drawing/2014/main" id="{B26937C0-C924-AB5D-FB6E-6F449C0FBEEB}"/>
                </a:ext>
              </a:extLst>
            </p:cNvPr>
            <p:cNvSpPr txBox="1"/>
            <p:nvPr/>
          </p:nvSpPr>
          <p:spPr>
            <a:xfrm>
              <a:off x="7915841" y="-1693078"/>
              <a:ext cx="1757700" cy="37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5875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1270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00"/>
                <a:buFont typeface="Arial"/>
                <a:buNone/>
              </a:pPr>
              <a:r>
                <a:rPr lang="en-US" sz="2300" b="0" i="0" u="none" strike="noStrike" cap="none">
                  <a:solidFill>
                    <a:srgbClr val="FFFFFF"/>
                  </a:solidFill>
                  <a:latin typeface="DM Sans"/>
                  <a:ea typeface="DM Sans"/>
                  <a:cs typeface="DM Sans"/>
                  <a:sym typeface="DM Sans"/>
                </a:rPr>
                <a:t>AWARENESS</a:t>
              </a:r>
              <a:endParaRPr sz="2300" b="0" i="0" u="none" strike="noStrike" cap="none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529315"/>
      </p:ext>
    </p:extLst>
  </p:cSld>
  <p:clrMapOvr>
    <a:masterClrMapping/>
  </p:clrMapOvr>
  <p:transition spd="slow"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8D415-9F7A-C9F0-FD5A-DE4E164D41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C28DBAB7-50FD-A052-8FD0-E8BB5924F52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7851" b="-7851"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48D0FABD-77E5-38C5-B75A-3111B0C04959}"/>
              </a:ext>
            </a:extLst>
          </p:cNvPr>
          <p:cNvSpPr/>
          <p:nvPr/>
        </p:nvSpPr>
        <p:spPr>
          <a:xfrm rot="10800000">
            <a:off x="0" y="4643663"/>
            <a:ext cx="12192000" cy="3825240"/>
          </a:xfrm>
          <a:custGeom>
            <a:avLst/>
            <a:gdLst/>
            <a:ahLst/>
            <a:cxnLst/>
            <a:rect l="l" t="t" r="r" b="b"/>
            <a:pathLst>
              <a:path w="18288000" h="5737860">
                <a:moveTo>
                  <a:pt x="0" y="0"/>
                </a:moveTo>
                <a:lnTo>
                  <a:pt x="18288000" y="0"/>
                </a:lnTo>
                <a:lnTo>
                  <a:pt x="18288000" y="5737860"/>
                </a:lnTo>
                <a:lnTo>
                  <a:pt x="0" y="573786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130C6FC-46BA-3D29-BE96-C3658DBB769C}"/>
              </a:ext>
            </a:extLst>
          </p:cNvPr>
          <p:cNvSpPr txBox="1"/>
          <p:nvPr/>
        </p:nvSpPr>
        <p:spPr>
          <a:xfrm>
            <a:off x="365420" y="1629842"/>
            <a:ext cx="4958038" cy="49244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  <a:sym typeface="Cinzel"/>
              </a:rPr>
              <a:t>Advocate Christ</a:t>
            </a: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 Medical Center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Advocate Lutheran General/ Advocate Children's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Alton Memorial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Anderson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Ascension Saint Alexius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Barnes-Jewish Hospital</a:t>
            </a:r>
          </a:p>
          <a:p>
            <a:pPr>
              <a:spcBef>
                <a:spcPct val="0"/>
              </a:spcBef>
            </a:pPr>
            <a:r>
              <a:rPr lang="en-US" sz="2000" dirty="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Carle </a:t>
            </a:r>
            <a:r>
              <a:rPr lang="en-US" sz="2000" dirty="0" err="1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BroMenn</a:t>
            </a:r>
            <a:r>
              <a:rPr lang="en-US" sz="2000" dirty="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 Medical Center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CGH Medical Center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Gibson Area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HSHS St. Elizabeth's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Ingalls Memorial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Memorial Hospital of Carbondale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Memorial Hospital East</a:t>
            </a:r>
          </a:p>
          <a:p>
            <a:pPr>
              <a:spcBef>
                <a:spcPct val="0"/>
              </a:spcBef>
            </a:pPr>
            <a:r>
              <a:rPr lang="en-US" sz="2000" dirty="0" err="1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Mercyhealth</a:t>
            </a:r>
            <a:r>
              <a:rPr lang="en-US" sz="2000" dirty="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 Javon Bea 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Morris Hospital and Health Care Centers</a:t>
            </a:r>
            <a:endParaRPr lang="en-US" sz="2000">
              <a:solidFill>
                <a:schemeClr val="bg1"/>
              </a:solidFill>
              <a:latin typeface="DM Sans"/>
            </a:endParaRPr>
          </a:p>
        </p:txBody>
      </p:sp>
      <p:sp>
        <p:nvSpPr>
          <p:cNvPr id="8" name="TextBox 4">
            <a:extLst>
              <a:ext uri="{FF2B5EF4-FFF2-40B4-BE49-F238E27FC236}">
                <a16:creationId xmlns:a16="http://schemas.microsoft.com/office/drawing/2014/main" id="{6BCD7A93-8155-2F7B-9EE6-F9362E0C2B29}"/>
              </a:ext>
            </a:extLst>
          </p:cNvPr>
          <p:cNvSpPr txBox="1"/>
          <p:nvPr/>
        </p:nvSpPr>
        <p:spPr>
          <a:xfrm>
            <a:off x="365420" y="129077"/>
            <a:ext cx="11674806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4000" dirty="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Equity and Safe Sleep for </a:t>
            </a:r>
            <a:r>
              <a:rPr lang="en-US" sz="400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Infants QI</a:t>
            </a:r>
            <a:r>
              <a:rPr lang="en-US" sz="4000" dirty="0">
                <a:solidFill>
                  <a:srgbClr val="F5D182"/>
                </a:solidFill>
                <a:latin typeface="DM Sans"/>
                <a:ea typeface="Cinzel"/>
                <a:cs typeface="Cinzel"/>
                <a:sym typeface="Cinzel"/>
              </a:rPr>
              <a:t> Award Recipients- 2026</a:t>
            </a:r>
            <a:endParaRPr lang="en-US" sz="4000">
              <a:solidFill>
                <a:srgbClr val="F5D182"/>
              </a:solidFill>
              <a:latin typeface="DM Sans"/>
              <a:ea typeface="Cinzel"/>
              <a:cs typeface="Cinzel"/>
            </a:endParaRP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B8166B24-085B-F84A-7EAF-A0523F0DBDE5}"/>
              </a:ext>
            </a:extLst>
          </p:cNvPr>
          <p:cNvSpPr txBox="1"/>
          <p:nvPr/>
        </p:nvSpPr>
        <p:spPr>
          <a:xfrm>
            <a:off x="6922440" y="1953041"/>
            <a:ext cx="3922869" cy="430887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  <a:sym typeface="Cinzel"/>
              </a:rPr>
              <a:t>Mount</a:t>
            </a: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 Sinai</a:t>
            </a:r>
            <a:endParaRPr lang="en-US" sz="2000">
              <a:solidFill>
                <a:schemeClr val="bg1"/>
              </a:solidFill>
              <a:latin typeface="DM Sans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NM Central DuPage Hospital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NM Kishwaukee Hospital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NM Catherine Gratz Griffin Lake Forest </a:t>
            </a:r>
            <a:r>
              <a:rPr lang="en-US" sz="2000" dirty="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Hospital</a:t>
            </a: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OSF St. Anthony Medical Center- Rockford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OSF St. Elizabeth Medical Center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OSF St. Joseph Medical Center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OSF St. Mary Medical Center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Riverside Medical Center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Rush University Medical Center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St. Joseph's Hospital Breese</a:t>
            </a:r>
            <a:endParaRPr lang="en-US" sz="2000" dirty="0">
              <a:solidFill>
                <a:schemeClr val="bg1"/>
              </a:solidFill>
              <a:latin typeface="DM Sans"/>
              <a:ea typeface="Calibri"/>
              <a:cs typeface="Calibri"/>
            </a:endParaRPr>
          </a:p>
          <a:p>
            <a:pPr>
              <a:spcBef>
                <a:spcPct val="0"/>
              </a:spcBef>
            </a:pPr>
            <a:r>
              <a:rPr lang="en-US" sz="200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UWNI Swedish American Hospital</a:t>
            </a:r>
            <a:endParaRPr lang="en-US" sz="2000">
              <a:solidFill>
                <a:schemeClr val="bg1"/>
              </a:solidFill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559294612"/>
      </p:ext>
    </p:extLst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32CE0-7BE3-F4F5-01F5-A93CE0D7D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Pathway 1: Continued Active Improvement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96EF73E-66E6-EF5B-1621-8AED507453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8930747"/>
              </p:ext>
            </p:extLst>
          </p:nvPr>
        </p:nvGraphicFramePr>
        <p:xfrm>
          <a:off x="609600" y="1512351"/>
          <a:ext cx="6808763" cy="4756627"/>
        </p:xfrm>
        <a:graphic>
          <a:graphicData uri="http://schemas.openxmlformats.org/drawingml/2006/table">
            <a:tbl>
              <a:tblPr firstRow="1" bandRow="1"/>
              <a:tblGrid>
                <a:gridCol w="3253336">
                  <a:extLst>
                    <a:ext uri="{9D8B030D-6E8A-4147-A177-3AD203B41FA5}">
                      <a16:colId xmlns:a16="http://schemas.microsoft.com/office/drawing/2014/main" val="2111200917"/>
                    </a:ext>
                  </a:extLst>
                </a:gridCol>
                <a:gridCol w="3555427">
                  <a:extLst>
                    <a:ext uri="{9D8B030D-6E8A-4147-A177-3AD203B41FA5}">
                      <a16:colId xmlns:a16="http://schemas.microsoft.com/office/drawing/2014/main" val="3577207366"/>
                    </a:ext>
                  </a:extLst>
                </a:gridCol>
              </a:tblGrid>
              <a:tr h="710977">
                <a:tc gridSpan="2"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2000" dirty="0">
                          <a:effectLst/>
                          <a:latin typeface="DM Sans"/>
                        </a:rPr>
                        <a:t>Active Improvement </a:t>
                      </a:r>
                    </a:p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 b="1" dirty="0">
                          <a:effectLst/>
                          <a:latin typeface="DM Sans"/>
                        </a:rPr>
                        <a:t>(Has not yet achieved QI Excellence Award)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8F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394446"/>
                  </a:ext>
                </a:extLst>
              </a:tr>
              <a:tr h="605575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Hospital Level Data Form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Patient Level Data Form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412224"/>
                  </a:ext>
                </a:extLst>
              </a:tr>
              <a:tr h="808450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Monthly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Monthly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7012007"/>
                  </a:ext>
                </a:extLst>
              </a:tr>
              <a:tr h="478507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 1 per month</a:t>
                      </a:r>
                      <a:endParaRPr lang="en-US" sz="1800" dirty="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20 patients per month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2619430"/>
                  </a:ext>
                </a:extLst>
              </a:tr>
              <a:tr h="2153118"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Structure Measures </a:t>
                      </a:r>
                    </a:p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Sleep Environment Audit </a:t>
                      </a:r>
                    </a:p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Education Measures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Demographics </a:t>
                      </a:r>
                    </a:p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Safe Sleep Education </a:t>
                      </a:r>
                    </a:p>
                    <a:p>
                      <a:pPr marL="342900" lvl="0" indent="-342900" rtl="0" fontAlgn="base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effectLst/>
                          <a:latin typeface="DM Sans"/>
                        </a:rPr>
                        <a:t>SDOH Linkage and Discharge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979992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A8F3B-520F-F5F9-BE07-6321CDCC53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A98069-9B12-6355-4C4F-90ADC7C69A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Explosion 1 7">
            <a:extLst>
              <a:ext uri="{FF2B5EF4-FFF2-40B4-BE49-F238E27FC236}">
                <a16:creationId xmlns:a16="http://schemas.microsoft.com/office/drawing/2014/main" id="{770AEAB2-DA04-99F1-1854-2A4AECB751AA}"/>
              </a:ext>
            </a:extLst>
          </p:cNvPr>
          <p:cNvSpPr/>
          <p:nvPr/>
        </p:nvSpPr>
        <p:spPr>
          <a:xfrm>
            <a:off x="7568419" y="1690688"/>
            <a:ext cx="4623582" cy="4578289"/>
          </a:xfrm>
          <a:prstGeom prst="irregularSeal1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758CEF-1900-7EB7-BA48-387792020299}"/>
              </a:ext>
            </a:extLst>
          </p:cNvPr>
          <p:cNvSpPr txBox="1"/>
          <p:nvPr/>
        </p:nvSpPr>
        <p:spPr>
          <a:xfrm>
            <a:off x="8839200" y="3016251"/>
            <a:ext cx="27432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chieve by August 31 to win at Annual Conference!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1169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DF4F6F-7CFA-F157-1670-39D5910A32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>
                <a:latin typeface="DM Sans"/>
              </a:rPr>
              <a:pPr/>
              <a:t>15</a:t>
            </a:fld>
            <a:endParaRPr lang="en-US">
              <a:latin typeface="DM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147FEA-A3DB-E7BF-5005-B0B955825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2B713C4-6FC4-FFB5-735B-2802944C1F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8785799"/>
              </p:ext>
            </p:extLst>
          </p:nvPr>
        </p:nvGraphicFramePr>
        <p:xfrm>
          <a:off x="299915" y="1587406"/>
          <a:ext cx="6957361" cy="4452213"/>
        </p:xfrm>
        <a:graphic>
          <a:graphicData uri="http://schemas.openxmlformats.org/drawingml/2006/table">
            <a:tbl>
              <a:tblPr firstRow="1" bandRow="1"/>
              <a:tblGrid>
                <a:gridCol w="2004294">
                  <a:extLst>
                    <a:ext uri="{9D8B030D-6E8A-4147-A177-3AD203B41FA5}">
                      <a16:colId xmlns:a16="http://schemas.microsoft.com/office/drawing/2014/main" val="4199742592"/>
                    </a:ext>
                  </a:extLst>
                </a:gridCol>
                <a:gridCol w="2327567">
                  <a:extLst>
                    <a:ext uri="{9D8B030D-6E8A-4147-A177-3AD203B41FA5}">
                      <a16:colId xmlns:a16="http://schemas.microsoft.com/office/drawing/2014/main" val="3492366280"/>
                    </a:ext>
                  </a:extLst>
                </a:gridCol>
                <a:gridCol w="2625500">
                  <a:extLst>
                    <a:ext uri="{9D8B030D-6E8A-4147-A177-3AD203B41FA5}">
                      <a16:colId xmlns:a16="http://schemas.microsoft.com/office/drawing/2014/main" val="1666299998"/>
                    </a:ext>
                  </a:extLst>
                </a:gridCol>
              </a:tblGrid>
              <a:tr h="651960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endParaRPr lang="en-US" sz="200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8F8"/>
                    </a:solidFill>
                  </a:tcPr>
                </a:tc>
                <a:tc gridSpan="2"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2000" dirty="0">
                          <a:effectLst/>
                          <a:latin typeface="DM Sans"/>
                        </a:rPr>
                        <a:t>Sustaining Improvement </a:t>
                      </a:r>
                    </a:p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 b="1" dirty="0">
                          <a:effectLst/>
                          <a:latin typeface="DM Sans"/>
                        </a:rPr>
                        <a:t>(Hospital Teams who have won a QI Excellence Award at Face to Face)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8F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5635826"/>
                  </a:ext>
                </a:extLst>
              </a:tr>
              <a:tr h="555307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endParaRPr lang="en-US" sz="2000"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Hospital Level Data Form </a:t>
                      </a:r>
                    </a:p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endParaRPr lang="en-US" sz="180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Patient Level Data Form </a:t>
                      </a:r>
                    </a:p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endParaRPr lang="en-US" sz="180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789464"/>
                  </a:ext>
                </a:extLst>
              </a:tr>
              <a:tr h="741342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2000">
                          <a:latin typeface="DM Sans"/>
                        </a:rPr>
                        <a:t>Data Submission Frequency </a:t>
                      </a:r>
                      <a:endParaRPr lang="en-US" sz="200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Quarterly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 Quarterly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5520629"/>
                  </a:ext>
                </a:extLst>
              </a:tr>
              <a:tr h="438787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2000">
                          <a:latin typeface="DM Sans"/>
                        </a:rPr>
                        <a:t>Number </a:t>
                      </a:r>
                      <a:endParaRPr lang="en-US" sz="200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1  per quarter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>
                          <a:effectLst/>
                          <a:latin typeface="DM Sans"/>
                        </a:rPr>
                        <a:t>20 patients per quarter</a:t>
                      </a:r>
                      <a:endParaRPr lang="en-US"/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463051"/>
                  </a:ext>
                </a:extLst>
              </a:tr>
              <a:tr h="1974392"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2000" dirty="0">
                          <a:latin typeface="DM Sans"/>
                        </a:rPr>
                        <a:t>Collected </a:t>
                      </a:r>
                      <a:endParaRPr lang="en-US" sz="2000" dirty="0">
                        <a:effectLst/>
                        <a:latin typeface="DM Sans"/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800" dirty="0">
                          <a:latin typeface="DM Sans"/>
                        </a:rPr>
                        <a:t>Crib Audits</a:t>
                      </a:r>
                      <a:r>
                        <a:rPr lang="en-US" sz="1800" dirty="0">
                          <a:effectLst/>
                          <a:latin typeface="DM Sans"/>
                        </a:rPr>
                        <a:t> </a:t>
                      </a: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buClr>
                          <a:srgbClr val="444C55"/>
                        </a:buClr>
                        <a:buFont typeface="Arial,Sans-Serif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rgbClr val="444C55"/>
                          </a:solidFill>
                          <a:latin typeface="DM Sans"/>
                        </a:rPr>
                        <a:t>Demographics 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buClr>
                          <a:srgbClr val="444C55"/>
                        </a:buClr>
                        <a:buFont typeface="Arial,Sans-Serif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rgbClr val="444C55"/>
                          </a:solidFill>
                          <a:latin typeface="DM Sans"/>
                        </a:rPr>
                        <a:t>Safe Sleep Education 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buClr>
                          <a:srgbClr val="444C55"/>
                        </a:buClr>
                        <a:buFont typeface="Arial,Sans-Serif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rgbClr val="444C55"/>
                          </a:solidFill>
                          <a:latin typeface="DM Sans"/>
                        </a:rPr>
                        <a:t>SDOH Linkage and Discharge </a:t>
                      </a:r>
                      <a:endParaRPr lang="en-US" b="0" i="0" u="none" strike="noStrike" noProof="0" dirty="0">
                        <a:solidFill>
                          <a:srgbClr val="444C55"/>
                        </a:solidFill>
                      </a:endParaRPr>
                    </a:p>
                  </a:txBody>
                  <a:tcPr marL="66675" marR="66675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122668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DBE48C5-3192-3383-3346-FD48B7F72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br>
              <a:rPr lang="en-US" sz="3200" dirty="0">
                <a:latin typeface="DM Sans"/>
                <a:ea typeface="Lato Medium"/>
                <a:cs typeface="Lato Medium"/>
              </a:rPr>
            </a:br>
            <a:r>
              <a:rPr lang="en-US" sz="3200" dirty="0">
                <a:latin typeface="DM Sans"/>
                <a:ea typeface="Lato Medium"/>
                <a:cs typeface="Lato Medium"/>
              </a:rPr>
              <a:t>Pathway 2: Sustaining the Gains</a:t>
            </a:r>
            <a:endParaRPr lang="en-US" sz="3200" dirty="0">
              <a:latin typeface="DM Sans"/>
            </a:endParaRPr>
          </a:p>
        </p:txBody>
      </p:sp>
      <p:sp>
        <p:nvSpPr>
          <p:cNvPr id="2" name="Explosion 1 1">
            <a:extLst>
              <a:ext uri="{FF2B5EF4-FFF2-40B4-BE49-F238E27FC236}">
                <a16:creationId xmlns:a16="http://schemas.microsoft.com/office/drawing/2014/main" id="{19A40AC9-5F2B-FC63-2E1C-4C57B1E43DFB}"/>
              </a:ext>
            </a:extLst>
          </p:cNvPr>
          <p:cNvSpPr/>
          <p:nvPr/>
        </p:nvSpPr>
        <p:spPr>
          <a:xfrm>
            <a:off x="7568419" y="1690688"/>
            <a:ext cx="4623582" cy="4578289"/>
          </a:xfrm>
          <a:prstGeom prst="irregularSeal1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6DF478-916E-429F-9937-3A465BD6596D}"/>
              </a:ext>
            </a:extLst>
          </p:cNvPr>
          <p:cNvSpPr txBox="1"/>
          <p:nvPr/>
        </p:nvSpPr>
        <p:spPr>
          <a:xfrm>
            <a:off x="9148885" y="3228736"/>
            <a:ext cx="27432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is work matters!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27331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317A3-0207-580C-C6A0-185A9DC07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F70846-FB72-02ED-06C9-0AB9CC3C31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>
                <a:latin typeface="DM Sans"/>
              </a:rPr>
              <a:pPr/>
              <a:t>16</a:t>
            </a:fld>
            <a:endParaRPr lang="en-US">
              <a:latin typeface="DM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6B4AC-300D-F463-8898-624698DBA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0E50B1-8F11-1F89-FF3B-0C5D806E8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912" y="288448"/>
            <a:ext cx="7133772" cy="1325563"/>
          </a:xfrm>
        </p:spPr>
        <p:txBody>
          <a:bodyPr/>
          <a:lstStyle/>
          <a:p>
            <a:r>
              <a:rPr lang="en-US" sz="3200" dirty="0">
                <a:latin typeface="DM Sans"/>
                <a:ea typeface="Lato Medium"/>
                <a:cs typeface="Lato Medium"/>
              </a:rPr>
              <a:t>Submission Schedule </a:t>
            </a:r>
            <a:br>
              <a:rPr lang="en-US" sz="3200" dirty="0">
                <a:latin typeface="DM Sans"/>
                <a:ea typeface="Lato Medium"/>
                <a:cs typeface="Lato Medium"/>
              </a:rPr>
            </a:br>
            <a:r>
              <a:rPr lang="en-US" sz="3200" dirty="0">
                <a:latin typeface="DM Sans"/>
                <a:ea typeface="Lato Medium"/>
                <a:cs typeface="Lato Medium"/>
              </a:rPr>
              <a:t>Pathway 2: Sustaining Improvement</a:t>
            </a:r>
            <a:endParaRPr lang="en-US" sz="3200" dirty="0">
              <a:latin typeface="DM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159DF3-CDD8-690F-74A8-CB004834498F}"/>
              </a:ext>
            </a:extLst>
          </p:cNvPr>
          <p:cNvSpPr txBox="1"/>
          <p:nvPr/>
        </p:nvSpPr>
        <p:spPr>
          <a:xfrm>
            <a:off x="6342743" y="2455552"/>
            <a:ext cx="4985658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>
              <a:latin typeface="DM Sans"/>
            </a:endParaRPr>
          </a:p>
          <a:p>
            <a:r>
              <a:rPr lang="en-US" sz="2000" b="1">
                <a:latin typeface="DM Sans"/>
              </a:rPr>
              <a:t>Q1 (Jan–Mar):</a:t>
            </a:r>
            <a:r>
              <a:rPr lang="en-US" sz="2000">
                <a:latin typeface="DM Sans"/>
              </a:rPr>
              <a:t> Complete audits in </a:t>
            </a:r>
            <a:r>
              <a:rPr lang="en-US" sz="2000" b="1">
                <a:latin typeface="DM Sans"/>
              </a:rPr>
              <a:t>March</a:t>
            </a:r>
          </a:p>
          <a:p>
            <a:r>
              <a:rPr lang="en-US" sz="2000" b="1">
                <a:latin typeface="DM Sans"/>
              </a:rPr>
              <a:t>Q2 (Apr–Jun):</a:t>
            </a:r>
            <a:r>
              <a:rPr lang="en-US" sz="2000">
                <a:latin typeface="DM Sans"/>
              </a:rPr>
              <a:t> Complete audits in </a:t>
            </a:r>
            <a:r>
              <a:rPr lang="en-US" sz="2000" b="1">
                <a:latin typeface="DM Sans"/>
              </a:rPr>
              <a:t>June</a:t>
            </a:r>
            <a:endParaRPr lang="en-US" sz="2000">
              <a:latin typeface="DM Sans"/>
            </a:endParaRPr>
          </a:p>
          <a:p>
            <a:endParaRPr lang="en-US" sz="2000" b="1">
              <a:latin typeface="DM Sans"/>
            </a:endParaRPr>
          </a:p>
          <a:p>
            <a:pPr algn="ctr"/>
            <a:endParaRPr lang="en-US" sz="2000">
              <a:latin typeface="DM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73A8C6-52D1-11D4-59A8-0FBCB6A3D553}"/>
              </a:ext>
            </a:extLst>
          </p:cNvPr>
          <p:cNvSpPr txBox="1"/>
          <p:nvPr/>
        </p:nvSpPr>
        <p:spPr>
          <a:xfrm>
            <a:off x="326571" y="5467268"/>
            <a:ext cx="11255829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latin typeface="DM Sans"/>
              </a:rPr>
              <a:t>For hospitals that have not received a QI Excellence Award, exit interviews will be conducted at the end of the initiative period. </a:t>
            </a:r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CC7A5E-B8AC-EDEB-BB79-663FF2E4B558}"/>
              </a:ext>
            </a:extLst>
          </p:cNvPr>
          <p:cNvSpPr txBox="1"/>
          <p:nvPr/>
        </p:nvSpPr>
        <p:spPr>
          <a:xfrm>
            <a:off x="609599" y="2310409"/>
            <a:ext cx="4985658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 dirty="0">
              <a:latin typeface="DM Sans"/>
            </a:endParaRPr>
          </a:p>
          <a:p>
            <a:r>
              <a:rPr lang="en-US" sz="2000" b="1" dirty="0">
                <a:latin typeface="DM Sans"/>
              </a:rPr>
              <a:t>Q3 (Jul–Sep):</a:t>
            </a:r>
            <a:r>
              <a:rPr lang="en-US" sz="2000" dirty="0">
                <a:latin typeface="DM Sans"/>
              </a:rPr>
              <a:t> Complete audits in </a:t>
            </a:r>
            <a:r>
              <a:rPr lang="en-US" sz="2000" b="1" dirty="0">
                <a:latin typeface="DM Sans"/>
              </a:rPr>
              <a:t>September</a:t>
            </a:r>
          </a:p>
          <a:p>
            <a:r>
              <a:rPr lang="en-US" sz="2000" b="1" dirty="0">
                <a:latin typeface="DM Sans"/>
              </a:rPr>
              <a:t>Q4 (Oct–Dec):</a:t>
            </a:r>
            <a:r>
              <a:rPr lang="en-US" sz="2000" dirty="0">
                <a:latin typeface="DM Sans"/>
              </a:rPr>
              <a:t> Complete audits in </a:t>
            </a:r>
            <a:r>
              <a:rPr lang="en-US" sz="2000" b="1" dirty="0">
                <a:latin typeface="DM Sans"/>
              </a:rPr>
              <a:t>December</a:t>
            </a:r>
          </a:p>
          <a:p>
            <a:pPr algn="ctr"/>
            <a:endParaRPr lang="en-US" sz="2000" dirty="0">
              <a:latin typeface="DM Sa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30552E-A795-5D5D-D714-5CA66A321454}"/>
              </a:ext>
            </a:extLst>
          </p:cNvPr>
          <p:cNvSpPr txBox="1"/>
          <p:nvPr/>
        </p:nvSpPr>
        <p:spPr>
          <a:xfrm>
            <a:off x="420912" y="1911265"/>
            <a:ext cx="4985658" cy="4770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500" b="1">
                <a:latin typeface="DM Sans"/>
              </a:rPr>
              <a:t>202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8AAC13-89EF-C378-07FA-2F5A68C16D6B}"/>
              </a:ext>
            </a:extLst>
          </p:cNvPr>
          <p:cNvSpPr txBox="1"/>
          <p:nvPr/>
        </p:nvSpPr>
        <p:spPr>
          <a:xfrm>
            <a:off x="6095998" y="1911265"/>
            <a:ext cx="4985658" cy="4770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500" b="1">
                <a:latin typeface="DM Sans"/>
              </a:rPr>
              <a:t>2027</a:t>
            </a:r>
          </a:p>
        </p:txBody>
      </p:sp>
    </p:spTree>
    <p:extLst>
      <p:ext uri="{BB962C8B-B14F-4D97-AF65-F5344CB8AC3E}">
        <p14:creationId xmlns:p14="http://schemas.microsoft.com/office/powerpoint/2010/main" val="40576174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FDA84-F5D0-2676-93C8-6023449C7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Pillars of ESSI Sustain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D3EF3F-320B-F7D6-535B-B25BEE564E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3200" dirty="0">
                <a:latin typeface="DM Sans"/>
              </a:rPr>
              <a:t>Monitoring Measures</a:t>
            </a:r>
          </a:p>
          <a:p>
            <a:pPr lvl="1"/>
            <a:r>
              <a:rPr lang="en-US" sz="3200" dirty="0">
                <a:latin typeface="DM Sans"/>
              </a:rPr>
              <a:t>Ongoing Education</a:t>
            </a:r>
          </a:p>
          <a:p>
            <a:pPr lvl="1"/>
            <a:r>
              <a:rPr lang="en-US" sz="3200" dirty="0">
                <a:latin typeface="DM Sans"/>
              </a:rPr>
              <a:t>Leadership Engagement</a:t>
            </a:r>
          </a:p>
          <a:p>
            <a:pPr lvl="1"/>
            <a:r>
              <a:rPr lang="en-US" sz="3200" dirty="0">
                <a:latin typeface="DM Sans"/>
              </a:rPr>
              <a:t>Sustained System-level Changes</a:t>
            </a:r>
          </a:p>
          <a:p>
            <a:pPr lvl="1"/>
            <a:r>
              <a:rPr lang="en-US" sz="3200" dirty="0">
                <a:latin typeface="DM Sans"/>
              </a:rPr>
              <a:t>Sustained Patient/Community Engagement</a:t>
            </a:r>
            <a:endParaRPr lang="en-US" sz="3200" dirty="0">
              <a:ea typeface="Calibri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570E00-6DA8-586D-EA79-F8384C5ED5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0F261B-23E3-2B4C-58D3-A8B0075EF5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201859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CF0A6E-127E-4541-2CAE-5E6CCBAE3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63E82C2-7244-DBA7-ECCB-26698FDCB126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F816B-0CDD-64CF-5D8D-FCF6FBD329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1DAA55B-85A6-2D63-D5AE-651B4CFDB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 dirty="0">
                <a:latin typeface="DM Sans"/>
                <a:ea typeface="Lato Medium"/>
                <a:cs typeface="Lato Medium"/>
              </a:rPr>
              <a:t>Sustainability Form – Complete by August 31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B9DF457-1005-BD18-1A46-C0D699CF2D13}"/>
              </a:ext>
            </a:extLst>
          </p:cNvPr>
          <p:cNvSpPr txBox="1">
            <a:spLocks/>
          </p:cNvSpPr>
          <p:nvPr/>
        </p:nvSpPr>
        <p:spPr>
          <a:xfrm>
            <a:off x="596462" y="1324305"/>
            <a:ext cx="5546837" cy="52222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2" name="Picture 1" descr="A screenshot of a document&#10;&#10;AI-generated content may be incorrect.">
            <a:extLst>
              <a:ext uri="{FF2B5EF4-FFF2-40B4-BE49-F238E27FC236}">
                <a16:creationId xmlns:a16="http://schemas.microsoft.com/office/drawing/2014/main" id="{29B7294A-3AEA-5288-D31C-6AB89AB8FE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52" r="641" b="62333"/>
          <a:stretch>
            <a:fillRect/>
          </a:stretch>
        </p:blipFill>
        <p:spPr>
          <a:xfrm>
            <a:off x="930164" y="1312863"/>
            <a:ext cx="10331671" cy="464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6672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FC3EA-6D5D-8E0C-25F8-CF6457DEB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41AB93-FA85-74A3-7EEC-36F170EFC650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9BC8FC-798B-7017-6562-590AA8D89D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287C6D1-897F-169B-686C-E57B7148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Monitoring &amp; Accountability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9026BD-12E9-E9F3-9090-EE19265BB0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601" y="1475036"/>
            <a:ext cx="10972800" cy="4525963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defRPr sz="1584"/>
            </a:pPr>
            <a:r>
              <a:rPr sz="2800" dirty="0"/>
              <a:t>Quarterly and real-time audits</a:t>
            </a:r>
            <a:endParaRPr lang="en-US" sz="2800" dirty="0"/>
          </a:p>
          <a:p>
            <a:pPr>
              <a:defRPr sz="1584"/>
            </a:pPr>
            <a:r>
              <a:rPr sz="2800" dirty="0"/>
              <a:t>EPIC audit reports and chart reviews</a:t>
            </a:r>
          </a:p>
          <a:p>
            <a:pPr>
              <a:defRPr sz="1584"/>
            </a:pPr>
            <a:r>
              <a:rPr sz="2800" dirty="0"/>
              <a:t>Use dashboards and shared metrics</a:t>
            </a:r>
          </a:p>
          <a:p>
            <a:pPr>
              <a:defRPr sz="1584"/>
            </a:pPr>
            <a:r>
              <a:rPr sz="2800" dirty="0"/>
              <a:t>Create transparent accountability systems</a:t>
            </a:r>
          </a:p>
          <a:p>
            <a:pPr>
              <a:defRPr sz="1584"/>
            </a:pPr>
            <a:r>
              <a:rPr sz="2800" dirty="0"/>
              <a:t>Use data for coaching and improvement</a:t>
            </a:r>
          </a:p>
        </p:txBody>
      </p:sp>
      <p:pic>
        <p:nvPicPr>
          <p:cNvPr id="5" name="Picture 4" descr="A screenshot of a document&#10;&#10;AI-generated content may be incorrect.">
            <a:extLst>
              <a:ext uri="{FF2B5EF4-FFF2-40B4-BE49-F238E27FC236}">
                <a16:creationId xmlns:a16="http://schemas.microsoft.com/office/drawing/2014/main" id="{93C1D2C9-1B35-AFAF-C81B-15C87CEFB1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7919" y="208867"/>
            <a:ext cx="5296781" cy="68842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6375199-2BDF-A222-F7CC-8B1DCC076E18}"/>
              </a:ext>
            </a:extLst>
          </p:cNvPr>
          <p:cNvSpPr/>
          <p:nvPr/>
        </p:nvSpPr>
        <p:spPr>
          <a:xfrm>
            <a:off x="7167787" y="2579666"/>
            <a:ext cx="4975071" cy="340884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230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4" name="Google Shape;20944;g3681a448973_2_12907"/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800"/>
              <a:buFont typeface="DM Sans"/>
              <a:buNone/>
            </a:pPr>
            <a:r>
              <a:rPr lang="en-US" sz="4800">
                <a:latin typeface="DM Sans"/>
                <a:ea typeface="DM Sans"/>
                <a:cs typeface="DM Sans"/>
                <a:sym typeface="DM Sans"/>
              </a:rPr>
              <a:t>Overview</a:t>
            </a:r>
            <a:endParaRPr/>
          </a:p>
        </p:txBody>
      </p:sp>
      <p:sp>
        <p:nvSpPr>
          <p:cNvPr id="20945" name="Google Shape;20945;g3681a448973_2_12907"/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46" name="Google Shape;20946;g3681a448973_2_12907"/>
          <p:cNvSpPr txBox="1"/>
          <p:nvPr/>
        </p:nvSpPr>
        <p:spPr>
          <a:xfrm>
            <a:off x="613411" y="1599520"/>
            <a:ext cx="10972800" cy="48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rgbClr val="444C55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47" name="Google Shape;20947;g3681a448973_2_12907"/>
          <p:cNvSpPr txBox="1"/>
          <p:nvPr/>
        </p:nvSpPr>
        <p:spPr>
          <a:xfrm>
            <a:off x="765831" y="1599520"/>
            <a:ext cx="10660200" cy="411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457200" indent="-393700">
              <a:buClr>
                <a:schemeClr val="accent1"/>
              </a:buClr>
              <a:buSzPts val="2600"/>
              <a:buFont typeface="DM Sans"/>
              <a:buChar char="•"/>
            </a:pPr>
            <a:r>
              <a:rPr lang="en-US" sz="260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ESSI Sustainability Plan</a:t>
            </a:r>
            <a:endParaRPr lang="en-US" sz="2600" i="0" u="none" strike="noStrike" cap="none">
              <a:solidFill>
                <a:schemeClr val="accent1"/>
              </a:solidFill>
              <a:latin typeface="DM Sans"/>
              <a:ea typeface="DM Sans"/>
              <a:cs typeface="DM Sans"/>
            </a:endParaRPr>
          </a:p>
          <a:p>
            <a:pPr marL="457200" indent="-393700">
              <a:buClr>
                <a:schemeClr val="accent1"/>
              </a:buClr>
              <a:buSzPts val="2600"/>
              <a:buFont typeface="DM Sans"/>
              <a:buChar char="•"/>
            </a:pPr>
            <a:r>
              <a:rPr lang="en-US" sz="260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ESSI Sustainability Data Form</a:t>
            </a:r>
            <a:endParaRPr lang="en-US" sz="2600">
              <a:solidFill>
                <a:schemeClr val="accent1"/>
              </a:solidFill>
              <a:latin typeface="DM Sans"/>
              <a:ea typeface="DM Sans"/>
              <a:cs typeface="DM Sans"/>
            </a:endParaRPr>
          </a:p>
          <a:p>
            <a:pPr marL="457200" indent="-393700">
              <a:buClr>
                <a:schemeClr val="accent1"/>
              </a:buClr>
              <a:buSzPts val="2600"/>
              <a:buFont typeface="DM Sans"/>
              <a:buChar char="•"/>
            </a:pPr>
            <a:r>
              <a:rPr lang="en-US" sz="260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Recommended Sustainability Priorities</a:t>
            </a:r>
          </a:p>
          <a:p>
            <a:pPr marL="457200" indent="-393700">
              <a:buClr>
                <a:schemeClr val="accent1"/>
              </a:buClr>
              <a:buSzPts val="2600"/>
              <a:buFont typeface="DM Sans"/>
              <a:buChar char="•"/>
            </a:pPr>
            <a:r>
              <a:rPr lang="en-US" sz="260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ILPQC's Vision</a:t>
            </a:r>
            <a:endParaRPr lang="en-US" sz="2600">
              <a:solidFill>
                <a:schemeClr val="accent1"/>
              </a:solidFill>
              <a:latin typeface="DM Sans"/>
              <a:ea typeface="DM Sans"/>
              <a:cs typeface="DM Sans"/>
            </a:endParaRPr>
          </a:p>
          <a:p>
            <a:pPr marL="457200" marR="0" lvl="0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00"/>
              <a:buFont typeface="DM Sans"/>
              <a:buChar char="•"/>
            </a:pPr>
            <a:r>
              <a:rPr lang="en-US" sz="2600" i="0" u="none" strike="noStrike" cap="none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Upcoming Events and Opportunities </a:t>
            </a:r>
            <a:endParaRPr sz="2600" i="0" u="none" strike="noStrike" cap="none">
              <a:solidFill>
                <a:schemeClr val="accent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600" i="0" u="none" strike="noStrike" cap="none">
              <a:solidFill>
                <a:schemeClr val="accent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C3F223-E9DF-5A26-F8D9-C75D8867A8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BB6273-DC7D-6D42-2AB7-D11EA3869680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C224B-9D0E-A121-F848-8447F79F85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21E27A-D98C-B1E7-7181-F7481AEB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Staff Education &amp; Support</a:t>
            </a:r>
            <a:endParaRPr lang="en-US">
              <a:latin typeface="DM San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8FE97C-B155-55BF-1FC6-866631F03751}"/>
              </a:ext>
            </a:extLst>
          </p:cNvPr>
          <p:cNvSpPr txBox="1">
            <a:spLocks/>
          </p:cNvSpPr>
          <p:nvPr/>
        </p:nvSpPr>
        <p:spPr>
          <a:xfrm>
            <a:off x="780393" y="1665891"/>
            <a:ext cx="9864128" cy="45259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1584"/>
            </a:pPr>
            <a:r>
              <a:rPr lang="en-US" sz="2800" dirty="0">
                <a:latin typeface="DM Sans"/>
                <a:ea typeface="Lato"/>
                <a:cs typeface="Lato"/>
              </a:rPr>
              <a:t>Mandatory staff education</a:t>
            </a:r>
          </a:p>
          <a:p>
            <a:pPr>
              <a:defRPr sz="1584"/>
            </a:pPr>
            <a:r>
              <a:rPr lang="en-US" sz="2800" dirty="0">
                <a:latin typeface="DM Sans"/>
                <a:ea typeface="Lato"/>
                <a:cs typeface="Lato"/>
              </a:rPr>
              <a:t>Reinforcement through safety huddles and staff meetings</a:t>
            </a:r>
          </a:p>
          <a:p>
            <a:pPr>
              <a:defRPr sz="1584"/>
            </a:pPr>
            <a:r>
              <a:rPr lang="en-US" sz="2800" dirty="0">
                <a:latin typeface="DM Sans"/>
                <a:ea typeface="Lato"/>
                <a:cs typeface="Lato"/>
              </a:rPr>
              <a:t>Real-time audits and feedback loops</a:t>
            </a:r>
          </a:p>
          <a:p>
            <a:pPr>
              <a:defRPr sz="1584"/>
            </a:pPr>
            <a:r>
              <a:rPr lang="en-US" sz="2800" dirty="0">
                <a:latin typeface="DM Sans"/>
                <a:ea typeface="Lato"/>
                <a:cs typeface="Lato"/>
              </a:rPr>
              <a:t>Resource binders and standardized scripting</a:t>
            </a:r>
          </a:p>
          <a:p>
            <a:pPr>
              <a:defRPr sz="1584"/>
            </a:pPr>
            <a:r>
              <a:rPr lang="en-US" sz="2800" dirty="0">
                <a:latin typeface="DM Sans"/>
                <a:ea typeface="Lato"/>
                <a:cs typeface="Lato"/>
              </a:rPr>
              <a:t>Staff input on workflows and barriers</a:t>
            </a:r>
          </a:p>
        </p:txBody>
      </p:sp>
    </p:spTree>
    <p:extLst>
      <p:ext uri="{BB962C8B-B14F-4D97-AF65-F5344CB8AC3E}">
        <p14:creationId xmlns:p14="http://schemas.microsoft.com/office/powerpoint/2010/main" val="1441239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89EBFD-AF7B-F612-B349-1FA298A793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E202D-C398-2EF2-543D-585F81559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A questionnaire with many questions&#10;&#10;AI-generated content may be incorrect.">
            <a:extLst>
              <a:ext uri="{FF2B5EF4-FFF2-40B4-BE49-F238E27FC236}">
                <a16:creationId xmlns:a16="http://schemas.microsoft.com/office/drawing/2014/main" id="{3E3B8B0C-4759-AFDC-628E-7C18C70A65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129" t="857" r="4182"/>
          <a:stretch>
            <a:fillRect/>
          </a:stretch>
        </p:blipFill>
        <p:spPr>
          <a:xfrm>
            <a:off x="-48905" y="254296"/>
            <a:ext cx="6139583" cy="6275260"/>
          </a:xfrm>
          <a:prstGeom prst="rect">
            <a:avLst/>
          </a:prstGeom>
        </p:spPr>
      </p:pic>
      <p:pic>
        <p:nvPicPr>
          <p:cNvPr id="8" name="Picture 7" descr="A white and black questionnaire&#10;&#10;AI-generated content may be incorrect.">
            <a:extLst>
              <a:ext uri="{FF2B5EF4-FFF2-40B4-BE49-F238E27FC236}">
                <a16:creationId xmlns:a16="http://schemas.microsoft.com/office/drawing/2014/main" id="{8A2E4928-DAAB-F10D-01AE-D82CB07041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69" t="-668" r="4280" b="-258"/>
          <a:stretch>
            <a:fillRect/>
          </a:stretch>
        </p:blipFill>
        <p:spPr>
          <a:xfrm>
            <a:off x="6047003" y="174576"/>
            <a:ext cx="6148561" cy="635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32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5C932-E17D-12A3-6A29-3AAD70C1D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431154-F77F-39B8-B1B1-D3A73A28B545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B81ACA-E4CD-3AA8-D642-FE9F37CD4C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AEE6F67-8DA4-C008-008E-B3EF709B0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Workflow Integration</a:t>
            </a:r>
            <a:endParaRPr lang="en-US">
              <a:latin typeface="DM San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F25C8A4-7295-A8A4-A3EA-10960505CCDD}"/>
              </a:ext>
            </a:extLst>
          </p:cNvPr>
          <p:cNvSpPr txBox="1">
            <a:spLocks/>
          </p:cNvSpPr>
          <p:nvPr/>
        </p:nvSpPr>
        <p:spPr>
          <a:xfrm>
            <a:off x="299915" y="1506482"/>
            <a:ext cx="5796085" cy="45136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1584"/>
            </a:pPr>
            <a:r>
              <a:rPr lang="en-US" sz="2800" dirty="0">
                <a:solidFill>
                  <a:srgbClr val="444C55"/>
                </a:solidFill>
                <a:latin typeface="DM Sans"/>
                <a:ea typeface="Lato"/>
                <a:cs typeface="Lato"/>
              </a:rPr>
              <a:t>Embed ESSI into daily rounds and postpartum workflows</a:t>
            </a:r>
          </a:p>
          <a:p>
            <a:pPr>
              <a:defRPr sz="1584"/>
            </a:pPr>
            <a:r>
              <a:rPr lang="en-US" sz="2800" dirty="0">
                <a:solidFill>
                  <a:srgbClr val="444C55"/>
                </a:solidFill>
                <a:latin typeface="DM Sans"/>
                <a:ea typeface="Lato"/>
                <a:cs typeface="Lato"/>
              </a:rPr>
              <a:t>Reinforce education across prenatal, inpatient, postpartum, and outpatient settings</a:t>
            </a:r>
          </a:p>
          <a:p>
            <a:pPr>
              <a:defRPr sz="1584"/>
            </a:pPr>
            <a:r>
              <a:rPr lang="en-US" sz="2800" dirty="0">
                <a:solidFill>
                  <a:srgbClr val="444C55"/>
                </a:solidFill>
                <a:latin typeface="DM Sans"/>
                <a:ea typeface="Lato"/>
                <a:cs typeface="Lato"/>
              </a:rPr>
              <a:t>Use standardized scripting and workflows</a:t>
            </a:r>
          </a:p>
          <a:p>
            <a:pPr>
              <a:defRPr sz="1584"/>
            </a:pPr>
            <a:r>
              <a:rPr lang="en-US" sz="2800" dirty="0">
                <a:solidFill>
                  <a:srgbClr val="444C55"/>
                </a:solidFill>
                <a:latin typeface="DM Sans"/>
                <a:ea typeface="Lato"/>
                <a:cs typeface="Lato"/>
              </a:rPr>
              <a:t>Integrate ESSI into routine clinical care</a:t>
            </a:r>
            <a:endParaRPr lang="en-US" sz="2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BA6ADA3-9A58-85CA-C948-0D640339AEF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75" t="770" r="431" b="53002"/>
          <a:stretch>
            <a:fillRect/>
          </a:stretch>
        </p:blipFill>
        <p:spPr>
          <a:xfrm>
            <a:off x="5619363" y="469771"/>
            <a:ext cx="6438359" cy="29633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36737C-CBF9-FAEB-EFA8-23608BB2C67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3340" r="190" b="-1084"/>
          <a:stretch>
            <a:fillRect/>
          </a:stretch>
        </p:blipFill>
        <p:spPr>
          <a:xfrm>
            <a:off x="5624820" y="3603676"/>
            <a:ext cx="6436147" cy="2419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365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262FE-B2EF-E044-E59E-1DD392102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E404239-9ABB-4450-29B2-097ABAC04364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D44AC9-F5A2-5B9D-763D-F4F63FBC2A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E7671DB-C877-DF8A-5947-2520A27BF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EMR Integration Challenges</a:t>
            </a:r>
            <a:endParaRPr lang="en-US">
              <a:latin typeface="DM San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BF3898E-3A3E-4539-24E0-6D22161DE369}"/>
              </a:ext>
            </a:extLst>
          </p:cNvPr>
          <p:cNvSpPr txBox="1">
            <a:spLocks/>
          </p:cNvSpPr>
          <p:nvPr/>
        </p:nvSpPr>
        <p:spPr>
          <a:xfrm>
            <a:off x="780393" y="166589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1584"/>
            </a:pPr>
            <a:r>
              <a:rPr lang="en-US" sz="1800">
                <a:latin typeface="DM Sans"/>
              </a:rPr>
              <a:t>Difficulty building EMR bundles</a:t>
            </a:r>
          </a:p>
          <a:p>
            <a:pPr>
              <a:defRPr sz="1584"/>
            </a:pPr>
            <a:r>
              <a:rPr lang="en-US" sz="1800">
                <a:latin typeface="DM Sans"/>
              </a:rPr>
              <a:t>Variability across EMR systems</a:t>
            </a:r>
          </a:p>
          <a:p>
            <a:pPr>
              <a:defRPr sz="1584"/>
            </a:pPr>
            <a:r>
              <a:rPr lang="en-US" sz="1800">
                <a:latin typeface="DM Sans"/>
              </a:rPr>
              <a:t>Reliance on manual forms and workarounds</a:t>
            </a:r>
          </a:p>
          <a:p>
            <a:pPr>
              <a:defRPr sz="1584"/>
            </a:pPr>
            <a:r>
              <a:rPr lang="en-US" sz="1800">
                <a:latin typeface="DM Sans"/>
              </a:rPr>
              <a:t>Need for scalable documentation and audit tools</a:t>
            </a:r>
          </a:p>
          <a:p>
            <a:pPr>
              <a:defRPr sz="1584"/>
            </a:pPr>
            <a:r>
              <a:rPr lang="en-US" sz="1800">
                <a:latin typeface="DM Sans"/>
                <a:ea typeface="Lato"/>
                <a:cs typeface="Lato"/>
              </a:rPr>
              <a:t>Prioritize feasible low-burden workflows</a:t>
            </a:r>
            <a:endParaRPr lang="en-US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038926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A96CE4-BB2D-862B-A3A5-35E223F67F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BB1FA5-FE00-4456-2F2B-2741B15BA8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A screenshot of a questionnaire&#10;&#10;AI-generated content may be incorrect.">
            <a:extLst>
              <a:ext uri="{FF2B5EF4-FFF2-40B4-BE49-F238E27FC236}">
                <a16:creationId xmlns:a16="http://schemas.microsoft.com/office/drawing/2014/main" id="{3A8CD69A-7A9D-950D-56F4-1F247AD70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15" y="511062"/>
            <a:ext cx="6772603" cy="5451912"/>
          </a:xfrm>
          <a:prstGeom prst="rect">
            <a:avLst/>
          </a:prstGeom>
        </p:spPr>
      </p:pic>
      <p:pic>
        <p:nvPicPr>
          <p:cNvPr id="9" name="Picture 8" descr="A screenshot of a white and black text&#10;&#10;AI-generated content may be incorrect.">
            <a:extLst>
              <a:ext uri="{FF2B5EF4-FFF2-40B4-BE49-F238E27FC236}">
                <a16:creationId xmlns:a16="http://schemas.microsoft.com/office/drawing/2014/main" id="{4169ED44-89A5-6F6D-96AC-07210DD14E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686" y="3428592"/>
            <a:ext cx="5704819" cy="266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841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AA5BC-B326-7375-E239-BFE1D34CE8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CD9DC17-83B6-731D-EB94-B20A65ED5005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9FD2A3-5A07-83DC-5136-D79CDAC872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EE3B70-2CAF-023E-1DD3-7098CCB3B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15" y="-144681"/>
            <a:ext cx="10972800" cy="1325563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Community Partnership &amp; Equity</a:t>
            </a: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A0659CE-C6C9-3EB5-4DA4-7F8EBEADA7D8}"/>
              </a:ext>
            </a:extLst>
          </p:cNvPr>
          <p:cNvSpPr txBox="1">
            <a:spLocks/>
          </p:cNvSpPr>
          <p:nvPr/>
        </p:nvSpPr>
        <p:spPr>
          <a:xfrm>
            <a:off x="780393" y="1665891"/>
            <a:ext cx="5479026" cy="45259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1584"/>
            </a:pPr>
            <a:r>
              <a:rPr lang="en-US" sz="1800">
                <a:solidFill>
                  <a:srgbClr val="444C55"/>
                </a:solidFill>
                <a:latin typeface="DM Sans"/>
                <a:ea typeface="Lato"/>
                <a:cs typeface="Lato"/>
              </a:rPr>
              <a:t>Expand engagement beyond hospital walls</a:t>
            </a:r>
          </a:p>
          <a:p>
            <a:pPr>
              <a:defRPr sz="1584"/>
            </a:pPr>
            <a:r>
              <a:rPr lang="en-US" sz="1800">
                <a:solidFill>
                  <a:srgbClr val="444C55"/>
                </a:solidFill>
                <a:latin typeface="DM Sans"/>
                <a:ea typeface="Calibri"/>
                <a:cs typeface="Calibri"/>
              </a:rPr>
              <a:t>Partner with church groups, mom groups, and community organizations</a:t>
            </a:r>
          </a:p>
          <a:p>
            <a:pPr>
              <a:defRPr sz="1584"/>
            </a:pPr>
            <a:r>
              <a:rPr lang="en-US" sz="1800">
                <a:solidFill>
                  <a:srgbClr val="444C55"/>
                </a:solidFill>
                <a:latin typeface="DM Sans"/>
                <a:ea typeface="Calibri"/>
                <a:cs typeface="Calibri"/>
              </a:rPr>
              <a:t>Address parent partner burnout</a:t>
            </a:r>
          </a:p>
          <a:p>
            <a:pPr>
              <a:defRPr sz="1584"/>
            </a:pPr>
            <a:r>
              <a:rPr lang="en-US" sz="1800">
                <a:solidFill>
                  <a:srgbClr val="444C55"/>
                </a:solidFill>
                <a:latin typeface="DM Sans"/>
                <a:ea typeface="Calibri"/>
                <a:cs typeface="Calibri"/>
              </a:rPr>
              <a:t>Maintain strong SDOH focus</a:t>
            </a:r>
          </a:p>
          <a:p>
            <a:pPr>
              <a:defRPr sz="1584"/>
            </a:pPr>
            <a:r>
              <a:rPr lang="en-US" sz="1800">
                <a:solidFill>
                  <a:srgbClr val="444C55"/>
                </a:solidFill>
                <a:latin typeface="DM Sans"/>
                <a:ea typeface="Calibri"/>
                <a:cs typeface="Calibri"/>
              </a:rPr>
              <a:t>Support longitudinal family resource connection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57D442-35F4-F9F0-B88E-BD2F54322B7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84" t="84883" r="-195" b="103"/>
          <a:stretch>
            <a:fillRect/>
          </a:stretch>
        </p:blipFill>
        <p:spPr>
          <a:xfrm>
            <a:off x="5950018" y="5196391"/>
            <a:ext cx="6243176" cy="9953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FB3752-535B-97FB-E6ED-EDA3793D64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095" t="-1150" r="-195" b="33581"/>
          <a:stretch>
            <a:fillRect/>
          </a:stretch>
        </p:blipFill>
        <p:spPr>
          <a:xfrm>
            <a:off x="5950087" y="826376"/>
            <a:ext cx="6248795" cy="4479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76">
          <a:extLst>
            <a:ext uri="{FF2B5EF4-FFF2-40B4-BE49-F238E27FC236}">
              <a16:creationId xmlns:a16="http://schemas.microsoft.com/office/drawing/2014/main" id="{01A6D0BA-6F1A-E537-B610-2860C4A57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7" name="Google Shape;20977;g3681a448973_2_12940">
            <a:extLst>
              <a:ext uri="{FF2B5EF4-FFF2-40B4-BE49-F238E27FC236}">
                <a16:creationId xmlns:a16="http://schemas.microsoft.com/office/drawing/2014/main" id="{3EBEED99-0987-B4A0-DA8D-F33B56922E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99403" y="1867233"/>
            <a:ext cx="103932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SzPts val="3600"/>
              <a:buFont typeface="DM Sans"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Recommended Sustainability Priorities</a:t>
            </a:r>
            <a:endParaRPr lang="en-US">
              <a:latin typeface="DM Sans"/>
            </a:endParaRPr>
          </a:p>
        </p:txBody>
      </p:sp>
      <p:sp>
        <p:nvSpPr>
          <p:cNvPr id="20978" name="Google Shape;20978;g3681a448973_2_12940">
            <a:extLst>
              <a:ext uri="{FF2B5EF4-FFF2-40B4-BE49-F238E27FC236}">
                <a16:creationId xmlns:a16="http://schemas.microsoft.com/office/drawing/2014/main" id="{9E022D10-4C9E-6FAF-3BC4-C1C0C1FB7EAD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26</a:t>
            </a:fld>
            <a:endParaRPr sz="1200" b="0" i="0" u="none" strike="noStrike" cap="none">
              <a:solidFill>
                <a:srgbClr val="91949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79" name="Google Shape;20979;g3681a448973_2_12940">
            <a:extLst>
              <a:ext uri="{FF2B5EF4-FFF2-40B4-BE49-F238E27FC236}">
                <a16:creationId xmlns:a16="http://schemas.microsoft.com/office/drawing/2014/main" id="{D15BE249-CAC8-C490-0819-AF9CDFDEDEA3}"/>
              </a:ext>
            </a:extLst>
          </p:cNvPr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872434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43713-D521-92A0-3BC5-C8A631123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8A39159-3166-DD31-05A9-7331461B807E}"/>
              </a:ext>
            </a:extLst>
          </p:cNvPr>
          <p:cNvSpPr/>
          <p:nvPr/>
        </p:nvSpPr>
        <p:spPr>
          <a:xfrm>
            <a:off x="7150100" y="-12700"/>
            <a:ext cx="50546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12A5D5-13E7-1909-8EF8-7F47DBC40F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D5D5412-6E05-0B0A-CEA8-4459D396B2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9707862"/>
              </p:ext>
            </p:extLst>
          </p:nvPr>
        </p:nvGraphicFramePr>
        <p:xfrm>
          <a:off x="814552" y="417786"/>
          <a:ext cx="10562896" cy="6022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131878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39" name="Google Shape;21239;g3681a448973_2_53172"/>
          <p:cNvSpPr txBox="1">
            <a:spLocks noGrp="1"/>
          </p:cNvSpPr>
          <p:nvPr>
            <p:ph type="title"/>
          </p:nvPr>
        </p:nvSpPr>
        <p:spPr>
          <a:xfrm>
            <a:off x="691575" y="1854210"/>
            <a:ext cx="10393200" cy="21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SzPts val="3600"/>
            </a:pPr>
            <a:r>
              <a:rPr lang="en-US" dirty="0">
                <a:latin typeface="DM Sans"/>
                <a:sym typeface="DM Sans"/>
              </a:rPr>
              <a:t>Our Vision for Sustainable Systems</a:t>
            </a:r>
            <a:endParaRPr lang="en-US" dirty="0">
              <a:latin typeface="DM Sans"/>
            </a:endParaRPr>
          </a:p>
        </p:txBody>
      </p:sp>
      <p:sp>
        <p:nvSpPr>
          <p:cNvPr id="21240" name="Google Shape;21240;g3681a448973_2_53172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DM Sans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DM Sans"/>
                <a:ea typeface="DM Sans"/>
                <a:cs typeface="DM Sans"/>
                <a:sym typeface="DM Sans"/>
              </a:rPr>
              <a:t>28</a:t>
            </a:fld>
            <a:endParaRPr sz="1200" b="0" i="0" u="none" strike="noStrike" cap="none">
              <a:solidFill>
                <a:srgbClr val="919497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1241" name="Google Shape;21241;g3681a448973_2_53172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DM Sans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DM Sans"/>
                <a:ea typeface="DM Sans"/>
                <a:cs typeface="DM Sans"/>
                <a:sym typeface="DM Sans"/>
              </a:rPr>
              <a:t>Illinois Perinatal Quality Collaborative</a:t>
            </a:r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399C4-998C-7B71-4861-26CD73881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840281"/>
            <a:ext cx="9212317" cy="485057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DM Sans"/>
                <a:ea typeface="+mn-lt"/>
                <a:cs typeface="+mn-lt"/>
              </a:rPr>
              <a:t>ESSI sustainability means creating systems that continue reliably over time: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What breaks first?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What system, not person, could prevent that?</a:t>
            </a:r>
          </a:p>
          <a:p>
            <a:r>
              <a:rPr lang="en-US">
                <a:latin typeface="DM Sans"/>
                <a:ea typeface="+mn-lt"/>
                <a:cs typeface="+mn-lt"/>
              </a:rPr>
              <a:t>Success depends on: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Monitoring Measures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Ongoing Education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Leadership Engagement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Sustained System-level Changes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1800">
                <a:latin typeface="DM Sans"/>
                <a:ea typeface="+mn-lt"/>
                <a:cs typeface="+mn-lt"/>
              </a:rPr>
              <a:t>Sustained Family and Community Engagement</a:t>
            </a:r>
          </a:p>
          <a:p>
            <a:r>
              <a:rPr lang="en-US">
                <a:latin typeface="DM Sans"/>
                <a:ea typeface="+mn-lt"/>
                <a:cs typeface="+mn-lt"/>
              </a:rPr>
              <a:t>Building lasting systems change across the continuum of care</a:t>
            </a:r>
            <a:endParaRPr lang="en-US" sz="2000">
              <a:latin typeface="DM Sans"/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DBDC70-29EE-0B34-838B-4A56FC2343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>
                <a:latin typeface="DM Sans"/>
              </a:rPr>
              <a:pPr/>
              <a:t>29</a:t>
            </a:fld>
            <a:endParaRPr lang="en-US">
              <a:latin typeface="DM San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9A1442-430E-EB65-E2E1-6A95F1217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7516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60" name="Google Shape;20960;g3681a448973_2_12915"/>
          <p:cNvSpPr txBox="1">
            <a:spLocks noGrp="1"/>
          </p:cNvSpPr>
          <p:nvPr>
            <p:ph type="title"/>
          </p:nvPr>
        </p:nvSpPr>
        <p:spPr>
          <a:xfrm>
            <a:off x="899403" y="1870364"/>
            <a:ext cx="10393200" cy="10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DM Sans"/>
              <a:buNone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Attendance Poll</a:t>
            </a:r>
            <a:endParaRPr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61" name="Google Shape;20961;g3681a448973_2_12915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DM Sans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DM Sans"/>
                <a:ea typeface="DM Sans"/>
                <a:cs typeface="DM Sans"/>
                <a:sym typeface="DM Sans"/>
              </a:rPr>
              <a:t>3</a:t>
            </a:fld>
            <a:endParaRPr sz="1200" b="0" i="0" u="none" strike="noStrike" cap="none">
              <a:solidFill>
                <a:srgbClr val="919497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62" name="Google Shape;20962;g3681a448973_2_12915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DM Sans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DM Sans"/>
                <a:ea typeface="DM Sans"/>
                <a:cs typeface="DM Sans"/>
                <a:sym typeface="DM Sans"/>
              </a:rPr>
              <a:t>Illinois Perinatal Quality Collaborative</a:t>
            </a:r>
            <a:endParaRPr/>
          </a:p>
        </p:txBody>
      </p:sp>
      <p:sp>
        <p:nvSpPr>
          <p:cNvPr id="20963" name="Google Shape;20963;g3681a448973_2_12915"/>
          <p:cNvSpPr txBox="1"/>
          <p:nvPr/>
        </p:nvSpPr>
        <p:spPr>
          <a:xfrm>
            <a:off x="901260" y="3646752"/>
            <a:ext cx="11047606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444C55"/>
              </a:buClr>
              <a:buSzPts val="2200"/>
            </a:pPr>
            <a:r>
              <a:rPr lang="en-US" sz="2200" b="0" i="1" u="none" strike="noStrike" cap="none" dirty="0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Please fill out the poll so that we can track hospital team attendance for ESSI Webinars. If unable to complete poll, </a:t>
            </a:r>
            <a:r>
              <a:rPr lang="en-US" sz="2200" b="0" i="1" u="none" strike="noStrike" cap="none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please</a:t>
            </a:r>
            <a:r>
              <a:rPr lang="en-US" sz="2200" i="1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 </a:t>
            </a:r>
            <a:r>
              <a:rPr lang="en-US" sz="2200" b="0" i="1" u="none" strike="noStrike" cap="none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email</a:t>
            </a:r>
            <a:r>
              <a:rPr lang="en-US" sz="2200" i="1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 </a:t>
            </a:r>
            <a:r>
              <a:rPr lang="en-US" sz="2200" i="1">
                <a:solidFill>
                  <a:srgbClr val="444C55"/>
                </a:solidFill>
                <a:latin typeface="DM Sans"/>
                <a:ea typeface="DM Sans"/>
                <a:sym typeface="DM Sans"/>
              </a:rPr>
              <a:t>linda.okelley@endeavorhealth.</a:t>
            </a:r>
            <a:r>
              <a:rPr lang="en-US" sz="2200" i="1">
                <a:solidFill>
                  <a:srgbClr val="444C55"/>
                </a:solidFill>
                <a:latin typeface="DM Sans"/>
                <a:ea typeface="DM Sans"/>
                <a:cs typeface="DM Sans"/>
                <a:sym typeface="DM Sans"/>
              </a:rPr>
              <a:t>org</a:t>
            </a:r>
            <a:endParaRPr sz="2200" b="0" i="1" u="none" strike="noStrike" cap="none">
              <a:solidFill>
                <a:srgbClr val="444C55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83" name="Google Shape;21383;p3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DM Sans"/>
              <a:buNone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Upcoming Events and Opportunities</a:t>
            </a:r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FE"/>
        </a:solidFill>
        <a:effectLst/>
      </p:bgPr>
    </p:bg>
    <p:spTree>
      <p:nvGrpSpPr>
        <p:cNvPr id="1" name="Shape 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8" name="Google Shape;6048;p5"/>
          <p:cNvSpPr txBox="1"/>
          <p:nvPr/>
        </p:nvSpPr>
        <p:spPr>
          <a:xfrm>
            <a:off x="1383494" y="239747"/>
            <a:ext cx="10808506" cy="757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lnSpc>
                <a:spcPct val="119680"/>
              </a:lnSpc>
              <a:buClr>
                <a:schemeClr val="dk1"/>
              </a:buClr>
              <a:buSzPts val="5000"/>
              <a:buFont typeface="Arial"/>
            </a:pPr>
            <a:r>
              <a:rPr lang="en-US" sz="3600" b="1" i="0" u="none" strike="noStrike" cap="none" dirty="0">
                <a:solidFill>
                  <a:srgbClr val="1F497D"/>
                </a:solidFill>
                <a:latin typeface="Calibri" panose="020F0502020204030204" pitchFamily="34" charset="0"/>
                <a:ea typeface="DM Sans"/>
                <a:cs typeface="Calibri" panose="020F0502020204030204" pitchFamily="34" charset="0"/>
                <a:sym typeface="DM Sans"/>
              </a:rPr>
              <a:t>ESSI </a:t>
            </a:r>
            <a:r>
              <a:rPr lang="en-US" sz="3600" b="1" dirty="0">
                <a:solidFill>
                  <a:srgbClr val="1F497D"/>
                </a:solidFill>
                <a:latin typeface="Calibri" panose="020F0502020204030204" pitchFamily="34" charset="0"/>
                <a:ea typeface="DM Sans"/>
                <a:cs typeface="Calibri" panose="020F0502020204030204" pitchFamily="34" charset="0"/>
                <a:sym typeface="DM Sans"/>
              </a:rPr>
              <a:t>through 2026</a:t>
            </a:r>
            <a:r>
              <a:rPr lang="en-US" sz="3600" b="1" i="0" u="none" strike="noStrike" cap="none" dirty="0">
                <a:solidFill>
                  <a:srgbClr val="1F497D"/>
                </a:solidFill>
                <a:latin typeface="Calibri" panose="020F0502020204030204" pitchFamily="34" charset="0"/>
                <a:ea typeface="DM Sans"/>
                <a:cs typeface="Calibri" panose="020F0502020204030204" pitchFamily="34" charset="0"/>
                <a:sym typeface="DM Sans"/>
              </a:rPr>
              <a:t> </a:t>
            </a:r>
            <a:endParaRPr lang="en-US" sz="3600" b="1" dirty="0">
              <a:solidFill>
                <a:srgbClr val="1F497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050" name="Google Shape;6050;p5"/>
          <p:cNvGraphicFramePr/>
          <p:nvPr>
            <p:extLst>
              <p:ext uri="{D42A27DB-BD31-4B8C-83A1-F6EECF244321}">
                <p14:modId xmlns:p14="http://schemas.microsoft.com/office/powerpoint/2010/main" val="2026227832"/>
              </p:ext>
            </p:extLst>
          </p:nvPr>
        </p:nvGraphicFramePr>
        <p:xfrm>
          <a:off x="719392" y="1603288"/>
          <a:ext cx="8517575" cy="3499703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3044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73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942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>
                          <a:sym typeface="DM Sans"/>
                        </a:rPr>
                        <a:t>Date</a:t>
                      </a:r>
                      <a:endParaRPr sz="2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>
                          <a:sym typeface="DM Sans"/>
                        </a:rPr>
                        <a:t>Topic</a:t>
                      </a:r>
                      <a:endParaRPr sz="24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59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>
                          <a:sym typeface="DM Sans"/>
                        </a:rPr>
                        <a:t>June </a:t>
                      </a:r>
                      <a:r>
                        <a:rPr lang="en-US" sz="2400" u="none" strike="noStrike" cap="none" dirty="0"/>
                        <a:t>15</a:t>
                      </a:r>
                      <a:r>
                        <a:rPr lang="en-US" sz="2400" u="none" strike="noStrike" cap="none" dirty="0">
                          <a:sym typeface="DM Sans"/>
                        </a:rPr>
                        <a:t>, </a:t>
                      </a:r>
                      <a:r>
                        <a:rPr lang="en-US" sz="2400" u="none" strike="noStrike" cap="none" dirty="0"/>
                        <a:t>2026</a:t>
                      </a:r>
                      <a:endParaRPr sz="2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DM Sans"/>
                        <a:buNone/>
                      </a:pPr>
                      <a:r>
                        <a:rPr lang="en-US" sz="2400" u="none" strike="noStrike" cap="none"/>
                        <a:t>ESSI Sustainability Launch Call</a:t>
                      </a:r>
                      <a:endParaRPr sz="24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942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July 20, 2026</a:t>
                      </a:r>
                      <a:endParaRPr sz="2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ESSI QI Topic Call</a:t>
                      </a: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3502662042"/>
                  </a:ext>
                </a:extLst>
              </a:tr>
              <a:tr h="57942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August 17, 2026</a:t>
                      </a:r>
                      <a:endParaRPr sz="2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ESSI QI Topic Call</a:t>
                      </a: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3520249640"/>
                  </a:ext>
                </a:extLst>
              </a:tr>
              <a:tr h="57942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September 2026​</a:t>
                      </a:r>
                      <a:endParaRPr sz="2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noProof="0">
                          <a:solidFill>
                            <a:srgbClr val="000000"/>
                          </a:solidFill>
                        </a:rPr>
                        <a:t>ESSI Sustainability Call #2</a:t>
                      </a:r>
                      <a:endParaRPr lang="en-US" sz="24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421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December 2026</a:t>
                      </a:r>
                      <a:endParaRPr sz="24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noProof="0" dirty="0">
                          <a:solidFill>
                            <a:srgbClr val="000000"/>
                          </a:solidFill>
                        </a:rPr>
                        <a:t>ESSI Sustainability Call #3</a:t>
                      </a:r>
                      <a:endParaRPr sz="24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Freeform 7">
            <a:extLst>
              <a:ext uri="{FF2B5EF4-FFF2-40B4-BE49-F238E27FC236}">
                <a16:creationId xmlns:a16="http://schemas.microsoft.com/office/drawing/2014/main" id="{7FA5A542-4DE8-561E-50F2-38F7ADFD2ED7}"/>
              </a:ext>
            </a:extLst>
          </p:cNvPr>
          <p:cNvSpPr/>
          <p:nvPr/>
        </p:nvSpPr>
        <p:spPr>
          <a:xfrm>
            <a:off x="26428" y="745842"/>
            <a:ext cx="1594273" cy="1009168"/>
          </a:xfrm>
          <a:custGeom>
            <a:avLst/>
            <a:gdLst/>
            <a:ahLst/>
            <a:cxnLst/>
            <a:rect l="l" t="t" r="r" b="b"/>
            <a:pathLst>
              <a:path w="8515491" h="5311537">
                <a:moveTo>
                  <a:pt x="0" y="0"/>
                </a:moveTo>
                <a:lnTo>
                  <a:pt x="8515490" y="0"/>
                </a:lnTo>
                <a:lnTo>
                  <a:pt x="8515490" y="5311538"/>
                </a:lnTo>
                <a:lnTo>
                  <a:pt x="0" y="531153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13">
            <a:extLst>
              <a:ext uri="{FF2B5EF4-FFF2-40B4-BE49-F238E27FC236}">
                <a16:creationId xmlns:a16="http://schemas.microsoft.com/office/drawing/2014/main" id="{3D3C2F2A-73F1-EE95-AFD7-FB26941A734D}"/>
              </a:ext>
            </a:extLst>
          </p:cNvPr>
          <p:cNvSpPr/>
          <p:nvPr/>
        </p:nvSpPr>
        <p:spPr>
          <a:xfrm>
            <a:off x="2391607" y="2428878"/>
            <a:ext cx="9445998" cy="4199144"/>
          </a:xfrm>
          <a:custGeom>
            <a:avLst/>
            <a:gdLst/>
            <a:ahLst/>
            <a:cxnLst/>
            <a:rect l="l" t="t" r="r" b="b"/>
            <a:pathLst>
              <a:path w="16230600" h="7608094">
                <a:moveTo>
                  <a:pt x="0" y="0"/>
                </a:moveTo>
                <a:lnTo>
                  <a:pt x="16230600" y="0"/>
                </a:lnTo>
                <a:lnTo>
                  <a:pt x="16230600" y="7608094"/>
                </a:lnTo>
                <a:lnTo>
                  <a:pt x="0" y="760809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808B99-84CA-B73A-1D04-557582552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Dat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2D0059-566C-BAD8-14CC-3F18D6C895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C2830-66BD-8A6C-9659-0781000A1D1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2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B9892BB-A87B-A878-2A5C-A68A4CCF2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220218"/>
              </p:ext>
            </p:extLst>
          </p:nvPr>
        </p:nvGraphicFramePr>
        <p:xfrm>
          <a:off x="609599" y="2988304"/>
          <a:ext cx="10640994" cy="1371600"/>
        </p:xfrm>
        <a:graphic>
          <a:graphicData uri="http://schemas.openxmlformats.org/drawingml/2006/table">
            <a:tbl>
              <a:tblPr firstRow="1" bandRow="1">
                <a:tableStyleId>{16D2A5FF-C9A7-41AD-BB6C-C3207B7E22FF}</a:tableStyleId>
              </a:tblPr>
              <a:tblGrid>
                <a:gridCol w="5652305">
                  <a:extLst>
                    <a:ext uri="{9D8B030D-6E8A-4147-A177-3AD203B41FA5}">
                      <a16:colId xmlns:a16="http://schemas.microsoft.com/office/drawing/2014/main" val="3075895123"/>
                    </a:ext>
                  </a:extLst>
                </a:gridCol>
                <a:gridCol w="4988689">
                  <a:extLst>
                    <a:ext uri="{9D8B030D-6E8A-4147-A177-3AD203B41FA5}">
                      <a16:colId xmlns:a16="http://schemas.microsoft.com/office/drawing/2014/main" val="6138617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Date/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579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Submit Sustainability Plan to ILPQ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ugust 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8781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QI Excellence Award-Data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September 30 (for August data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245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19285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51E3B737-9C15-D411-7897-B17A48DF43D2}"/>
              </a:ext>
            </a:extLst>
          </p:cNvPr>
          <p:cNvSpPr/>
          <p:nvPr/>
        </p:nvSpPr>
        <p:spPr>
          <a:xfrm>
            <a:off x="7154887" y="5079"/>
            <a:ext cx="5003797" cy="1485900"/>
          </a:xfrm>
          <a:prstGeom prst="rect">
            <a:avLst/>
          </a:pr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914446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120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3B5D64A1-6A0C-67E8-66CB-B9B57F3B6743}"/>
              </a:ext>
            </a:extLst>
          </p:cNvPr>
          <p:cNvSpPr/>
          <p:nvPr/>
        </p:nvSpPr>
        <p:spPr>
          <a:xfrm flipV="1">
            <a:off x="1631053" y="207606"/>
            <a:ext cx="7624143" cy="30637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ss"/>
              <a:gd name="f6" fmla="val 0"/>
              <a:gd name="f7" fmla="+- 0 0 -180"/>
              <a:gd name="f8" fmla="+- 0 0 -360"/>
              <a:gd name="f9" fmla="abs f3"/>
              <a:gd name="f10" fmla="abs f4"/>
              <a:gd name="f11" fmla="abs f5"/>
              <a:gd name="f12" fmla="*/ f7 f0 1"/>
              <a:gd name="f13" fmla="*/ f8 f0 1"/>
              <a:gd name="f14" fmla="?: f9 f3 1"/>
              <a:gd name="f15" fmla="?: f10 f4 1"/>
              <a:gd name="f16" fmla="?: f11 f5 1"/>
              <a:gd name="f17" fmla="*/ f12 1 f2"/>
              <a:gd name="f18" fmla="*/ f13 1 f2"/>
              <a:gd name="f19" fmla="*/ f14 1 21600"/>
              <a:gd name="f20" fmla="*/ f15 1 21600"/>
              <a:gd name="f21" fmla="*/ 21600 f14 1"/>
              <a:gd name="f22" fmla="*/ 21600 f15 1"/>
              <a:gd name="f23" fmla="+- f17 0 f1"/>
              <a:gd name="f24" fmla="+- f18 0 f1"/>
              <a:gd name="f25" fmla="min f20 f19"/>
              <a:gd name="f26" fmla="*/ f21 1 f16"/>
              <a:gd name="f27" fmla="*/ f22 1 f16"/>
              <a:gd name="f28" fmla="val f26"/>
              <a:gd name="f29" fmla="val f27"/>
              <a:gd name="f30" fmla="*/ f6 f25 1"/>
              <a:gd name="f31" fmla="*/ f28 f25 1"/>
              <a:gd name="f32" fmla="*/ f29 f2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3">
                <a:pos x="f30" y="f30"/>
              </a:cxn>
              <a:cxn ang="f24">
                <a:pos x="f31" y="f32"/>
              </a:cxn>
            </a:cxnLst>
            <a:rect l="f30" t="f30" r="f31" b="f32"/>
            <a:pathLst>
              <a:path>
                <a:moveTo>
                  <a:pt x="f30" y="f30"/>
                </a:moveTo>
                <a:lnTo>
                  <a:pt x="f31" y="f32"/>
                </a:lnTo>
              </a:path>
            </a:pathLst>
          </a:custGeom>
          <a:noFill/>
          <a:ln w="47621" cap="flat">
            <a:solidFill>
              <a:srgbClr val="7F895E"/>
            </a:solidFill>
            <a:custDash>
              <a:ds d="100000" sp="100000"/>
            </a:custDash>
            <a:miter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09570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kern="1200">
              <a:solidFill>
                <a:srgbClr val="444C55"/>
              </a:solidFill>
              <a:latin typeface="Calibri"/>
              <a:ea typeface="+mn-ea"/>
            </a:endParaRPr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6D94E7B3-9810-B142-8719-D8E652B08543}"/>
              </a:ext>
            </a:extLst>
          </p:cNvPr>
          <p:cNvSpPr/>
          <p:nvPr/>
        </p:nvSpPr>
        <p:spPr>
          <a:xfrm>
            <a:off x="3618941" y="6546949"/>
            <a:ext cx="4620060" cy="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ss"/>
              <a:gd name="f6" fmla="val 0"/>
              <a:gd name="f7" fmla="+- 0 0 -180"/>
              <a:gd name="f8" fmla="+- 0 0 -360"/>
              <a:gd name="f9" fmla="abs f3"/>
              <a:gd name="f10" fmla="abs f4"/>
              <a:gd name="f11" fmla="abs f5"/>
              <a:gd name="f12" fmla="*/ f7 f0 1"/>
              <a:gd name="f13" fmla="*/ f8 f0 1"/>
              <a:gd name="f14" fmla="?: f9 f3 1"/>
              <a:gd name="f15" fmla="?: f10 f4 1"/>
              <a:gd name="f16" fmla="?: f11 f5 1"/>
              <a:gd name="f17" fmla="*/ f12 1 f2"/>
              <a:gd name="f18" fmla="*/ f13 1 f2"/>
              <a:gd name="f19" fmla="*/ f14 1 21600"/>
              <a:gd name="f20" fmla="*/ f15 1 21600"/>
              <a:gd name="f21" fmla="*/ 21600 f14 1"/>
              <a:gd name="f22" fmla="*/ 21600 f15 1"/>
              <a:gd name="f23" fmla="+- f17 0 f1"/>
              <a:gd name="f24" fmla="+- f18 0 f1"/>
              <a:gd name="f25" fmla="min f20 f19"/>
              <a:gd name="f26" fmla="*/ f21 1 f16"/>
              <a:gd name="f27" fmla="*/ f22 1 f16"/>
              <a:gd name="f28" fmla="val f26"/>
              <a:gd name="f29" fmla="val f27"/>
              <a:gd name="f30" fmla="*/ f6 f25 1"/>
              <a:gd name="f31" fmla="*/ f28 f25 1"/>
              <a:gd name="f32" fmla="*/ f29 f2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3">
                <a:pos x="f30" y="f30"/>
              </a:cxn>
              <a:cxn ang="f24">
                <a:pos x="f31" y="f32"/>
              </a:cxn>
            </a:cxnLst>
            <a:rect l="f30" t="f30" r="f31" b="f32"/>
            <a:pathLst>
              <a:path>
                <a:moveTo>
                  <a:pt x="f30" y="f30"/>
                </a:moveTo>
                <a:lnTo>
                  <a:pt x="f31" y="f32"/>
                </a:lnTo>
              </a:path>
            </a:pathLst>
          </a:custGeom>
          <a:noFill/>
          <a:ln w="47621" cap="flat">
            <a:solidFill>
              <a:srgbClr val="7F895E"/>
            </a:solidFill>
            <a:custDash>
              <a:ds d="100000" sp="100000"/>
            </a:custDash>
            <a:miter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09570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800" kern="1200">
              <a:solidFill>
                <a:srgbClr val="444C55"/>
              </a:solidFill>
              <a:latin typeface="Calibri"/>
              <a:ea typeface="+mn-ea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C946EC70-8868-FBE0-0AAC-C7AB7F545EE5}"/>
              </a:ext>
            </a:extLst>
          </p:cNvPr>
          <p:cNvSpPr txBox="1"/>
          <p:nvPr/>
        </p:nvSpPr>
        <p:spPr>
          <a:xfrm>
            <a:off x="1530774" y="337069"/>
            <a:ext cx="7760919" cy="2043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09570">
              <a:lnSpc>
                <a:spcPts val="6346"/>
              </a:lnSpc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000" b="1" kern="1200">
                <a:solidFill>
                  <a:srgbClr val="1C498B"/>
                </a:solidFill>
                <a:latin typeface="Calibri"/>
                <a:ea typeface="RoxboroughCF Bold"/>
                <a:cs typeface="RoxboroughCF Bold"/>
              </a:rPr>
              <a:t>ILPQC QI Summer Series:</a:t>
            </a:r>
          </a:p>
          <a:p>
            <a:pPr algn="ctr" defTabSz="609570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67" kern="1200">
                <a:solidFill>
                  <a:srgbClr val="1C498B"/>
                </a:solidFill>
                <a:latin typeface="Calibri"/>
                <a:ea typeface="+mn-ea"/>
              </a:rPr>
              <a:t>Small Steps, Big Impact</a:t>
            </a:r>
          </a:p>
          <a:p>
            <a:pPr algn="ctr" defTabSz="609570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667" i="1" kern="1200">
                <a:solidFill>
                  <a:srgbClr val="1C498B"/>
                </a:solidFill>
                <a:latin typeface="Calibri"/>
                <a:ea typeface="+mn-ea"/>
              </a:rPr>
              <a:t>A Hands-On Summer Series to Drive Change </a:t>
            </a:r>
            <a:br>
              <a:rPr lang="en-US" sz="2667" i="1" kern="1200">
                <a:solidFill>
                  <a:srgbClr val="1C498B"/>
                </a:solidFill>
                <a:latin typeface="Calibri"/>
                <a:ea typeface="+mn-ea"/>
              </a:rPr>
            </a:br>
            <a:r>
              <a:rPr lang="en-US" sz="2667" i="1" kern="1200">
                <a:solidFill>
                  <a:srgbClr val="1C498B"/>
                </a:solidFill>
                <a:latin typeface="Calibri"/>
                <a:ea typeface="+mn-ea"/>
              </a:rPr>
              <a:t>at the Bedside</a:t>
            </a:r>
            <a:endParaRPr lang="en-US" sz="2667" b="1" i="1" kern="1200">
              <a:solidFill>
                <a:srgbClr val="1C498B"/>
              </a:solidFill>
              <a:latin typeface="Calibri"/>
              <a:ea typeface="RoxboroughCF Bold"/>
              <a:cs typeface="RoxboroughCF Bold"/>
            </a:endParaRPr>
          </a:p>
        </p:txBody>
      </p:sp>
      <p:pic>
        <p:nvPicPr>
          <p:cNvPr id="8" name="Picture 12" descr="PDSA Cycle - The W. Edwards Deming Institute">
            <a:extLst>
              <a:ext uri="{FF2B5EF4-FFF2-40B4-BE49-F238E27FC236}">
                <a16:creationId xmlns:a16="http://schemas.microsoft.com/office/drawing/2014/main" id="{BC7D456B-AC35-2231-2943-47373FE40C1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950" y="242627"/>
            <a:ext cx="1021725" cy="1010803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CA3C565C-8C33-AEC6-18C8-4628B32F70B2}"/>
              </a:ext>
            </a:extLst>
          </p:cNvPr>
          <p:cNvGraphicFramePr>
            <a:graphicFrameLocks noGrp="1"/>
          </p:cNvGraphicFramePr>
          <p:nvPr/>
        </p:nvGraphicFramePr>
        <p:xfrm>
          <a:off x="384526" y="2820148"/>
          <a:ext cx="11202990" cy="3174885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3645626">
                  <a:extLst>
                    <a:ext uri="{9D8B030D-6E8A-4147-A177-3AD203B41FA5}">
                      <a16:colId xmlns:a16="http://schemas.microsoft.com/office/drawing/2014/main" val="3982932698"/>
                    </a:ext>
                  </a:extLst>
                </a:gridCol>
                <a:gridCol w="3442688">
                  <a:extLst>
                    <a:ext uri="{9D8B030D-6E8A-4147-A177-3AD203B41FA5}">
                      <a16:colId xmlns:a16="http://schemas.microsoft.com/office/drawing/2014/main" val="2514131309"/>
                    </a:ext>
                  </a:extLst>
                </a:gridCol>
                <a:gridCol w="4114676">
                  <a:extLst>
                    <a:ext uri="{9D8B030D-6E8A-4147-A177-3AD203B41FA5}">
                      <a16:colId xmlns:a16="http://schemas.microsoft.com/office/drawing/2014/main" val="1142298497"/>
                    </a:ext>
                  </a:extLst>
                </a:gridCol>
              </a:tblGrid>
              <a:tr h="502920"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 u="sng">
                          <a:latin typeface="Apotos"/>
                        </a:rPr>
                        <a:t>SESSION DATE</a:t>
                      </a:r>
                    </a:p>
                  </a:txBody>
                  <a:tcPr anchor="ctr">
                    <a:solidFill>
                      <a:srgbClr val="FDE6E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 u="none">
                          <a:latin typeface="Apotos"/>
                        </a:rPr>
                        <a:t> </a:t>
                      </a:r>
                      <a:r>
                        <a:rPr lang="en-US" sz="1900" b="1" u="sng">
                          <a:latin typeface="Apotos"/>
                        </a:rPr>
                        <a:t>SESSION TITLE</a:t>
                      </a:r>
                    </a:p>
                  </a:txBody>
                  <a:tcPr anchor="ctr">
                    <a:solidFill>
                      <a:srgbClr val="FDE6E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 u="none">
                          <a:latin typeface="Apotos"/>
                        </a:rPr>
                        <a:t> </a:t>
                      </a:r>
                      <a:r>
                        <a:rPr lang="en-US" sz="1900" b="1" u="sng">
                          <a:latin typeface="Apotos"/>
                        </a:rPr>
                        <a:t>SESSION FOCUS</a:t>
                      </a:r>
                    </a:p>
                  </a:txBody>
                  <a:tcPr anchor="ctr">
                    <a:solidFill>
                      <a:srgbClr val="FDE6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464432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Tuesday, June 30</a:t>
                      </a:r>
                      <a:r>
                        <a:rPr lang="en-US" sz="1900" b="1" baseline="30000">
                          <a:latin typeface="Apotos"/>
                        </a:rPr>
                        <a:t>th</a:t>
                      </a:r>
                      <a:r>
                        <a:rPr lang="en-US" sz="1900" b="1">
                          <a:latin typeface="Apotos"/>
                        </a:rPr>
                        <a:t> at 12 PM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“Workshopping Small Tests </a:t>
                      </a:r>
                      <a:br>
                        <a:rPr lang="en-US" sz="1900" b="1">
                          <a:latin typeface="Apotos"/>
                        </a:rPr>
                      </a:br>
                      <a:r>
                        <a:rPr lang="en-US" sz="1900" b="1">
                          <a:latin typeface="Apotos"/>
                        </a:rPr>
                        <a:t>of Change”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kern="1200">
                          <a:solidFill>
                            <a:schemeClr val="tx1"/>
                          </a:solidFill>
                          <a:effectLst/>
                          <a:latin typeface="Apotos"/>
                          <a:ea typeface="+mn-ea"/>
                          <a:cs typeface="+mn-cs"/>
                        </a:rPr>
                        <a:t>Develop focused, inclusive SMART goals to guide your QI efforts.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491572"/>
                  </a:ext>
                </a:extLst>
              </a:tr>
              <a:tr h="1010805"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Tuesday, July 28</a:t>
                      </a:r>
                      <a:r>
                        <a:rPr lang="en-US" sz="1900" b="1" baseline="30000">
                          <a:latin typeface="Apotos"/>
                        </a:rPr>
                        <a:t>th</a:t>
                      </a:r>
                      <a:r>
                        <a:rPr lang="en-US" sz="1900" b="1">
                          <a:latin typeface="Apotos"/>
                        </a:rPr>
                        <a:t>  at 12 PM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“PDSA in Action”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buNone/>
                      </a:pPr>
                      <a:r>
                        <a:rPr lang="en-US" sz="1900" b="0" i="0">
                          <a:effectLst/>
                          <a:latin typeface="Apotos"/>
                        </a:rPr>
                        <a:t>Explore how PDSA (Plan, Do, Study, Act) cycles can be used to test changes </a:t>
                      </a:r>
                      <a:br>
                        <a:rPr lang="en-US" sz="1900" b="0" i="0">
                          <a:effectLst/>
                          <a:latin typeface="Apotos"/>
                        </a:rPr>
                      </a:br>
                      <a:r>
                        <a:rPr lang="en-US" sz="1900" b="0" i="0">
                          <a:effectLst/>
                          <a:latin typeface="Apotos"/>
                        </a:rPr>
                        <a:t>and drive result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9511"/>
                  </a:ext>
                </a:extLst>
              </a:tr>
              <a:tr h="944880"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Tuesday, August 25</a:t>
                      </a:r>
                      <a:r>
                        <a:rPr lang="en-US" sz="1900" b="1" baseline="30000">
                          <a:latin typeface="Apotos"/>
                        </a:rPr>
                        <a:t>th</a:t>
                      </a:r>
                      <a:r>
                        <a:rPr lang="en-US" sz="1900" b="1">
                          <a:latin typeface="Apotos"/>
                        </a:rPr>
                        <a:t> at 12 PM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900" b="1">
                          <a:latin typeface="Apotos"/>
                        </a:rPr>
                        <a:t>“Telling Stories with Data”</a:t>
                      </a:r>
                      <a:endParaRPr lang="en-US" sz="1900">
                        <a:latin typeface="Apotos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kern="1200">
                          <a:solidFill>
                            <a:schemeClr val="tx1"/>
                          </a:solidFill>
                          <a:effectLst/>
                          <a:latin typeface="Apotos"/>
                          <a:ea typeface="+mn-ea"/>
                          <a:cs typeface="+mn-cs"/>
                        </a:rPr>
                        <a:t>Learn how to effectively use your data to tell a clear, compelling story about progress and impact.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833064"/>
                  </a:ext>
                </a:extLst>
              </a:tr>
            </a:tbl>
          </a:graphicData>
        </a:graphic>
      </p:graphicFrame>
      <p:sp>
        <p:nvSpPr>
          <p:cNvPr id="11" name="Rectangle 1">
            <a:extLst>
              <a:ext uri="{FF2B5EF4-FFF2-40B4-BE49-F238E27FC236}">
                <a16:creationId xmlns:a16="http://schemas.microsoft.com/office/drawing/2014/main" id="{4C765731-670B-4676-97FA-5ECCA7C48795}"/>
              </a:ext>
            </a:extLst>
          </p:cNvPr>
          <p:cNvSpPr/>
          <p:nvPr/>
        </p:nvSpPr>
        <p:spPr>
          <a:xfrm>
            <a:off x="1" y="-184665"/>
            <a:ext cx="184709" cy="36933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ctr" anchorCtr="0" compatLnSpc="1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46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1200">
              <a:solidFill>
                <a:srgbClr val="444C55"/>
              </a:solidFill>
              <a:latin typeface="Calibri"/>
              <a:ea typeface="+mn-ea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FD89AF7D-B3A6-64F4-8330-D7C0E051C0D1}"/>
              </a:ext>
            </a:extLst>
          </p:cNvPr>
          <p:cNvSpPr/>
          <p:nvPr/>
        </p:nvSpPr>
        <p:spPr>
          <a:xfrm>
            <a:off x="152404" y="-32263"/>
            <a:ext cx="184709" cy="36933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ctr" anchorCtr="0" compatLnSpc="1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46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1200">
              <a:solidFill>
                <a:srgbClr val="444C55"/>
              </a:solidFill>
              <a:latin typeface="Calibri"/>
              <a:ea typeface="+mn-ea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E6700B6-6AEF-0860-2C8A-628F7E2236E4}"/>
              </a:ext>
            </a:extLst>
          </p:cNvPr>
          <p:cNvSpPr/>
          <p:nvPr/>
        </p:nvSpPr>
        <p:spPr>
          <a:xfrm>
            <a:off x="-203204" y="120131"/>
            <a:ext cx="184709" cy="36933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ctr" anchorCtr="0" compatLnSpc="1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46">
              <a:buClrTx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1200">
              <a:solidFill>
                <a:srgbClr val="444C55"/>
              </a:solidFill>
              <a:latin typeface="Calibri"/>
              <a:ea typeface="+mn-ea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5E6A69B0-D1BF-7CEE-0628-EA34758D3F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" y="6032368"/>
            <a:ext cx="1469813" cy="68911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85F87584-86EE-8699-766B-F0A984A80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3150" y="944783"/>
            <a:ext cx="1754366" cy="1754366"/>
          </a:xfrm>
          <a:prstGeom prst="rect">
            <a:avLst/>
          </a:prstGeom>
        </p:spPr>
      </p:pic>
      <p:sp>
        <p:nvSpPr>
          <p:cNvPr id="3" name="TextBox 78">
            <a:extLst>
              <a:ext uri="{FF2B5EF4-FFF2-40B4-BE49-F238E27FC236}">
                <a16:creationId xmlns:a16="http://schemas.microsoft.com/office/drawing/2014/main" id="{5B6DF737-2977-1FE9-8287-C29F25C978C9}"/>
              </a:ext>
            </a:extLst>
          </p:cNvPr>
          <p:cNvSpPr txBox="1"/>
          <p:nvPr/>
        </p:nvSpPr>
        <p:spPr>
          <a:xfrm>
            <a:off x="9193479" y="460771"/>
            <a:ext cx="2935495" cy="5745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T Fors"/>
                <a:ea typeface="TT Fors"/>
                <a:cs typeface="TT Fors"/>
                <a:sym typeface="TT Fors"/>
              </a:rPr>
              <a:t>Scan here to </a:t>
            </a:r>
            <a:b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T Fors"/>
                <a:ea typeface="TT Fors"/>
                <a:cs typeface="TT Fors"/>
                <a:sym typeface="TT Fors"/>
              </a:rPr>
            </a:b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T Fors"/>
                <a:ea typeface="TT Fors"/>
                <a:cs typeface="TT Fors"/>
                <a:sym typeface="TT Fors"/>
              </a:rPr>
              <a:t>register for the series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CC4AA7-4C73-C3A2-16D5-111D085C25EE}"/>
              </a:ext>
            </a:extLst>
          </p:cNvPr>
          <p:cNvSpPr txBox="1"/>
          <p:nvPr/>
        </p:nvSpPr>
        <p:spPr>
          <a:xfrm>
            <a:off x="8839203" y="6356352"/>
            <a:ext cx="2743200" cy="36512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7291C32-1B23-46ED-AEE4-6AFD03A89EB6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AFB3B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3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AFB3B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2524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2252"/>
        </a:solidFill>
        <a:effectLst/>
      </p:bgPr>
    </p:bg>
    <p:spTree>
      <p:nvGrpSpPr>
        <p:cNvPr id="1" name="Shape 52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4" name="Google Shape;52174;p46"/>
          <p:cNvSpPr txBox="1"/>
          <p:nvPr/>
        </p:nvSpPr>
        <p:spPr>
          <a:xfrm>
            <a:off x="918082" y="809030"/>
            <a:ext cx="10293783" cy="3899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4001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75"/>
              <a:buFont typeface="Arial"/>
              <a:buNone/>
            </a:pPr>
            <a:r>
              <a:rPr lang="en-US" sz="9050" b="1" i="0" u="none" strike="noStrike" cap="none">
                <a:solidFill>
                  <a:srgbClr val="FEC200"/>
                </a:solidFill>
                <a:latin typeface="Antonio"/>
                <a:ea typeface="Antonio"/>
                <a:cs typeface="Antonio"/>
                <a:sym typeface="Antonio"/>
              </a:rPr>
              <a:t>14TH ANNUAL CONFERENCE</a:t>
            </a:r>
            <a:endParaRPr sz="93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2175" name="Google Shape;52175;p46"/>
          <p:cNvGrpSpPr/>
          <p:nvPr/>
        </p:nvGrpSpPr>
        <p:grpSpPr>
          <a:xfrm rot="21055718">
            <a:off x="3202602" y="6163018"/>
            <a:ext cx="9504277" cy="1927931"/>
            <a:chOff x="0" y="-38100"/>
            <a:chExt cx="3754776" cy="761652"/>
          </a:xfrm>
        </p:grpSpPr>
        <p:sp>
          <p:nvSpPr>
            <p:cNvPr id="52176" name="Google Shape;52176;p46"/>
            <p:cNvSpPr/>
            <p:nvPr/>
          </p:nvSpPr>
          <p:spPr>
            <a:xfrm>
              <a:off x="0" y="0"/>
              <a:ext cx="3754776" cy="723552"/>
            </a:xfrm>
            <a:custGeom>
              <a:avLst/>
              <a:gdLst/>
              <a:ahLst/>
              <a:cxnLst/>
              <a:rect l="l" t="t" r="r" b="b"/>
              <a:pathLst>
                <a:path w="3754776" h="723552" extrusionOk="0">
                  <a:moveTo>
                    <a:pt x="0" y="0"/>
                  </a:moveTo>
                  <a:lnTo>
                    <a:pt x="3754776" y="0"/>
                  </a:lnTo>
                  <a:lnTo>
                    <a:pt x="3754776" y="723552"/>
                  </a:lnTo>
                  <a:lnTo>
                    <a:pt x="0" y="723552"/>
                  </a:lnTo>
                  <a:close/>
                </a:path>
              </a:pathLst>
            </a:custGeom>
            <a:solidFill>
              <a:srgbClr val="FEC200"/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77" name="Google Shape;52177;p46"/>
            <p:cNvSpPr txBox="1"/>
            <p:nvPr/>
          </p:nvSpPr>
          <p:spPr>
            <a:xfrm>
              <a:off x="0" y="-38100"/>
              <a:ext cx="3754776" cy="7616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67" tIns="33867" rIns="33867" bIns="33867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4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178" name="Google Shape;52178;p46"/>
          <p:cNvSpPr/>
          <p:nvPr/>
        </p:nvSpPr>
        <p:spPr>
          <a:xfrm>
            <a:off x="1" y="3840814"/>
            <a:ext cx="3385899" cy="3373202"/>
          </a:xfrm>
          <a:custGeom>
            <a:avLst/>
            <a:gdLst/>
            <a:ahLst/>
            <a:cxnLst/>
            <a:rect l="l" t="t" r="r" b="b"/>
            <a:pathLst>
              <a:path w="5078848" h="5059803" extrusionOk="0">
                <a:moveTo>
                  <a:pt x="0" y="0"/>
                </a:moveTo>
                <a:lnTo>
                  <a:pt x="5078848" y="0"/>
                </a:lnTo>
                <a:lnTo>
                  <a:pt x="5078848" y="5059803"/>
                </a:lnTo>
                <a:lnTo>
                  <a:pt x="0" y="505980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2179" name="Google Shape;52179;p46"/>
          <p:cNvGrpSpPr/>
          <p:nvPr/>
        </p:nvGrpSpPr>
        <p:grpSpPr>
          <a:xfrm rot="10341410">
            <a:off x="-277947" y="-1142775"/>
            <a:ext cx="9504277" cy="1800599"/>
            <a:chOff x="0" y="-38100"/>
            <a:chExt cx="3754776" cy="711348"/>
          </a:xfrm>
        </p:grpSpPr>
        <p:sp>
          <p:nvSpPr>
            <p:cNvPr id="52180" name="Google Shape;52180;p46"/>
            <p:cNvSpPr/>
            <p:nvPr/>
          </p:nvSpPr>
          <p:spPr>
            <a:xfrm>
              <a:off x="0" y="0"/>
              <a:ext cx="3754776" cy="673248"/>
            </a:xfrm>
            <a:custGeom>
              <a:avLst/>
              <a:gdLst/>
              <a:ahLst/>
              <a:cxnLst/>
              <a:rect l="l" t="t" r="r" b="b"/>
              <a:pathLst>
                <a:path w="3754776" h="673248" extrusionOk="0">
                  <a:moveTo>
                    <a:pt x="0" y="0"/>
                  </a:moveTo>
                  <a:lnTo>
                    <a:pt x="3754776" y="0"/>
                  </a:lnTo>
                  <a:lnTo>
                    <a:pt x="3754776" y="673248"/>
                  </a:lnTo>
                  <a:lnTo>
                    <a:pt x="0" y="673248"/>
                  </a:lnTo>
                  <a:close/>
                </a:path>
              </a:pathLst>
            </a:custGeom>
            <a:solidFill>
              <a:srgbClr val="FEC200"/>
            </a:solidFill>
            <a:ln>
              <a:noFill/>
            </a:ln>
          </p:spPr>
          <p:txBody>
            <a:bodyPr spcFirstLastPara="1" wrap="square" lIns="60950" tIns="30467" rIns="60950" bIns="30467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81" name="Google Shape;52181;p46"/>
            <p:cNvSpPr txBox="1"/>
            <p:nvPr/>
          </p:nvSpPr>
          <p:spPr>
            <a:xfrm>
              <a:off x="0" y="-38100"/>
              <a:ext cx="3754776" cy="7113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67" tIns="33867" rIns="33867" bIns="33867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4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182" name="Google Shape;52182;p46"/>
          <p:cNvSpPr/>
          <p:nvPr/>
        </p:nvSpPr>
        <p:spPr>
          <a:xfrm rot="10800000">
            <a:off x="8806102" y="-356014"/>
            <a:ext cx="3385899" cy="3373202"/>
          </a:xfrm>
          <a:custGeom>
            <a:avLst/>
            <a:gdLst/>
            <a:ahLst/>
            <a:cxnLst/>
            <a:rect l="l" t="t" r="r" b="b"/>
            <a:pathLst>
              <a:path w="5078848" h="5059803" extrusionOk="0">
                <a:moveTo>
                  <a:pt x="0" y="0"/>
                </a:moveTo>
                <a:lnTo>
                  <a:pt x="5078848" y="0"/>
                </a:lnTo>
                <a:lnTo>
                  <a:pt x="5078848" y="5059803"/>
                </a:lnTo>
                <a:lnTo>
                  <a:pt x="0" y="505980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183" name="Google Shape;52183;p46"/>
          <p:cNvSpPr/>
          <p:nvPr/>
        </p:nvSpPr>
        <p:spPr>
          <a:xfrm>
            <a:off x="685800" y="1028918"/>
            <a:ext cx="2919762" cy="3786263"/>
          </a:xfrm>
          <a:custGeom>
            <a:avLst/>
            <a:gdLst/>
            <a:ahLst/>
            <a:cxnLst/>
            <a:rect l="l" t="t" r="r" b="b"/>
            <a:pathLst>
              <a:path w="4379643" h="5679394" extrusionOk="0">
                <a:moveTo>
                  <a:pt x="0" y="0"/>
                </a:moveTo>
                <a:lnTo>
                  <a:pt x="4379643" y="0"/>
                </a:lnTo>
                <a:lnTo>
                  <a:pt x="4379643" y="5679394"/>
                </a:lnTo>
                <a:lnTo>
                  <a:pt x="0" y="567939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r="-29676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184" name="Google Shape;52184;p46"/>
          <p:cNvSpPr/>
          <p:nvPr/>
        </p:nvSpPr>
        <p:spPr>
          <a:xfrm flipH="1">
            <a:off x="8461535" y="1106720"/>
            <a:ext cx="2859765" cy="3708461"/>
          </a:xfrm>
          <a:custGeom>
            <a:avLst/>
            <a:gdLst/>
            <a:ahLst/>
            <a:cxnLst/>
            <a:rect l="l" t="t" r="r" b="b"/>
            <a:pathLst>
              <a:path w="4289647" h="5562691" extrusionOk="0">
                <a:moveTo>
                  <a:pt x="4289648" y="0"/>
                </a:moveTo>
                <a:lnTo>
                  <a:pt x="0" y="0"/>
                </a:lnTo>
                <a:lnTo>
                  <a:pt x="0" y="5562691"/>
                </a:lnTo>
                <a:lnTo>
                  <a:pt x="4289648" y="5562691"/>
                </a:lnTo>
                <a:lnTo>
                  <a:pt x="4289648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r="-29676"/>
            </a:stretch>
          </a:blipFill>
          <a:ln>
            <a:noFill/>
          </a:ln>
        </p:spPr>
        <p:txBody>
          <a:bodyPr spcFirstLastPara="1" wrap="square" lIns="60950" tIns="30467" rIns="60950" bIns="30467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185" name="Google Shape;52185;p46"/>
          <p:cNvSpPr txBox="1"/>
          <p:nvPr/>
        </p:nvSpPr>
        <p:spPr>
          <a:xfrm>
            <a:off x="3385900" y="4677945"/>
            <a:ext cx="5358149" cy="302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8155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2400" b="1" i="0" u="none" strike="noStrike" cap="none">
                <a:solidFill>
                  <a:srgbClr val="FFFFFF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NOVEMBER 10TH, 2026</a:t>
            </a:r>
            <a:endParaRPr sz="93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186" name="Google Shape;52186;p46"/>
          <p:cNvSpPr txBox="1"/>
          <p:nvPr/>
        </p:nvSpPr>
        <p:spPr>
          <a:xfrm>
            <a:off x="3125261" y="890712"/>
            <a:ext cx="5358149" cy="487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3999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98"/>
              <a:buFont typeface="Arial"/>
              <a:buNone/>
            </a:pPr>
            <a:r>
              <a:rPr lang="en-US" sz="2265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LPQC</a:t>
            </a:r>
            <a:endParaRPr sz="93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187" name="Google Shape;52187;p46"/>
          <p:cNvSpPr txBox="1"/>
          <p:nvPr/>
        </p:nvSpPr>
        <p:spPr>
          <a:xfrm>
            <a:off x="2233535" y="5222068"/>
            <a:ext cx="7141601" cy="975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3999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98"/>
              <a:buFont typeface="Arial"/>
              <a:buNone/>
            </a:pPr>
            <a:r>
              <a:rPr lang="en-US" sz="2265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THE WESTIN LOMBARD YORKTOWN CENTER</a:t>
            </a:r>
            <a:endParaRPr sz="93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3999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98"/>
              <a:buFont typeface="Arial"/>
              <a:buNone/>
            </a:pPr>
            <a:endParaRPr sz="2265" b="1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3" name="Google Shape;20953;p1"/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800"/>
              <a:buFont typeface="DM Sans"/>
              <a:buNone/>
            </a:pPr>
            <a:r>
              <a:rPr lang="en-US" sz="4800">
                <a:latin typeface="DM Sans"/>
                <a:ea typeface="DM Sans"/>
                <a:cs typeface="DM Sans"/>
                <a:sym typeface="DM Sans"/>
              </a:rPr>
              <a:t>Objectives</a:t>
            </a:r>
            <a:endParaRPr/>
          </a:p>
        </p:txBody>
      </p:sp>
      <p:sp>
        <p:nvSpPr>
          <p:cNvPr id="20954" name="Google Shape;20954;p1"/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55" name="Google Shape;20955;p1"/>
          <p:cNvSpPr txBox="1"/>
          <p:nvPr/>
        </p:nvSpPr>
        <p:spPr>
          <a:xfrm>
            <a:off x="802885" y="1726367"/>
            <a:ext cx="10844128" cy="4097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571500" indent="-571500">
              <a:buChar char="•"/>
            </a:pPr>
            <a:r>
              <a:rPr lang="en-US" sz="2800">
                <a:latin typeface="DM Sans"/>
                <a:ea typeface="Calibri"/>
                <a:cs typeface="Calibri"/>
              </a:rPr>
              <a:t>Identify key drivers of sustainability for safe sleep and equity-focused interventions.</a:t>
            </a:r>
          </a:p>
          <a:p>
            <a:pPr marL="571500" indent="-571500">
              <a:buChar char="•"/>
            </a:pPr>
            <a:r>
              <a:rPr lang="en-US" sz="2800">
                <a:latin typeface="DM Sans"/>
                <a:ea typeface="Calibri"/>
                <a:cs typeface="Calibri"/>
              </a:rPr>
              <a:t>Asses your site’s current sustainability readiness using a structured framework.</a:t>
            </a:r>
          </a:p>
          <a:p>
            <a:pPr marL="571500" indent="-571500">
              <a:buChar char="•"/>
            </a:pPr>
            <a:r>
              <a:rPr lang="en-US" sz="2800">
                <a:latin typeface="DM Sans"/>
                <a:ea typeface="Calibri"/>
                <a:cs typeface="Calibri"/>
              </a:rPr>
              <a:t>Identify strategies to ensure ESSI practices are embedded into standard workflows.</a:t>
            </a:r>
            <a:endParaRPr lang="en-US" sz="2800">
              <a:latin typeface="DM Sans"/>
              <a:ea typeface="Calibri"/>
            </a:endParaRPr>
          </a:p>
          <a:p>
            <a:pPr marL="571500" indent="-571500">
              <a:buChar char="•"/>
            </a:pPr>
            <a:r>
              <a:rPr lang="en-US" sz="2800">
                <a:latin typeface="DM Sans"/>
                <a:ea typeface="Calibri"/>
                <a:cs typeface="Calibri"/>
              </a:rPr>
              <a:t>Recognize equity risks in sustainability efforts and plan mitigation strategies.</a:t>
            </a:r>
            <a:endParaRPr lang="en-US" sz="2800">
              <a:latin typeface="DM San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77">
          <a:extLst>
            <a:ext uri="{FF2B5EF4-FFF2-40B4-BE49-F238E27FC236}">
              <a16:creationId xmlns:a16="http://schemas.microsoft.com/office/drawing/2014/main" id="{D06E73FC-9753-61D9-B3B6-91DB57A78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g3c5b803b16c_1_12">
            <a:extLst>
              <a:ext uri="{FF2B5EF4-FFF2-40B4-BE49-F238E27FC236}">
                <a16:creationId xmlns:a16="http://schemas.microsoft.com/office/drawing/2014/main" id="{153228E1-090B-C615-A872-BB27C752B4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5199" y="417668"/>
            <a:ext cx="10972800" cy="7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700">
                <a:latin typeface="DM Sans"/>
                <a:ea typeface="DM Sans"/>
                <a:cs typeface="DM Sans"/>
                <a:sym typeface="DM Sans"/>
              </a:rPr>
              <a:t>ILPQC Timeline </a:t>
            </a:r>
            <a:endParaRPr sz="47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9279" name="Google Shape;9279;g3c5b803b16c_1_12">
            <a:extLst>
              <a:ext uri="{FF2B5EF4-FFF2-40B4-BE49-F238E27FC236}">
                <a16:creationId xmlns:a16="http://schemas.microsoft.com/office/drawing/2014/main" id="{66D5594B-92FB-7867-46F0-80E1F7BDDAD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13264" y="6397283"/>
            <a:ext cx="28041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5</a:t>
            </a:fld>
            <a:endParaRPr sz="1800" b="0" i="0" u="none" strike="noStrike" cap="none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80" name="Google Shape;9280;g3c5b803b16c_1_12">
            <a:extLst>
              <a:ext uri="{FF2B5EF4-FFF2-40B4-BE49-F238E27FC236}">
                <a16:creationId xmlns:a16="http://schemas.microsoft.com/office/drawing/2014/main" id="{B5A1A001-C117-D741-3047-144E5EB33E3B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5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grpSp>
        <p:nvGrpSpPr>
          <p:cNvPr id="9281" name="Google Shape;9281;g3c5b803b16c_1_12">
            <a:extLst>
              <a:ext uri="{FF2B5EF4-FFF2-40B4-BE49-F238E27FC236}">
                <a16:creationId xmlns:a16="http://schemas.microsoft.com/office/drawing/2014/main" id="{C29E37DC-16E3-D9CF-FEA9-07ADFD73A229}"/>
              </a:ext>
            </a:extLst>
          </p:cNvPr>
          <p:cNvGrpSpPr/>
          <p:nvPr/>
        </p:nvGrpSpPr>
        <p:grpSpPr>
          <a:xfrm>
            <a:off x="88500" y="1438511"/>
            <a:ext cx="12015000" cy="4153700"/>
            <a:chOff x="178185" y="2165086"/>
            <a:chExt cx="12015000" cy="4153700"/>
          </a:xfrm>
        </p:grpSpPr>
        <p:cxnSp>
          <p:nvCxnSpPr>
            <p:cNvPr id="9282" name="Google Shape;9282;g3c5b803b16c_1_12">
              <a:extLst>
                <a:ext uri="{FF2B5EF4-FFF2-40B4-BE49-F238E27FC236}">
                  <a16:creationId xmlns:a16="http://schemas.microsoft.com/office/drawing/2014/main" id="{BFE7287F-7231-437E-6072-0E744B67CD79}"/>
                </a:ext>
              </a:extLst>
            </p:cNvPr>
            <p:cNvCxnSpPr/>
            <p:nvPr/>
          </p:nvCxnSpPr>
          <p:spPr>
            <a:xfrm rot="10800000" flipH="1">
              <a:off x="178185" y="4958338"/>
              <a:ext cx="12015000" cy="30600"/>
            </a:xfrm>
            <a:prstGeom prst="straightConnector1">
              <a:avLst/>
            </a:prstGeom>
            <a:noFill/>
            <a:ln w="57150" cap="flat" cmpd="sng">
              <a:solidFill>
                <a:srgbClr val="24406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grpSp>
          <p:nvGrpSpPr>
            <p:cNvPr id="9283" name="Google Shape;9283;g3c5b803b16c_1_12">
              <a:extLst>
                <a:ext uri="{FF2B5EF4-FFF2-40B4-BE49-F238E27FC236}">
                  <a16:creationId xmlns:a16="http://schemas.microsoft.com/office/drawing/2014/main" id="{BD6B8E46-0DED-72D6-B17C-719D8C48EC8E}"/>
                </a:ext>
              </a:extLst>
            </p:cNvPr>
            <p:cNvGrpSpPr/>
            <p:nvPr/>
          </p:nvGrpSpPr>
          <p:grpSpPr>
            <a:xfrm>
              <a:off x="185720" y="2165086"/>
              <a:ext cx="11828200" cy="4153700"/>
              <a:chOff x="185720" y="2165086"/>
              <a:chExt cx="11828200" cy="4153700"/>
            </a:xfrm>
          </p:grpSpPr>
          <p:sp>
            <p:nvSpPr>
              <p:cNvPr id="9284" name="Google Shape;9284;g3c5b803b16c_1_12">
                <a:extLst>
                  <a:ext uri="{FF2B5EF4-FFF2-40B4-BE49-F238E27FC236}">
                    <a16:creationId xmlns:a16="http://schemas.microsoft.com/office/drawing/2014/main" id="{D55DADC2-1908-DA4C-D8D9-B4C31343A3AC}"/>
                  </a:ext>
                </a:extLst>
              </p:cNvPr>
              <p:cNvSpPr txBox="1"/>
              <p:nvPr/>
            </p:nvSpPr>
            <p:spPr>
              <a:xfrm>
                <a:off x="1904999" y="4910666"/>
                <a:ext cx="24552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85" name="Google Shape;9285;g3c5b803b16c_1_12">
                <a:extLst>
                  <a:ext uri="{FF2B5EF4-FFF2-40B4-BE49-F238E27FC236}">
                    <a16:creationId xmlns:a16="http://schemas.microsoft.com/office/drawing/2014/main" id="{AB7C57F5-C996-F154-A6EC-E5777A0723EA}"/>
                  </a:ext>
                </a:extLst>
              </p:cNvPr>
              <p:cNvSpPr txBox="1"/>
              <p:nvPr/>
            </p:nvSpPr>
            <p:spPr>
              <a:xfrm>
                <a:off x="1529267" y="4124209"/>
                <a:ext cx="2845500" cy="369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86" name="Google Shape;9286;g3c5b803b16c_1_12">
                <a:extLst>
                  <a:ext uri="{FF2B5EF4-FFF2-40B4-BE49-F238E27FC236}">
                    <a16:creationId xmlns:a16="http://schemas.microsoft.com/office/drawing/2014/main" id="{33629940-26EC-489A-4411-FD8CDD986618}"/>
                  </a:ext>
                </a:extLst>
              </p:cNvPr>
              <p:cNvSpPr/>
              <p:nvPr/>
            </p:nvSpPr>
            <p:spPr>
              <a:xfrm>
                <a:off x="185720" y="3955282"/>
                <a:ext cx="5910300" cy="946800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quity and Safe Sleep for Infants</a:t>
                </a:r>
                <a:endParaRPr sz="20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7" name="Google Shape;9287;g3c5b803b16c_1_12">
                <a:extLst>
                  <a:ext uri="{FF2B5EF4-FFF2-40B4-BE49-F238E27FC236}">
                    <a16:creationId xmlns:a16="http://schemas.microsoft.com/office/drawing/2014/main" id="{9283917A-E097-2569-365D-7560D3C6E62B}"/>
                  </a:ext>
                </a:extLst>
              </p:cNvPr>
              <p:cNvSpPr/>
              <p:nvPr/>
            </p:nvSpPr>
            <p:spPr>
              <a:xfrm>
                <a:off x="6236195" y="3952521"/>
                <a:ext cx="3628800" cy="946800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SSI Sustainability</a:t>
                </a:r>
                <a:endParaRPr sz="20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8" name="Google Shape;9288;g3c5b803b16c_1_12">
                <a:extLst>
                  <a:ext uri="{FF2B5EF4-FFF2-40B4-BE49-F238E27FC236}">
                    <a16:creationId xmlns:a16="http://schemas.microsoft.com/office/drawing/2014/main" id="{4044051F-68DE-4AD4-54BB-260802CC5A6F}"/>
                  </a:ext>
                </a:extLst>
              </p:cNvPr>
              <p:cNvSpPr/>
              <p:nvPr/>
            </p:nvSpPr>
            <p:spPr>
              <a:xfrm>
                <a:off x="225257" y="5012360"/>
                <a:ext cx="39015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5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89" name="Google Shape;9289;g3c5b803b16c_1_12">
                <a:extLst>
                  <a:ext uri="{FF2B5EF4-FFF2-40B4-BE49-F238E27FC236}">
                    <a16:creationId xmlns:a16="http://schemas.microsoft.com/office/drawing/2014/main" id="{DFD92CFE-7BB4-BB12-58C8-B232AC6B112F}"/>
                  </a:ext>
                </a:extLst>
              </p:cNvPr>
              <p:cNvSpPr/>
              <p:nvPr/>
            </p:nvSpPr>
            <p:spPr>
              <a:xfrm>
                <a:off x="4126698" y="4996685"/>
                <a:ext cx="39387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6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90" name="Google Shape;9290;g3c5b803b16c_1_12">
                <a:extLst>
                  <a:ext uri="{FF2B5EF4-FFF2-40B4-BE49-F238E27FC236}">
                    <a16:creationId xmlns:a16="http://schemas.microsoft.com/office/drawing/2014/main" id="{5A89768F-3483-756B-7DDB-CAAB59BEBEEB}"/>
                  </a:ext>
                </a:extLst>
              </p:cNvPr>
              <p:cNvSpPr/>
              <p:nvPr/>
            </p:nvSpPr>
            <p:spPr>
              <a:xfrm>
                <a:off x="4172457" y="5730186"/>
                <a:ext cx="3874263" cy="588600"/>
              </a:xfrm>
              <a:prstGeom prst="roundRect">
                <a:avLst>
                  <a:gd name="adj" fmla="val 16667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>
                <a:solidFill>
                  <a:srgbClr val="F5846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400"/>
                  <a:buFont typeface="Arial"/>
                  <a:buNone/>
                </a:pPr>
                <a:r>
                  <a:rPr lang="en-US" sz="1600" b="0" i="0" u="none" strike="noStrike" cap="none">
                    <a:solidFill>
                      <a:srgbClr val="000000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Planning for IL-LPI</a:t>
                </a:r>
                <a:endParaRPr sz="16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292" name="Google Shape;9292;g3c5b803b16c_1_12">
                <a:extLst>
                  <a:ext uri="{FF2B5EF4-FFF2-40B4-BE49-F238E27FC236}">
                    <a16:creationId xmlns:a16="http://schemas.microsoft.com/office/drawing/2014/main" id="{54DF1C2C-D897-E3F7-BCAC-85958269D146}"/>
                  </a:ext>
                </a:extLst>
              </p:cNvPr>
              <p:cNvCxnSpPr>
                <a:stCxn id="9293" idx="2"/>
              </p:cNvCxnSpPr>
              <p:nvPr/>
            </p:nvCxnSpPr>
            <p:spPr>
              <a:xfrm flipH="1">
                <a:off x="6176122" y="2719186"/>
                <a:ext cx="9600" cy="220290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EF1453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9291" name="Google Shape;9291;g3c5b803b16c_1_12">
                <a:extLst>
                  <a:ext uri="{FF2B5EF4-FFF2-40B4-BE49-F238E27FC236}">
                    <a16:creationId xmlns:a16="http://schemas.microsoft.com/office/drawing/2014/main" id="{90FB88D3-F07D-E4CA-32BB-3B3ECCCF22BD}"/>
                  </a:ext>
                </a:extLst>
              </p:cNvPr>
              <p:cNvSpPr/>
              <p:nvPr/>
            </p:nvSpPr>
            <p:spPr>
              <a:xfrm>
                <a:off x="5411440" y="2794203"/>
                <a:ext cx="1721700" cy="1141500"/>
              </a:xfrm>
              <a:prstGeom prst="downArrow">
                <a:avLst>
                  <a:gd name="adj1" fmla="val 50000"/>
                  <a:gd name="adj2" fmla="val 50000"/>
                </a:avLst>
              </a:prstGeom>
              <a:noFill/>
              <a:ln w="2857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r>
                  <a:rPr lang="en-US" sz="1600" b="1" i="0" u="none" strike="noStrike" cap="none">
                    <a:solidFill>
                      <a:srgbClr val="1C498B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You are here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93" name="Google Shape;9293;g3c5b803b16c_1_12">
                <a:extLst>
                  <a:ext uri="{FF2B5EF4-FFF2-40B4-BE49-F238E27FC236}">
                    <a16:creationId xmlns:a16="http://schemas.microsoft.com/office/drawing/2014/main" id="{9A0368A6-879A-9387-BD47-721324E97506}"/>
                  </a:ext>
                </a:extLst>
              </p:cNvPr>
              <p:cNvSpPr txBox="1"/>
              <p:nvPr/>
            </p:nvSpPr>
            <p:spPr>
              <a:xfrm>
                <a:off x="4961122" y="2165086"/>
                <a:ext cx="2449200" cy="554100"/>
              </a:xfrm>
              <a:prstGeom prst="rect">
                <a:avLst/>
              </a:prstGeom>
              <a:noFill/>
              <a:ln w="28575" cap="flat" cmpd="sng">
                <a:solidFill>
                  <a:srgbClr val="F86A9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00"/>
                  <a:buFont typeface="Arial"/>
                  <a:buNone/>
                </a:pPr>
                <a:r>
                  <a:rPr lang="en-US" sz="1500" b="0" i="0" u="none" strike="noStrike" cap="none">
                    <a:solidFill>
                      <a:srgbClr val="444C55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Face-to-Face 2026: </a:t>
                </a: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00"/>
                  <a:buFont typeface="Arial"/>
                  <a:buNone/>
                </a:pPr>
                <a:r>
                  <a:rPr lang="en-US" sz="1500" b="0" i="0" u="none" strike="noStrike" cap="none">
                    <a:solidFill>
                      <a:srgbClr val="444C55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ESSI enters sustainability</a:t>
                </a:r>
                <a:endParaRPr sz="15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94" name="Google Shape;9294;g3c5b803b16c_1_12">
                <a:extLst>
                  <a:ext uri="{FF2B5EF4-FFF2-40B4-BE49-F238E27FC236}">
                    <a16:creationId xmlns:a16="http://schemas.microsoft.com/office/drawing/2014/main" id="{32234D74-230E-DFEF-7AFB-3F18E4EDA514}"/>
                  </a:ext>
                </a:extLst>
              </p:cNvPr>
              <p:cNvSpPr/>
              <p:nvPr/>
            </p:nvSpPr>
            <p:spPr>
              <a:xfrm>
                <a:off x="8046720" y="4988939"/>
                <a:ext cx="3967200" cy="668700"/>
              </a:xfrm>
              <a:prstGeom prst="roundRect">
                <a:avLst>
                  <a:gd name="adj" fmla="val 16667"/>
                </a:avLst>
              </a:prstGeom>
              <a:solidFill>
                <a:srgbClr val="5189DD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r>
                  <a:rPr lang="en-US" sz="1800" b="0" i="0" u="none" strike="noStrike" cap="none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2027</a:t>
                </a:r>
                <a:endParaRPr sz="14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  <p:sp>
            <p:nvSpPr>
              <p:cNvPr id="9295" name="Google Shape;9295;g3c5b803b16c_1_12">
                <a:extLst>
                  <a:ext uri="{FF2B5EF4-FFF2-40B4-BE49-F238E27FC236}">
                    <a16:creationId xmlns:a16="http://schemas.microsoft.com/office/drawing/2014/main" id="{A21D3789-9BC5-7C6E-2ABF-603BC8542FD1}"/>
                  </a:ext>
                </a:extLst>
              </p:cNvPr>
              <p:cNvSpPr/>
              <p:nvPr/>
            </p:nvSpPr>
            <p:spPr>
              <a:xfrm>
                <a:off x="8046720" y="2941033"/>
                <a:ext cx="3967200" cy="946800"/>
              </a:xfrm>
              <a:prstGeom prst="homePlate">
                <a:avLst>
                  <a:gd name="adj" fmla="val 50000"/>
                </a:avLst>
              </a:prstGeom>
              <a:solidFill>
                <a:srgbClr val="F58466"/>
              </a:solidFill>
              <a:ln w="57150" cap="flat" cmpd="sng">
                <a:solidFill>
                  <a:srgbClr val="92D05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US" sz="2000">
                    <a:solidFill>
                      <a:srgbClr val="FFFFFF"/>
                    </a:solidFill>
                    <a:latin typeface="DM Sans"/>
                    <a:ea typeface="DM Sans"/>
                    <a:cs typeface="DM Sans"/>
                    <a:sym typeface="DM Sans"/>
                  </a:rPr>
                  <a:t>Care of the Late Preterm Infant</a:t>
                </a:r>
                <a:endParaRPr sz="2000" b="0" i="0" u="none" strike="noStrike" cap="none">
                  <a:solidFill>
                    <a:srgbClr val="000000"/>
                  </a:solidFill>
                  <a:latin typeface="DM Sans"/>
                  <a:ea typeface="DM Sans"/>
                  <a:cs typeface="DM Sans"/>
                  <a:sym typeface="DM Sans"/>
                </a:endParaRPr>
              </a:p>
            </p:txBody>
          </p:sp>
        </p:grpSp>
      </p:grpSp>
      <p:sp>
        <p:nvSpPr>
          <p:cNvPr id="2" name="Google Shape;9290;g3c5b803b16c_1_12">
            <a:extLst>
              <a:ext uri="{FF2B5EF4-FFF2-40B4-BE49-F238E27FC236}">
                <a16:creationId xmlns:a16="http://schemas.microsoft.com/office/drawing/2014/main" id="{A750C0A4-4B6C-2900-9FF6-5A5BE7761EAF}"/>
              </a:ext>
            </a:extLst>
          </p:cNvPr>
          <p:cNvSpPr/>
          <p:nvPr/>
        </p:nvSpPr>
        <p:spPr>
          <a:xfrm>
            <a:off x="6413885" y="5541086"/>
            <a:ext cx="3451087" cy="588600"/>
          </a:xfrm>
          <a:prstGeom prst="roundRect">
            <a:avLst>
              <a:gd name="adj" fmla="val 16667"/>
            </a:avLst>
          </a:prstGeom>
          <a:solidFill>
            <a:schemeClr val="accent3">
              <a:lumMod val="40000"/>
              <a:lumOff val="60000"/>
            </a:schemeClr>
          </a:solidFill>
          <a:ln w="12700" cap="flat" cmpd="sng">
            <a:solidFill>
              <a:srgbClr val="F5846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600" b="0" i="0" u="none" strike="noStrike" cap="none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rPr>
              <a:t>Planning for </a:t>
            </a:r>
            <a:r>
              <a:rPr lang="en-US" sz="1600">
                <a:latin typeface="DM Sans"/>
                <a:ea typeface="DM Sans"/>
                <a:cs typeface="DM Sans"/>
                <a:sym typeface="DM Sans"/>
              </a:rPr>
              <a:t>Perinatal Mental Health in NICU/SCN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9295;g3c5b803b16c_1_12">
            <a:extLst>
              <a:ext uri="{FF2B5EF4-FFF2-40B4-BE49-F238E27FC236}">
                <a16:creationId xmlns:a16="http://schemas.microsoft.com/office/drawing/2014/main" id="{D5172A60-DD81-69D9-3EA5-662E2233AAC7}"/>
              </a:ext>
            </a:extLst>
          </p:cNvPr>
          <p:cNvSpPr/>
          <p:nvPr/>
        </p:nvSpPr>
        <p:spPr>
          <a:xfrm>
            <a:off x="9864972" y="966676"/>
            <a:ext cx="2059263" cy="946800"/>
          </a:xfrm>
          <a:prstGeom prst="homePlate">
            <a:avLst>
              <a:gd name="adj" fmla="val 50000"/>
            </a:avLst>
          </a:prstGeom>
          <a:solidFill>
            <a:schemeClr val="accent3"/>
          </a:solidFill>
          <a:ln w="57150" cap="flat" cmpd="sng">
            <a:solidFill>
              <a:srgbClr val="92D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Perinatal Mental Health</a:t>
            </a:r>
            <a:endParaRPr sz="2000" b="0" i="0" u="none" strike="noStrike" cap="none">
              <a:solidFill>
                <a:srgbClr val="000000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943968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7" name="Google Shape;20977;g3681a448973_2_12940"/>
          <p:cNvSpPr txBox="1">
            <a:spLocks noGrp="1"/>
          </p:cNvSpPr>
          <p:nvPr>
            <p:ph type="title"/>
          </p:nvPr>
        </p:nvSpPr>
        <p:spPr>
          <a:xfrm>
            <a:off x="899403" y="1867233"/>
            <a:ext cx="103932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SzPts val="3600"/>
              <a:buFont typeface="DM Sans"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You've implemented ESSI.... now how do we make it survive staff turnover, competing priorities, and time? </a:t>
            </a:r>
            <a:endParaRPr lang="en-US">
              <a:latin typeface="DM Sans"/>
            </a:endParaRPr>
          </a:p>
        </p:txBody>
      </p:sp>
      <p:sp>
        <p:nvSpPr>
          <p:cNvPr id="20978" name="Google Shape;20978;g3681a448973_2_12940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sz="1200" b="0" i="0" u="none" strike="noStrike" cap="none">
              <a:solidFill>
                <a:srgbClr val="91949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79" name="Google Shape;20979;g3681a448973_2_12940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52">
          <a:extLst>
            <a:ext uri="{FF2B5EF4-FFF2-40B4-BE49-F238E27FC236}">
              <a16:creationId xmlns:a16="http://schemas.microsoft.com/office/drawing/2014/main" id="{D9066995-E085-92C0-CE49-8B7E4EFC08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3" name="Google Shape;20953;p1">
            <a:extLst>
              <a:ext uri="{FF2B5EF4-FFF2-40B4-BE49-F238E27FC236}">
                <a16:creationId xmlns:a16="http://schemas.microsoft.com/office/drawing/2014/main" id="{BCE49A5E-33D8-DF04-2F06-C7650CF024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buSzPts val="4800"/>
            </a:pPr>
            <a:r>
              <a:rPr lang="en-US">
                <a:latin typeface="DM Sans"/>
                <a:sym typeface="DM Sans"/>
              </a:rPr>
              <a:t>ESSI Sustainability</a:t>
            </a:r>
            <a:endParaRPr lang="en-US">
              <a:latin typeface="DM Sans"/>
            </a:endParaRPr>
          </a:p>
        </p:txBody>
      </p:sp>
      <p:sp>
        <p:nvSpPr>
          <p:cNvPr id="20954" name="Google Shape;20954;p1">
            <a:extLst>
              <a:ext uri="{FF2B5EF4-FFF2-40B4-BE49-F238E27FC236}">
                <a16:creationId xmlns:a16="http://schemas.microsoft.com/office/drawing/2014/main" id="{1A89053D-A959-4153-DE21-68EF296544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55" name="Google Shape;20955;p1">
            <a:extLst>
              <a:ext uri="{FF2B5EF4-FFF2-40B4-BE49-F238E27FC236}">
                <a16:creationId xmlns:a16="http://schemas.microsoft.com/office/drawing/2014/main" id="{C62F38C0-41A6-D8E2-4FE9-8C02010CAACE}"/>
              </a:ext>
            </a:extLst>
          </p:cNvPr>
          <p:cNvSpPr txBox="1"/>
          <p:nvPr/>
        </p:nvSpPr>
        <p:spPr>
          <a:xfrm>
            <a:off x="829161" y="2790539"/>
            <a:ext cx="10844128" cy="1548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3200" i="1">
                <a:latin typeface="DM Sans"/>
                <a:ea typeface="Calibri"/>
                <a:cs typeface="Calibri"/>
              </a:rPr>
              <a:t>Sustainability is not less work, it's different work!</a:t>
            </a:r>
            <a:endParaRPr lang="en-US" sz="3200" i="1"/>
          </a:p>
        </p:txBody>
      </p:sp>
    </p:spTree>
    <p:extLst>
      <p:ext uri="{BB962C8B-B14F-4D97-AF65-F5344CB8AC3E}">
        <p14:creationId xmlns:p14="http://schemas.microsoft.com/office/powerpoint/2010/main" val="34670503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52">
          <a:extLst>
            <a:ext uri="{FF2B5EF4-FFF2-40B4-BE49-F238E27FC236}">
              <a16:creationId xmlns:a16="http://schemas.microsoft.com/office/drawing/2014/main" id="{97F2BDE5-A46F-44C7-66A6-34015047E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3" name="Google Shape;20953;p1">
            <a:extLst>
              <a:ext uri="{FF2B5EF4-FFF2-40B4-BE49-F238E27FC236}">
                <a16:creationId xmlns:a16="http://schemas.microsoft.com/office/drawing/2014/main" id="{16549E05-DEAC-63C3-0343-F79087B8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r>
              <a:rPr lang="en-US" sz="4400" b="0">
                <a:latin typeface="DM Sans"/>
                <a:sym typeface="DM Sans"/>
              </a:rPr>
              <a:t>Poll</a:t>
            </a:r>
            <a:endParaRPr lang="en-US"/>
          </a:p>
        </p:txBody>
      </p:sp>
      <p:sp>
        <p:nvSpPr>
          <p:cNvPr id="20954" name="Google Shape;20954;p1">
            <a:extLst>
              <a:ext uri="{FF2B5EF4-FFF2-40B4-BE49-F238E27FC236}">
                <a16:creationId xmlns:a16="http://schemas.microsoft.com/office/drawing/2014/main" id="{A8B62F27-12B8-4D48-EE59-1C7882ECEDF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0955" name="Google Shape;20955;p1">
            <a:extLst>
              <a:ext uri="{FF2B5EF4-FFF2-40B4-BE49-F238E27FC236}">
                <a16:creationId xmlns:a16="http://schemas.microsoft.com/office/drawing/2014/main" id="{A11EE216-888B-99DD-164E-0F48AA35F38C}"/>
              </a:ext>
            </a:extLst>
          </p:cNvPr>
          <p:cNvSpPr txBox="1"/>
          <p:nvPr/>
        </p:nvSpPr>
        <p:spPr>
          <a:xfrm>
            <a:off x="802885" y="1726367"/>
            <a:ext cx="10844128" cy="2245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571500" indent="-571500">
              <a:buChar char="•"/>
            </a:pPr>
            <a:r>
              <a:rPr lang="en-US" sz="3200">
                <a:latin typeface="DM Sans"/>
                <a:ea typeface="Calibri"/>
                <a:cs typeface="Calibri"/>
              </a:rPr>
              <a:t>Where is your site?</a:t>
            </a:r>
          </a:p>
          <a:p>
            <a:pPr marL="1028700" lvl="1" indent="-571500">
              <a:buFont typeface="Courier New"/>
              <a:buChar char="o"/>
            </a:pPr>
            <a:r>
              <a:rPr lang="en-US" sz="2800">
                <a:latin typeface="DM Sans"/>
                <a:ea typeface="Calibri"/>
                <a:cs typeface="Calibri"/>
              </a:rPr>
              <a:t>Still working on implementation</a:t>
            </a:r>
          </a:p>
          <a:p>
            <a:pPr marL="1028700" lvl="1" indent="-571500">
              <a:buFont typeface="Courier New"/>
              <a:buChar char="o"/>
            </a:pPr>
            <a:r>
              <a:rPr lang="en-US" sz="2800">
                <a:latin typeface="DM Sans"/>
                <a:ea typeface="Calibri"/>
                <a:cs typeface="Calibri"/>
              </a:rPr>
              <a:t>Reliable practice</a:t>
            </a:r>
          </a:p>
          <a:p>
            <a:pPr marL="1028700" lvl="1" indent="-571500">
              <a:buFont typeface="Courier New"/>
              <a:buChar char="o"/>
            </a:pPr>
            <a:r>
              <a:rPr lang="en-US" sz="2800">
                <a:latin typeface="DM Sans"/>
                <a:ea typeface="Calibri"/>
                <a:cs typeface="Calibri"/>
              </a:rPr>
              <a:t>At risk of backslide</a:t>
            </a:r>
          </a:p>
          <a:p>
            <a:pPr marL="1028700" lvl="1" indent="-571500">
              <a:buFont typeface="Courier New"/>
              <a:buChar char="o"/>
            </a:pPr>
            <a:endParaRPr lang="en-US" sz="2800">
              <a:latin typeface="DM Sans"/>
              <a:ea typeface="Calibri"/>
              <a:cs typeface="Calibri"/>
            </a:endParaRPr>
          </a:p>
        </p:txBody>
      </p:sp>
      <p:sp>
        <p:nvSpPr>
          <p:cNvPr id="2" name="Google Shape;20955;p1">
            <a:extLst>
              <a:ext uri="{FF2B5EF4-FFF2-40B4-BE49-F238E27FC236}">
                <a16:creationId xmlns:a16="http://schemas.microsoft.com/office/drawing/2014/main" id="{ECF83BDC-0C45-479B-E835-60DE59C3EB5D}"/>
              </a:ext>
            </a:extLst>
          </p:cNvPr>
          <p:cNvSpPr txBox="1"/>
          <p:nvPr/>
        </p:nvSpPr>
        <p:spPr>
          <a:xfrm>
            <a:off x="1564885" y="4892608"/>
            <a:ext cx="9306990" cy="1378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3200">
                <a:latin typeface="DM Sans"/>
                <a:ea typeface="Calibri"/>
                <a:cs typeface="Calibri"/>
              </a:rPr>
              <a:t>Regardless of where you are it is important to plan for sustainability.</a:t>
            </a:r>
          </a:p>
        </p:txBody>
      </p:sp>
      <p:pic>
        <p:nvPicPr>
          <p:cNvPr id="3" name="Graphic 2" descr="Star with solid fill">
            <a:extLst>
              <a:ext uri="{FF2B5EF4-FFF2-40B4-BE49-F238E27FC236}">
                <a16:creationId xmlns:a16="http://schemas.microsoft.com/office/drawing/2014/main" id="{545507E8-BECD-2862-66A9-D2EC1832194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0145" y="4955627"/>
            <a:ext cx="625366" cy="73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535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76">
          <a:extLst>
            <a:ext uri="{FF2B5EF4-FFF2-40B4-BE49-F238E27FC236}">
              <a16:creationId xmlns:a16="http://schemas.microsoft.com/office/drawing/2014/main" id="{ADA10922-7C78-8B8C-D5C4-7F757674C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7" name="Google Shape;20977;g3681a448973_2_12940">
            <a:extLst>
              <a:ext uri="{FF2B5EF4-FFF2-40B4-BE49-F238E27FC236}">
                <a16:creationId xmlns:a16="http://schemas.microsoft.com/office/drawing/2014/main" id="{414E22E0-7803-964A-8071-050D0DC8E37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99403" y="1867233"/>
            <a:ext cx="103932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SzPts val="3600"/>
              <a:buFont typeface="DM Sans"/>
            </a:pPr>
            <a:r>
              <a:rPr lang="en-US">
                <a:latin typeface="DM Sans"/>
                <a:ea typeface="DM Sans"/>
                <a:cs typeface="DM Sans"/>
                <a:sym typeface="DM Sans"/>
              </a:rPr>
              <a:t>Sustainability Plan</a:t>
            </a:r>
            <a:endParaRPr lang="en-US">
              <a:latin typeface="DM Sans"/>
            </a:endParaRPr>
          </a:p>
        </p:txBody>
      </p:sp>
      <p:sp>
        <p:nvSpPr>
          <p:cNvPr id="20978" name="Google Shape;20978;g3681a448973_2_12940">
            <a:extLst>
              <a:ext uri="{FF2B5EF4-FFF2-40B4-BE49-F238E27FC236}">
                <a16:creationId xmlns:a16="http://schemas.microsoft.com/office/drawing/2014/main" id="{714AF448-2AAD-262F-61E3-D023CCA9EF75}"/>
              </a:ext>
            </a:extLst>
          </p:cNvPr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sz="1200" b="0" i="0" u="none" strike="noStrike" cap="none">
              <a:solidFill>
                <a:srgbClr val="91949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79" name="Google Shape;20979;g3681a448973_2_12940">
            <a:extLst>
              <a:ext uri="{FF2B5EF4-FFF2-40B4-BE49-F238E27FC236}">
                <a16:creationId xmlns:a16="http://schemas.microsoft.com/office/drawing/2014/main" id="{8C18CBF3-AB67-A75D-CBC5-DA4FDD5E87DF}"/>
              </a:ext>
            </a:extLst>
          </p:cNvPr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05062928"/>
      </p:ext>
    </p:extLst>
  </p:cSld>
  <p:clrMapOvr>
    <a:masterClrMapping/>
  </p:clrMapOvr>
</p:sld>
</file>